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3.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6.xml" ContentType="application/vnd.openxmlformats-officedocument.presentationml.tags+xml"/>
  <Override PartName="/ppt/notesSlides/notesSlide9.xml" ContentType="application/vnd.openxmlformats-officedocument.presentationml.notesSlide+xml"/>
  <Override PartName="/ppt/tags/tag2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5" r:id="rId6"/>
    <p:sldMasterId id="2147483880" r:id="rId7"/>
    <p:sldMasterId id="2147483905" r:id="rId8"/>
    <p:sldMasterId id="2147483960" r:id="rId9"/>
  </p:sldMasterIdLst>
  <p:notesMasterIdLst>
    <p:notesMasterId r:id="rId42"/>
  </p:notesMasterIdLst>
  <p:handoutMasterIdLst>
    <p:handoutMasterId r:id="rId43"/>
  </p:handoutMasterIdLst>
  <p:sldIdLst>
    <p:sldId id="335" r:id="rId10"/>
    <p:sldId id="345" r:id="rId11"/>
    <p:sldId id="346" r:id="rId12"/>
    <p:sldId id="466" r:id="rId13"/>
    <p:sldId id="468" r:id="rId14"/>
    <p:sldId id="477" r:id="rId15"/>
    <p:sldId id="479" r:id="rId16"/>
    <p:sldId id="469" r:id="rId17"/>
    <p:sldId id="446" r:id="rId18"/>
    <p:sldId id="447" r:id="rId19"/>
    <p:sldId id="472" r:id="rId20"/>
    <p:sldId id="452" r:id="rId21"/>
    <p:sldId id="473" r:id="rId22"/>
    <p:sldId id="474" r:id="rId23"/>
    <p:sldId id="475" r:id="rId24"/>
    <p:sldId id="476" r:id="rId25"/>
    <p:sldId id="481" r:id="rId26"/>
    <p:sldId id="483" r:id="rId27"/>
    <p:sldId id="453" r:id="rId28"/>
    <p:sldId id="454" r:id="rId29"/>
    <p:sldId id="455" r:id="rId30"/>
    <p:sldId id="456" r:id="rId31"/>
    <p:sldId id="458" r:id="rId32"/>
    <p:sldId id="460" r:id="rId33"/>
    <p:sldId id="461" r:id="rId34"/>
    <p:sldId id="462" r:id="rId35"/>
    <p:sldId id="463" r:id="rId36"/>
    <p:sldId id="464" r:id="rId37"/>
    <p:sldId id="465" r:id="rId38"/>
    <p:sldId id="467" r:id="rId39"/>
    <p:sldId id="387" r:id="rId40"/>
    <p:sldId id="319" r:id="rId41"/>
  </p:sldIdLst>
  <p:sldSz cx="12192000" cy="6858000"/>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Segoe UI" panose="020B0502040204020203"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Segoe UI" panose="020B0502040204020203"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Segoe UI" panose="020B0502040204020203"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Segoe UI" panose="020B0502040204020203"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Segoe UI" panose="020B0502040204020203" pitchFamily="34" charset="0"/>
        <a:ea typeface="+mn-ea"/>
        <a:cs typeface="+mn-cs"/>
      </a:defRPr>
    </a:lvl5pPr>
    <a:lvl6pPr marL="2286000" algn="l" defTabSz="914400" rtl="0" eaLnBrk="1" latinLnBrk="0" hangingPunct="1">
      <a:defRPr kern="1200">
        <a:solidFill>
          <a:schemeClr val="tx1"/>
        </a:solidFill>
        <a:latin typeface="Segoe UI" panose="020B0502040204020203" pitchFamily="34" charset="0"/>
        <a:ea typeface="+mn-ea"/>
        <a:cs typeface="+mn-cs"/>
      </a:defRPr>
    </a:lvl6pPr>
    <a:lvl7pPr marL="2743200" algn="l" defTabSz="914400" rtl="0" eaLnBrk="1" latinLnBrk="0" hangingPunct="1">
      <a:defRPr kern="1200">
        <a:solidFill>
          <a:schemeClr val="tx1"/>
        </a:solidFill>
        <a:latin typeface="Segoe UI" panose="020B0502040204020203" pitchFamily="34" charset="0"/>
        <a:ea typeface="+mn-ea"/>
        <a:cs typeface="+mn-cs"/>
      </a:defRPr>
    </a:lvl7pPr>
    <a:lvl8pPr marL="3200400" algn="l" defTabSz="914400" rtl="0" eaLnBrk="1" latinLnBrk="0" hangingPunct="1">
      <a:defRPr kern="1200">
        <a:solidFill>
          <a:schemeClr val="tx1"/>
        </a:solidFill>
        <a:latin typeface="Segoe UI" panose="020B0502040204020203" pitchFamily="34" charset="0"/>
        <a:ea typeface="+mn-ea"/>
        <a:cs typeface="+mn-cs"/>
      </a:defRPr>
    </a:lvl8pPr>
    <a:lvl9pPr marL="3657600" algn="l" defTabSz="914400" rtl="0" eaLnBrk="1" latinLnBrk="0" hangingPunct="1">
      <a:defRPr kern="1200">
        <a:solidFill>
          <a:schemeClr val="tx1"/>
        </a:solidFill>
        <a:latin typeface="Segoe UI" panose="020B0502040204020203" pitchFamily="34" charset="0"/>
        <a:ea typeface="+mn-ea"/>
        <a:cs typeface="+mn-cs"/>
      </a:defRPr>
    </a:lvl9pPr>
  </p:defaultTextStyle>
  <p:extLst>
    <p:ext uri="{521415D9-36F7-43E2-AB2F-B90AF26B5E84}">
      <p14:sectionLst xmlns:p14="http://schemas.microsoft.com/office/powerpoint/2010/main">
        <p14:section name="Default Section" id="{705E02D0-AA54-486B-B9B0-DEA7C1B0312A}">
          <p14:sldIdLst>
            <p14:sldId id="335"/>
            <p14:sldId id="345"/>
            <p14:sldId id="346"/>
            <p14:sldId id="466"/>
            <p14:sldId id="468"/>
            <p14:sldId id="477"/>
            <p14:sldId id="479"/>
            <p14:sldId id="469"/>
            <p14:sldId id="446"/>
            <p14:sldId id="447"/>
          </p14:sldIdLst>
        </p14:section>
        <p14:section name="ADL Store" id="{A5CD26C3-4FD4-4306-98D2-1772E5671CA3}">
          <p14:sldIdLst>
            <p14:sldId id="472"/>
            <p14:sldId id="452"/>
            <p14:sldId id="473"/>
            <p14:sldId id="474"/>
            <p14:sldId id="475"/>
            <p14:sldId id="476"/>
            <p14:sldId id="481"/>
            <p14:sldId id="483"/>
            <p14:sldId id="453"/>
            <p14:sldId id="454"/>
            <p14:sldId id="455"/>
            <p14:sldId id="456"/>
            <p14:sldId id="458"/>
            <p14:sldId id="460"/>
            <p14:sldId id="461"/>
            <p14:sldId id="462"/>
            <p14:sldId id="463"/>
            <p14:sldId id="464"/>
            <p14:sldId id="465"/>
            <p14:sldId id="467"/>
            <p14:sldId id="387"/>
          </p14:sldIdLst>
        </p14:section>
        <p14:section name="End" id="{AD61A089-DA03-4388-B364-82916F49702B}">
          <p14:sldIdLst>
            <p14:sldId id="319"/>
          </p14:sldIdLst>
        </p14:section>
      </p14:sectionLst>
    </p:ext>
    <p:ext uri="{EFAFB233-063F-42B5-8137-9DF3F51BA10A}">
      <p15:sldGuideLst xmlns:p15="http://schemas.microsoft.com/office/powerpoint/2012/main">
        <p15:guide id="1" orient="horz">
          <p15:clr>
            <a:srgbClr val="A4A3A4"/>
          </p15:clr>
        </p15:guide>
        <p15:guide id="2">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Theresa Howe" initials="TH" lastIdx="91" clrIdx="1">
    <p:extLst>
      <p:ext uri="{19B8F6BF-5375-455C-9EA6-DF929625EA0E}">
        <p15:presenceInfo xmlns:p15="http://schemas.microsoft.com/office/powerpoint/2012/main" userId="8dfc3a0cf05d9ab4" providerId="Windows Live"/>
      </p:ext>
    </p:extLst>
  </p:cmAuthor>
  <p:cmAuthor id="6" name="Nishant Thacker" initials="NT" lastIdx="7" clrIdx="0">
    <p:extLst>
      <p:ext uri="{19B8F6BF-5375-455C-9EA6-DF929625EA0E}">
        <p15:presenceInfo xmlns:p15="http://schemas.microsoft.com/office/powerpoint/2012/main" userId="S-1-5-21-2127521184-1604012920-1887927527-1697003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5DDFFD"/>
    <a:srgbClr val="2D0CB8"/>
    <a:srgbClr val="FF9966"/>
    <a:srgbClr val="FF9933"/>
    <a:srgbClr val="FFCCFF"/>
    <a:srgbClr val="FF3300"/>
    <a:srgbClr val="CCFFCC"/>
    <a:srgbClr val="FFFFCC"/>
    <a:srgbClr val="3F3F3F"/>
    <a:srgbClr val="02163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74323" autoAdjust="0"/>
  </p:normalViewPr>
  <p:slideViewPr>
    <p:cSldViewPr snapToObjects="1">
      <p:cViewPr varScale="1">
        <p:scale>
          <a:sx n="93" d="100"/>
          <a:sy n="93" d="100"/>
        </p:scale>
        <p:origin x="1212" y="96"/>
      </p:cViewPr>
      <p:guideLst>
        <p:guide orient="horz"/>
        <p:guide/>
      </p:guideLst>
    </p:cSldViewPr>
  </p:slideViewPr>
  <p:outlineViewPr>
    <p:cViewPr>
      <p:scale>
        <a:sx n="33" d="100"/>
        <a:sy n="33" d="100"/>
      </p:scale>
      <p:origin x="0" y="0"/>
    </p:cViewPr>
  </p:outlineViewPr>
  <p:notesTextViewPr>
    <p:cViewPr>
      <p:scale>
        <a:sx n="100" d="100"/>
        <a:sy n="100" d="100"/>
      </p:scale>
      <p:origin x="0" y="0"/>
    </p:cViewPr>
  </p:notesTextViewPr>
  <p:notesViewPr>
    <p:cSldViewPr snapToObjects="1">
      <p:cViewPr varScale="1">
        <p:scale>
          <a:sx n="90" d="100"/>
          <a:sy n="90" d="100"/>
        </p:scale>
        <p:origin x="2838" y="7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Master" Target="slideMasters/slideMaster2.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microsoft.com/office/2015/10/relationships/revisionInfo" Target="revisionInfo.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Segoe UI Light"/>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Segoe UI Light"/>
              </a:defRPr>
            </a:lvl1pPr>
          </a:lstStyle>
          <a:p>
            <a:pPr>
              <a:defRPr/>
            </a:pPr>
            <a:fld id="{EF8CE4AB-7BA0-4C3D-A304-A6B213760697}" type="datetimeFigureOut">
              <a:rPr lang="en-US"/>
              <a:pPr>
                <a:defRPr/>
              </a:pPr>
              <a:t>11/5/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Segoe UI Light"/>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Segoe UI Light"/>
              </a:defRPr>
            </a:lvl1pPr>
          </a:lstStyle>
          <a:p>
            <a:pPr>
              <a:defRPr/>
            </a:pPr>
            <a:fld id="{2516B1D2-AF25-4C26-B660-BD31A36F60D1}" type="slidenum">
              <a:rPr lang="en-US"/>
              <a:pPr>
                <a:defRPr/>
              </a:pPr>
              <a:t>‹#›</a:t>
            </a:fld>
            <a:endParaRPr lang="en-US"/>
          </a:p>
        </p:txBody>
      </p:sp>
    </p:spTree>
    <p:extLst>
      <p:ext uri="{BB962C8B-B14F-4D97-AF65-F5344CB8AC3E}">
        <p14:creationId xmlns:p14="http://schemas.microsoft.com/office/powerpoint/2010/main" val="135499979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Segoe UI Light"/>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Segoe UI Light"/>
              </a:defRPr>
            </a:lvl1pPr>
          </a:lstStyle>
          <a:p>
            <a:pPr>
              <a:defRPr/>
            </a:pPr>
            <a:fld id="{B3EE22F7-DB29-4F03-92B9-5349EBF78AD7}" type="datetimeFigureOut">
              <a:rPr lang="en-US"/>
              <a:pPr>
                <a:defRPr/>
              </a:pPr>
              <a:t>11/5/2017</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Segoe UI Light"/>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Segoe UI Light"/>
              </a:defRPr>
            </a:lvl1pPr>
          </a:lstStyle>
          <a:p>
            <a:pPr>
              <a:defRPr/>
            </a:pPr>
            <a:fld id="{63E62E8F-1DA9-4739-B729-97AB4EFA26B1}" type="slidenum">
              <a:rPr lang="en-US"/>
              <a:pPr>
                <a:defRPr/>
              </a:pPr>
              <a:t>‹#›</a:t>
            </a:fld>
            <a:endParaRPr lang="en-US"/>
          </a:p>
        </p:txBody>
      </p:sp>
    </p:spTree>
    <p:extLst>
      <p:ext uri="{BB962C8B-B14F-4D97-AF65-F5344CB8AC3E}">
        <p14:creationId xmlns:p14="http://schemas.microsoft.com/office/powerpoint/2010/main" val="747874257"/>
      </p:ext>
    </p:extLst>
  </p:cSld>
  <p:clrMap bg1="lt1" tx1="dk1" bg2="lt2" tx2="dk2" accent1="accent1" accent2="accent2" accent3="accent3" accent4="accent4" accent5="accent5" accent6="accent6" hlink="hlink" folHlink="folHlink"/>
  <p:hf hdr="0" ftr="0" dt="0"/>
  <p:notesStyle>
    <a:lvl1pPr algn="l" defTabSz="457200" rtl="0" fontAlgn="base">
      <a:spcBef>
        <a:spcPct val="30000"/>
      </a:spcBef>
      <a:spcAft>
        <a:spcPct val="0"/>
      </a:spcAft>
      <a:defRPr sz="1200" kern="1200">
        <a:solidFill>
          <a:schemeClr val="tx1"/>
        </a:solidFill>
        <a:latin typeface="Segoe UI Light"/>
        <a:ea typeface="+mn-ea"/>
        <a:cs typeface="+mn-cs"/>
      </a:defRPr>
    </a:lvl1pPr>
    <a:lvl2pPr marL="457200" algn="l" defTabSz="457200" rtl="0" fontAlgn="base">
      <a:spcBef>
        <a:spcPct val="30000"/>
      </a:spcBef>
      <a:spcAft>
        <a:spcPct val="0"/>
      </a:spcAft>
      <a:defRPr sz="1200" kern="1200">
        <a:solidFill>
          <a:schemeClr val="tx1"/>
        </a:solidFill>
        <a:latin typeface="Segoe UI Light"/>
        <a:ea typeface="+mn-ea"/>
        <a:cs typeface="+mn-cs"/>
      </a:defRPr>
    </a:lvl2pPr>
    <a:lvl3pPr marL="914400" algn="l" defTabSz="457200" rtl="0" fontAlgn="base">
      <a:spcBef>
        <a:spcPct val="30000"/>
      </a:spcBef>
      <a:spcAft>
        <a:spcPct val="0"/>
      </a:spcAft>
      <a:defRPr sz="1200" kern="1200">
        <a:solidFill>
          <a:schemeClr val="tx1"/>
        </a:solidFill>
        <a:latin typeface="Segoe UI Light"/>
        <a:ea typeface="+mn-ea"/>
        <a:cs typeface="+mn-cs"/>
      </a:defRPr>
    </a:lvl3pPr>
    <a:lvl4pPr marL="1371600" algn="l" defTabSz="457200" rtl="0" fontAlgn="base">
      <a:spcBef>
        <a:spcPct val="30000"/>
      </a:spcBef>
      <a:spcAft>
        <a:spcPct val="0"/>
      </a:spcAft>
      <a:defRPr sz="1200" kern="1200">
        <a:solidFill>
          <a:schemeClr val="tx1"/>
        </a:solidFill>
        <a:latin typeface="Segoe UI Light"/>
        <a:ea typeface="+mn-ea"/>
        <a:cs typeface="+mn-cs"/>
      </a:defRPr>
    </a:lvl4pPr>
    <a:lvl5pPr marL="1828800" algn="l" defTabSz="457200" rtl="0" fontAlgn="base">
      <a:spcBef>
        <a:spcPct val="30000"/>
      </a:spcBef>
      <a:spcAft>
        <a:spcPct val="0"/>
      </a:spcAft>
      <a:defRPr sz="1200" kern="1200">
        <a:solidFill>
          <a:schemeClr val="tx1"/>
        </a:solidFill>
        <a:latin typeface="Segoe UI Ligh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linkedin.com/pulse/marketers-ask-what-can-hadoop-do-my-data-warehouse-cant-tamara-dull"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dirty="0">
              <a:latin typeface="Segoe UI Light" panose="020B0502040204020203" pitchFamily="34" charset="0"/>
            </a:endParaRPr>
          </a:p>
        </p:txBody>
      </p:sp>
      <p:sp>
        <p:nvSpPr>
          <p:cNvPr id="348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fontAlgn="base">
              <a:spcBef>
                <a:spcPct val="0"/>
              </a:spcBef>
              <a:spcAft>
                <a:spcPct val="0"/>
              </a:spcAft>
            </a:pPr>
            <a:fld id="{86B268A0-35D9-4F52-BC47-FB9C687F4D44}" type="slidenum">
              <a:rPr lang="en-US">
                <a:solidFill>
                  <a:srgbClr val="000000"/>
                </a:solidFill>
                <a:latin typeface="Segoe UI Light" panose="020B0502040204020203" pitchFamily="34" charset="0"/>
              </a:rPr>
              <a:pPr fontAlgn="base">
                <a:spcBef>
                  <a:spcPct val="0"/>
                </a:spcBef>
                <a:spcAft>
                  <a:spcPct val="0"/>
                </a:spcAft>
              </a:pPr>
              <a:t>1</a:t>
            </a:fld>
            <a:endParaRPr lang="en-US" dirty="0">
              <a:solidFill>
                <a:srgbClr val="000000"/>
              </a:solidFill>
              <a:latin typeface="Segoe UI Light" panose="020B0502040204020203" pitchFamily="34" charset="0"/>
            </a:endParaRPr>
          </a:p>
        </p:txBody>
      </p:sp>
    </p:spTree>
    <p:extLst>
      <p:ext uri="{BB962C8B-B14F-4D97-AF65-F5344CB8AC3E}">
        <p14:creationId xmlns:p14="http://schemas.microsoft.com/office/powerpoint/2010/main" val="17461828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5AFD610-1DA2-4DE2-BEB7-46AD4E3C54F9}" type="slidenum">
              <a:rPr lang="en-US" smtClean="0">
                <a:solidFill>
                  <a:prstClr val="black"/>
                </a:solidFill>
              </a:rPr>
              <a:pPr>
                <a:defRPr/>
              </a:pPr>
              <a:t>10</a:t>
            </a:fld>
            <a:endParaRPr lang="en-US">
              <a:solidFill>
                <a:prstClr val="black"/>
              </a:solidFill>
            </a:endParaRPr>
          </a:p>
        </p:txBody>
      </p:sp>
    </p:spTree>
    <p:extLst>
      <p:ext uri="{BB962C8B-B14F-4D97-AF65-F5344CB8AC3E}">
        <p14:creationId xmlns:p14="http://schemas.microsoft.com/office/powerpoint/2010/main" val="13480051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63E62E8F-1DA9-4739-B729-97AB4EFA26B1}" type="slidenum">
              <a:rPr lang="en-US" smtClean="0"/>
              <a:pPr>
                <a:defRPr/>
              </a:pPr>
              <a:t>11</a:t>
            </a:fld>
            <a:endParaRPr lang="en-US"/>
          </a:p>
        </p:txBody>
      </p:sp>
    </p:spTree>
    <p:extLst>
      <p:ext uri="{BB962C8B-B14F-4D97-AF65-F5344CB8AC3E}">
        <p14:creationId xmlns:p14="http://schemas.microsoft.com/office/powerpoint/2010/main" val="35813110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63E62E8F-1DA9-4739-B729-97AB4EFA26B1}" type="slidenum">
              <a:rPr lang="en-US" smtClean="0"/>
              <a:pPr>
                <a:defRPr/>
              </a:pPr>
              <a:t>12</a:t>
            </a:fld>
            <a:endParaRPr lang="en-US"/>
          </a:p>
        </p:txBody>
      </p:sp>
    </p:spTree>
    <p:extLst>
      <p:ext uri="{BB962C8B-B14F-4D97-AF65-F5344CB8AC3E}">
        <p14:creationId xmlns:p14="http://schemas.microsoft.com/office/powerpoint/2010/main" val="18764522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41750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chemeClr val="bg2">
                    <a:lumMod val="50000"/>
                  </a:schemeClr>
                </a:solidFill>
              </a:rPr>
              <a:t>Azure Data Lake Store is fully compliant with </a:t>
            </a:r>
            <a:r>
              <a:rPr lang="en-US" sz="1800" b="1" dirty="0">
                <a:solidFill>
                  <a:schemeClr val="bg2">
                    <a:lumMod val="50000"/>
                  </a:schemeClr>
                </a:solidFill>
              </a:rPr>
              <a:t>WebHDFS 2.7 </a:t>
            </a:r>
            <a:r>
              <a:rPr lang="en-US" sz="1800" dirty="0">
                <a:solidFill>
                  <a:schemeClr val="bg2">
                    <a:lumMod val="50000"/>
                  </a:schemeClr>
                </a:solidFill>
              </a:rPr>
              <a:t>specification</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nables applications not running inside Hadoop clusters to access data in HDFS </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Includes all operations to create, read, write, rename files and directories</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ile read and write calls are directed to corresponding data nodes</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akes advantages of HDFS parallelism and uses the full bandwidth of Hadoop clusters</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tains the security that the native Hadoop protocol offers.</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47861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ADLCopy</a:t>
            </a:r>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014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133695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17</a:t>
            </a:fld>
            <a:endParaRPr lang="en-US" dirty="0"/>
          </a:p>
        </p:txBody>
      </p:sp>
    </p:spTree>
    <p:extLst>
      <p:ext uri="{BB962C8B-B14F-4D97-AF65-F5344CB8AC3E}">
        <p14:creationId xmlns:p14="http://schemas.microsoft.com/office/powerpoint/2010/main" val="31059335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63E62E8F-1DA9-4739-B729-97AB4EFA26B1}" type="slidenum">
              <a:rPr lang="en-US" smtClean="0"/>
              <a:pPr>
                <a:defRPr/>
              </a:pPr>
              <a:t>18</a:t>
            </a:fld>
            <a:endParaRPr lang="en-US"/>
          </a:p>
        </p:txBody>
      </p:sp>
    </p:spTree>
    <p:extLst>
      <p:ext uri="{BB962C8B-B14F-4D97-AF65-F5344CB8AC3E}">
        <p14:creationId xmlns:p14="http://schemas.microsoft.com/office/powerpoint/2010/main" val="5750587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63E62E8F-1DA9-4739-B729-97AB4EFA26B1}" type="slidenum">
              <a:rPr lang="en-US" smtClean="0"/>
              <a:pPr>
                <a:defRPr/>
              </a:pPr>
              <a:t>19</a:t>
            </a:fld>
            <a:endParaRPr lang="en-US"/>
          </a:p>
        </p:txBody>
      </p:sp>
    </p:spTree>
    <p:extLst>
      <p:ext uri="{BB962C8B-B14F-4D97-AF65-F5344CB8AC3E}">
        <p14:creationId xmlns:p14="http://schemas.microsoft.com/office/powerpoint/2010/main" val="11895558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63E62E8F-1DA9-4739-B729-97AB4EFA26B1}" type="slidenum">
              <a:rPr lang="en-US" smtClean="0"/>
              <a:pPr>
                <a:defRPr/>
              </a:pPr>
              <a:t>2</a:t>
            </a:fld>
            <a:endParaRPr lang="en-US"/>
          </a:p>
        </p:txBody>
      </p:sp>
    </p:spTree>
    <p:extLst>
      <p:ext uri="{BB962C8B-B14F-4D97-AF65-F5344CB8AC3E}">
        <p14:creationId xmlns:p14="http://schemas.microsoft.com/office/powerpoint/2010/main" val="21006740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63E62E8F-1DA9-4739-B729-97AB4EFA26B1}" type="slidenum">
              <a:rPr lang="en-US" smtClean="0"/>
              <a:pPr>
                <a:defRPr/>
              </a:pPr>
              <a:t>20</a:t>
            </a:fld>
            <a:endParaRPr lang="en-US"/>
          </a:p>
        </p:txBody>
      </p:sp>
    </p:spTree>
    <p:extLst>
      <p:ext uri="{BB962C8B-B14F-4D97-AF65-F5344CB8AC3E}">
        <p14:creationId xmlns:p14="http://schemas.microsoft.com/office/powerpoint/2010/main" val="18849656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63E62E8F-1DA9-4739-B729-97AB4EFA26B1}" type="slidenum">
              <a:rPr lang="en-US" smtClean="0"/>
              <a:pPr>
                <a:defRPr/>
              </a:pPr>
              <a:t>21</a:t>
            </a:fld>
            <a:endParaRPr lang="en-US"/>
          </a:p>
        </p:txBody>
      </p:sp>
    </p:spTree>
    <p:extLst>
      <p:ext uri="{BB962C8B-B14F-4D97-AF65-F5344CB8AC3E}">
        <p14:creationId xmlns:p14="http://schemas.microsoft.com/office/powerpoint/2010/main" val="615191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2017 11:57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956653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63E62E8F-1DA9-4739-B729-97AB4EFA26B1}" type="slidenum">
              <a:rPr lang="en-US" smtClean="0"/>
              <a:pPr>
                <a:defRPr/>
              </a:pPr>
              <a:t>23</a:t>
            </a:fld>
            <a:endParaRPr lang="en-US"/>
          </a:p>
        </p:txBody>
      </p:sp>
    </p:spTree>
    <p:extLst>
      <p:ext uri="{BB962C8B-B14F-4D97-AF65-F5344CB8AC3E}">
        <p14:creationId xmlns:p14="http://schemas.microsoft.com/office/powerpoint/2010/main" val="36779229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63E62E8F-1DA9-4739-B729-97AB4EFA26B1}" type="slidenum">
              <a:rPr lang="en-US" smtClean="0"/>
              <a:pPr>
                <a:defRPr/>
              </a:pPr>
              <a:t>24</a:t>
            </a:fld>
            <a:endParaRPr lang="en-US"/>
          </a:p>
        </p:txBody>
      </p:sp>
    </p:spTree>
    <p:extLst>
      <p:ext uri="{BB962C8B-B14F-4D97-AF65-F5344CB8AC3E}">
        <p14:creationId xmlns:p14="http://schemas.microsoft.com/office/powerpoint/2010/main" val="18396474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63E62E8F-1DA9-4739-B729-97AB4EFA26B1}" type="slidenum">
              <a:rPr lang="en-US" smtClean="0"/>
              <a:pPr>
                <a:defRPr/>
              </a:pPr>
              <a:t>25</a:t>
            </a:fld>
            <a:endParaRPr lang="en-US"/>
          </a:p>
        </p:txBody>
      </p:sp>
    </p:spTree>
    <p:extLst>
      <p:ext uri="{BB962C8B-B14F-4D97-AF65-F5344CB8AC3E}">
        <p14:creationId xmlns:p14="http://schemas.microsoft.com/office/powerpoint/2010/main" val="32204691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3E62E8F-1DA9-4739-B729-97AB4EFA26B1}" type="slidenum">
              <a:rPr lang="en-US" smtClean="0"/>
              <a:pPr>
                <a:defRPr/>
              </a:pPr>
              <a:t>26</a:t>
            </a:fld>
            <a:endParaRPr lang="en-US"/>
          </a:p>
        </p:txBody>
      </p:sp>
    </p:spTree>
    <p:extLst>
      <p:ext uri="{BB962C8B-B14F-4D97-AF65-F5344CB8AC3E}">
        <p14:creationId xmlns:p14="http://schemas.microsoft.com/office/powerpoint/2010/main" val="10838121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63E62E8F-1DA9-4739-B729-97AB4EFA26B1}" type="slidenum">
              <a:rPr lang="en-US" smtClean="0"/>
              <a:pPr>
                <a:defRPr/>
              </a:pPr>
              <a:t>27</a:t>
            </a:fld>
            <a:endParaRPr lang="en-US"/>
          </a:p>
        </p:txBody>
      </p:sp>
    </p:spTree>
    <p:extLst>
      <p:ext uri="{BB962C8B-B14F-4D97-AF65-F5344CB8AC3E}">
        <p14:creationId xmlns:p14="http://schemas.microsoft.com/office/powerpoint/2010/main" val="35154228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63E62E8F-1DA9-4739-B729-97AB4EFA26B1}" type="slidenum">
              <a:rPr lang="en-US" smtClean="0"/>
              <a:pPr>
                <a:defRPr/>
              </a:pPr>
              <a:t>28</a:t>
            </a:fld>
            <a:endParaRPr lang="en-US"/>
          </a:p>
        </p:txBody>
      </p:sp>
    </p:spTree>
    <p:extLst>
      <p:ext uri="{BB962C8B-B14F-4D97-AF65-F5344CB8AC3E}">
        <p14:creationId xmlns:p14="http://schemas.microsoft.com/office/powerpoint/2010/main" val="35029442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63E62E8F-1DA9-4739-B729-97AB4EFA26B1}" type="slidenum">
              <a:rPr lang="en-US" smtClean="0"/>
              <a:pPr>
                <a:defRPr/>
              </a:pPr>
              <a:t>29</a:t>
            </a:fld>
            <a:endParaRPr lang="en-US"/>
          </a:p>
        </p:txBody>
      </p:sp>
    </p:spTree>
    <p:extLst>
      <p:ext uri="{BB962C8B-B14F-4D97-AF65-F5344CB8AC3E}">
        <p14:creationId xmlns:p14="http://schemas.microsoft.com/office/powerpoint/2010/main" val="30097581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fontAlgn="auto">
              <a:spcBef>
                <a:spcPts val="0"/>
              </a:spcBef>
              <a:spcAft>
                <a:spcPts val="0"/>
              </a:spcAft>
              <a:buFont typeface="Arial" panose="020B0604020202020204" pitchFamily="34" charset="0"/>
              <a:buNone/>
              <a:defRPr/>
            </a:pPr>
            <a:endParaRPr lang="en-US" dirty="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fontAlgn="base">
              <a:spcBef>
                <a:spcPct val="0"/>
              </a:spcBef>
              <a:spcAft>
                <a:spcPct val="0"/>
              </a:spcAft>
            </a:pPr>
            <a:fld id="{67CC388A-6290-4D93-8DF0-831AAE94DACA}" type="slidenum">
              <a:rPr lang="en-US">
                <a:latin typeface="Segoe UI Light" panose="020B0502040204020203" pitchFamily="34" charset="0"/>
              </a:rPr>
              <a:pPr fontAlgn="base">
                <a:spcBef>
                  <a:spcPct val="0"/>
                </a:spcBef>
                <a:spcAft>
                  <a:spcPct val="0"/>
                </a:spcAft>
              </a:pPr>
              <a:t>3</a:t>
            </a:fld>
            <a:endParaRPr lang="en-US" dirty="0">
              <a:latin typeface="Segoe UI Light" panose="020B0502040204020203" pitchFamily="34" charset="0"/>
            </a:endParaRPr>
          </a:p>
        </p:txBody>
      </p:sp>
    </p:spTree>
    <p:extLst>
      <p:ext uri="{BB962C8B-B14F-4D97-AF65-F5344CB8AC3E}">
        <p14:creationId xmlns:p14="http://schemas.microsoft.com/office/powerpoint/2010/main" val="385061632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63E62E8F-1DA9-4739-B729-97AB4EFA26B1}" type="slidenum">
              <a:rPr lang="en-US" smtClean="0"/>
              <a:pPr>
                <a:defRPr/>
              </a:pPr>
              <a:t>30</a:t>
            </a:fld>
            <a:endParaRPr lang="en-US"/>
          </a:p>
        </p:txBody>
      </p:sp>
    </p:spTree>
    <p:extLst>
      <p:ext uri="{BB962C8B-B14F-4D97-AF65-F5344CB8AC3E}">
        <p14:creationId xmlns:p14="http://schemas.microsoft.com/office/powerpoint/2010/main" val="40943420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3E62E8F-1DA9-4739-B729-97AB4EFA26B1}" type="slidenum">
              <a:rPr lang="en-US" smtClean="0"/>
              <a:pPr>
                <a:defRPr/>
              </a:pPr>
              <a:t>31</a:t>
            </a:fld>
            <a:endParaRPr lang="en-US"/>
          </a:p>
        </p:txBody>
      </p:sp>
    </p:spTree>
    <p:extLst>
      <p:ext uri="{BB962C8B-B14F-4D97-AF65-F5344CB8AC3E}">
        <p14:creationId xmlns:p14="http://schemas.microsoft.com/office/powerpoint/2010/main" val="1958619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63E62E8F-1DA9-4739-B729-97AB4EFA26B1}" type="slidenum">
              <a:rPr lang="en-US" smtClean="0"/>
              <a:pPr>
                <a:defRPr/>
              </a:pPr>
              <a:t>32</a:t>
            </a:fld>
            <a:endParaRPr lang="en-US"/>
          </a:p>
        </p:txBody>
      </p:sp>
    </p:spTree>
    <p:extLst>
      <p:ext uri="{BB962C8B-B14F-4D97-AF65-F5344CB8AC3E}">
        <p14:creationId xmlns:p14="http://schemas.microsoft.com/office/powerpoint/2010/main" val="7251636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lvl="0"/>
            <a:r>
              <a:rPr lang="en-US" dirty="0"/>
              <a:t>“If you think of a </a:t>
            </a:r>
            <a:r>
              <a:rPr lang="en-US" dirty="0" err="1"/>
              <a:t>datamart</a:t>
            </a:r>
            <a:r>
              <a:rPr lang="en-US" dirty="0"/>
              <a:t> as a store of bottled water – cleansed and packaged and structured for easy consumption – the data lake is a large body of water in a more natural state. The contents of the data lake stream in from a source to fill the lake, and various users of the lake can come to examine, dive in, or take samples.”</a:t>
            </a:r>
          </a:p>
          <a:p>
            <a:pPr lvl="0"/>
            <a:endParaRPr lang="en-US" dirty="0"/>
          </a:p>
          <a:p>
            <a:r>
              <a:rPr lang="en-US" b="1" dirty="0"/>
              <a:t>Data</a:t>
            </a:r>
            <a:r>
              <a:rPr lang="en-US" dirty="0"/>
              <a:t>. A data warehouse only stores data that has been modeled/structured, while a data lake is no respecter of data. It stores it all—structured, semi-structured, and unstructured. [See my </a:t>
            </a:r>
            <a:r>
              <a:rPr lang="en-US" i="1" dirty="0">
                <a:hlinkClick r:id="rId3"/>
              </a:rPr>
              <a:t>big data is not new</a:t>
            </a:r>
            <a:r>
              <a:rPr lang="en-US" dirty="0"/>
              <a:t> graphic. The data warehouse can only store the orange data, while the data lake can store all the orange and blue data.]</a:t>
            </a:r>
          </a:p>
          <a:p>
            <a:r>
              <a:rPr lang="en-US" b="1" dirty="0"/>
              <a:t>Processing</a:t>
            </a:r>
            <a:r>
              <a:rPr lang="en-US" dirty="0"/>
              <a:t>. Before we can load data into a data warehouse, we first need to give it some shape and structure—i.e., we need to model it. That’s called schema-on-write. With a data lake, you just load in the raw data, as-is, and then when you’re ready to use the data, that’s when you give it shape and structure. That’s called schema-on-read. Two very different approaches.</a:t>
            </a:r>
          </a:p>
          <a:p>
            <a:r>
              <a:rPr lang="en-US" b="1" dirty="0"/>
              <a:t>Storage</a:t>
            </a:r>
            <a:r>
              <a:rPr lang="en-US" dirty="0"/>
              <a:t>. One of the primary features of big data technologies like Hadoop is that the cost of storing data is relatively low as compared to the data warehouse. There are two key reasons for this: First, Hadoop is open source software, so the licensing and community support is free. And second, Hadoop is designed to be installed on low-cost commodity hardware.</a:t>
            </a:r>
          </a:p>
          <a:p>
            <a:r>
              <a:rPr lang="en-US" b="1" dirty="0"/>
              <a:t>Agility</a:t>
            </a:r>
            <a:r>
              <a:rPr lang="en-US" dirty="0"/>
              <a:t>. A data warehouse is a highly-structured repository, by definition. It’s not technically hard to change the structure, but it can be very time-consuming given all the business processes that are tied to it. A data lake, on the other hand, lacks the structure of a data warehouse—which gives developers and data scientists the ability to easily configure and reconfigure their models, queries, and apps on-the-fly.</a:t>
            </a:r>
          </a:p>
          <a:p>
            <a:r>
              <a:rPr lang="en-US" b="1" dirty="0"/>
              <a:t>Security</a:t>
            </a:r>
            <a:r>
              <a:rPr lang="en-US" dirty="0"/>
              <a:t>. Data warehouse technologies have been around for decades, while big data technologies (the underpinnings of a data lake) are relatively new. Thus, the ability to secure data in a data warehouse is much more mature than securing data in a data lake. It should be noted, however, that there’s a significant effort being placed on security right now in the big data industry. It’s not a question of if, but when.</a:t>
            </a:r>
          </a:p>
          <a:p>
            <a:r>
              <a:rPr lang="en-US" b="1" dirty="0"/>
              <a:t>Users</a:t>
            </a:r>
            <a:r>
              <a:rPr lang="en-US" dirty="0"/>
              <a:t>. For a long time, the rally cry has been BI and analytics for everyone! We’ve built the data warehouse and invited “everyone” to come, but have they come? On average, 20-25% of them have. Is it the same cry for the data lake? Will we build the data lake and invite everyone to come? Not if you’re smart. Trust me, a data lake, at this point in its maturity, is best suited for the data scientists.</a:t>
            </a:r>
          </a:p>
          <a:p>
            <a:pPr lvl="0"/>
            <a:endParaRPr lang="en-US" dirty="0"/>
          </a:p>
        </p:txBody>
      </p:sp>
      <p:sp>
        <p:nvSpPr>
          <p:cNvPr id="5" name="Date Placeholder 4"/>
          <p:cNvSpPr>
            <a:spLocks noGrp="1"/>
          </p:cNvSpPr>
          <p:nvPr>
            <p:ph type="dt" idx="10"/>
          </p:nvPr>
        </p:nvSpPr>
        <p:spPr/>
        <p:txBody>
          <a:bodyPr/>
          <a:lstStyle/>
          <a:p>
            <a:fld id="{F22B3E36-5CE0-4CB7-82DE-38A88C71BFA8}" type="datetime1">
              <a:rPr lang="en-US" smtClean="0"/>
              <a:pPr/>
              <a:t>11/5/2017</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pPr/>
              <a:t>4</a:t>
            </a:fld>
            <a:endParaRPr lang="en-US" dirty="0"/>
          </a:p>
        </p:txBody>
      </p:sp>
      <p:sp>
        <p:nvSpPr>
          <p:cNvPr id="8" name="Header Placeholder 7"/>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7526208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DInsight – Cluster as a service</a:t>
            </a:r>
          </a:p>
          <a:p>
            <a:r>
              <a:rPr lang="en-US" dirty="0"/>
              <a:t>Analytics – Big Data queries as a service</a:t>
            </a:r>
          </a:p>
          <a:p>
            <a:r>
              <a:rPr lang="en-US" dirty="0"/>
              <a:t>Store – Hyper-scale storage optimized for analytics</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6339795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 Lake includes all the capabilities required to make it easy for developers, data scientists, and analysts to store data of any size, shape, and speed, and do all types of processing and analytics across platforms and languages. It removes the complexities of ingesting and storing all of your data while making it faster to get up and running with batch, streaming, and interactive analytics. </a:t>
            </a:r>
          </a:p>
          <a:p>
            <a:endParaRPr lang="en-US" dirty="0"/>
          </a:p>
          <a:p>
            <a:r>
              <a:rPr lang="en-US" dirty="0"/>
              <a:t>Azure Data Lake works with existing IT investments for identity, management, and security for simplified data management and governance. It also integrates seamlessly with operational stores and data warehouses so you can extend current data applications.</a:t>
            </a:r>
          </a:p>
          <a:p>
            <a:endParaRPr lang="en-US" dirty="0"/>
          </a:p>
          <a:p>
            <a:r>
              <a:rPr lang="en-US" dirty="0"/>
              <a:t>We’ve drawn on the experience of working with enterprise customers and running some of the largest scale processing and analytics in the world for Microsoft businesses like Office 365, Xbox Live, Azure, Windows, Bing, and Skype. Azure Data Lake solves many of the productivity and scalability challenges that prevent you from maximizing the value of data assets with a service that’s ready to meet current and future business needs.</a:t>
            </a:r>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6</a:t>
            </a:fld>
            <a:endParaRPr lang="en-US" dirty="0"/>
          </a:p>
        </p:txBody>
      </p:sp>
    </p:spTree>
    <p:extLst>
      <p:ext uri="{BB962C8B-B14F-4D97-AF65-F5344CB8AC3E}">
        <p14:creationId xmlns:p14="http://schemas.microsoft.com/office/powerpoint/2010/main" val="24114931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r>
              <a:rPr lang="en-US" b="1" dirty="0"/>
              <a:t>Petabyte-size files and trillions of objects</a:t>
            </a:r>
          </a:p>
          <a:p>
            <a:r>
              <a:rPr lang="en-US" dirty="0"/>
              <a:t>With Azure Data Lake Store, analyze all of your data in one place with no artificial constraints. Data Lake Store can store trillions of files. A single file can be larger than one petabyte in size—200 times larger than other cloud store options. This makes Data Lake Store ideal for storing any type of data including massive datasets like high-resolution video, genomic and seismic datasets, medical data, and data from a wide variety of industries.</a:t>
            </a:r>
          </a:p>
          <a:p>
            <a:endParaRPr lang="en-GB" dirty="0"/>
          </a:p>
          <a:p>
            <a:r>
              <a:rPr lang="en-US" b="1" dirty="0"/>
              <a:t>Scalable throughput for massively-parallel analytics</a:t>
            </a:r>
          </a:p>
          <a:p>
            <a:r>
              <a:rPr lang="en-US" dirty="0"/>
              <a:t>Without you redesigning your application or repartitioning your data at higher scale, Data Lake Store scales throughput to support any size of analytic workload. You get massive throughput to run analytic jobs with thousands of concurrent executors that efficiently read and write hundreds of terabytes of data.</a:t>
            </a:r>
          </a:p>
          <a:p>
            <a:endParaRPr lang="en-GB" dirty="0"/>
          </a:p>
          <a:p>
            <a:r>
              <a:rPr lang="en-US" b="1" dirty="0"/>
              <a:t>Always encrypted, role-based security and auditing</a:t>
            </a:r>
          </a:p>
          <a:p>
            <a:r>
              <a:rPr lang="en-US" dirty="0"/>
              <a:t>Data Lake Store protects your data assets and extends your on-premises security and governance controls to the cloud. Your data is always encrypted, while in motion using SSL, and at rest using service or user-managed HSM-backed keys in Azure Key Vault. Single sign-on (SSO), multi-factor authentication, and seamless management of millions of identities is built-in through Azure Active Directory. Authorize users and groups with fine-grained POSIX-based ACLs for all data in your store and enable role-based access controls. Meet security and regulatory compliance needs by auditing every access or configuration change to the system.</a:t>
            </a:r>
          </a:p>
          <a:p>
            <a:endParaRPr lang="en-GB" dirty="0"/>
          </a:p>
          <a:p>
            <a:r>
              <a:rPr lang="en-US" b="1" dirty="0"/>
              <a:t>HDFS for the cloud</a:t>
            </a:r>
          </a:p>
          <a:p>
            <a:r>
              <a:rPr lang="en-US" dirty="0"/>
              <a:t>Microsoft Azure Data Lake Store supports any application that uses the open Apache Hadoop Distributed File System (HDFS) standard. By supporting HDFS, you can easily migrate your existing Hadoop and Spark data to the cloud without recreating your HDFS directory structure.</a:t>
            </a:r>
          </a:p>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7</a:t>
            </a:fld>
            <a:endParaRPr lang="en-US" dirty="0"/>
          </a:p>
        </p:txBody>
      </p:sp>
    </p:spTree>
    <p:extLst>
      <p:ext uri="{BB962C8B-B14F-4D97-AF65-F5344CB8AC3E}">
        <p14:creationId xmlns:p14="http://schemas.microsoft.com/office/powerpoint/2010/main" val="24021556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6261999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5AFD610-1DA2-4DE2-BEB7-46AD4E3C54F9}" type="slidenum">
              <a:rPr lang="en-US" smtClean="0">
                <a:solidFill>
                  <a:prstClr val="black"/>
                </a:solidFill>
              </a:rPr>
              <a:pPr>
                <a:defRPr/>
              </a:pPr>
              <a:t>9</a:t>
            </a:fld>
            <a:endParaRPr lang="en-US">
              <a:solidFill>
                <a:prstClr val="black"/>
              </a:solidFill>
            </a:endParaRPr>
          </a:p>
        </p:txBody>
      </p:sp>
    </p:spTree>
    <p:extLst>
      <p:ext uri="{BB962C8B-B14F-4D97-AF65-F5344CB8AC3E}">
        <p14:creationId xmlns:p14="http://schemas.microsoft.com/office/powerpoint/2010/main" val="24573103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tif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tif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5" Type="http://schemas.microsoft.com/office/2007/relationships/hdphoto" Target="../media/hdphoto1.wdp"/><Relationship Id="rId4" Type="http://schemas.openxmlformats.org/officeDocument/2006/relationships/image" Target="../media/image14.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0.tiff"/><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urse Title">
    <p:bg>
      <p:bgPr>
        <a:solidFill>
          <a:schemeClr val="tx1"/>
        </a:solidFill>
        <a:effectLst/>
      </p:bgPr>
    </p:bg>
    <p:spTree>
      <p:nvGrpSpPr>
        <p:cNvPr id="1" name=""/>
        <p:cNvGrpSpPr/>
        <p:nvPr/>
      </p:nvGrpSpPr>
      <p:grpSpPr>
        <a:xfrm>
          <a:off x="0" y="0"/>
          <a:ext cx="0" cy="0"/>
          <a:chOff x="0" y="0"/>
          <a:chExt cx="0" cy="0"/>
        </a:xfrm>
      </p:grpSpPr>
      <p:sp>
        <p:nvSpPr>
          <p:cNvPr id="3" name="TextBox 6"/>
          <p:cNvSpPr txBox="1">
            <a:spLocks noChangeArrowheads="1"/>
          </p:cNvSpPr>
          <p:nvPr userDrawn="1"/>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p>
        </p:txBody>
      </p:sp>
      <p:sp>
        <p:nvSpPr>
          <p:cNvPr id="16" name="Text Placeholder 9"/>
          <p:cNvSpPr>
            <a:spLocks noGrp="1"/>
          </p:cNvSpPr>
          <p:nvPr>
            <p:ph type="body" sz="quarter" idx="13"/>
          </p:nvPr>
        </p:nvSpPr>
        <p:spPr>
          <a:xfrm>
            <a:off x="0" y="1143000"/>
            <a:ext cx="6949440" cy="2286000"/>
          </a:xfrm>
          <a:solidFill>
            <a:schemeClr val="accent1">
              <a:alpha val="90000"/>
            </a:schemeClr>
          </a:solidFill>
        </p:spPr>
        <p:txBody>
          <a:bodyPr lIns="91440" tIns="91440">
            <a:noAutofit/>
          </a:bodyPr>
          <a:lstStyle>
            <a:lvl1pPr>
              <a:lnSpc>
                <a:spcPct val="100000"/>
              </a:lnSpc>
              <a:defRPr sz="3600">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4"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5" name="Slide Number Placeholder 3"/>
          <p:cNvSpPr>
            <a:spLocks noGrp="1"/>
          </p:cNvSpPr>
          <p:nvPr>
            <p:ph type="sldNum" sz="quarter" idx="19"/>
          </p:nvPr>
        </p:nvSpPr>
        <p:spPr>
          <a:xfrm>
            <a:off x="9353550" y="6492875"/>
            <a:ext cx="2844800" cy="365125"/>
          </a:xfrm>
        </p:spPr>
        <p:txBody>
          <a:bodyPr/>
          <a:lstStyle>
            <a:lvl1pPr>
              <a:defRPr smtClean="0">
                <a:solidFill>
                  <a:srgbClr val="3F3F3F"/>
                </a:solidFill>
                <a:latin typeface="+mn-lt"/>
              </a:defRPr>
            </a:lvl1pPr>
          </a:lstStyle>
          <a:p>
            <a:pPr>
              <a:defRPr/>
            </a:pPr>
            <a:fld id="{3D1B5734-3614-4DC6-A13F-4700EA017BC8}" type="slidenum">
              <a:rPr lang="en-US"/>
              <a:pPr>
                <a:defRPr/>
              </a:pPr>
              <a:t>‹#›</a:t>
            </a:fld>
            <a:endParaRPr lang="en-US"/>
          </a:p>
        </p:txBody>
      </p:sp>
    </p:spTree>
    <p:extLst>
      <p:ext uri="{BB962C8B-B14F-4D97-AF65-F5344CB8AC3E}">
        <p14:creationId xmlns:p14="http://schemas.microsoft.com/office/powerpoint/2010/main" val="14716671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bg>
      <p:bgPr>
        <a:solidFill>
          <a:schemeClr val="tx1"/>
        </a:solidFill>
        <a:effectLst/>
      </p:bgPr>
    </p:bg>
    <p:spTree>
      <p:nvGrpSpPr>
        <p:cNvPr id="1" name=""/>
        <p:cNvGrpSpPr/>
        <p:nvPr/>
      </p:nvGrpSpPr>
      <p:grpSpPr>
        <a:xfrm>
          <a:off x="0" y="0"/>
          <a:ext cx="0" cy="0"/>
          <a:chOff x="0" y="0"/>
          <a:chExt cx="0" cy="0"/>
        </a:xfrm>
      </p:grpSpPr>
      <p:sp>
        <p:nvSpPr>
          <p:cNvPr id="11" name="TextBox 6"/>
          <p:cNvSpPr txBox="1">
            <a:spLocks noChangeArrowheads="1"/>
          </p:cNvSpPr>
          <p:nvPr userDrawn="1"/>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9" name="Text Placeholder 18"/>
          <p:cNvSpPr>
            <a:spLocks noGrp="1"/>
          </p:cNvSpPr>
          <p:nvPr>
            <p:ph type="body" sz="quarter" idx="16"/>
          </p:nvPr>
        </p:nvSpPr>
        <p:spPr>
          <a:xfrm>
            <a:off x="0"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8" name="Picture Placeholder 4"/>
          <p:cNvSpPr>
            <a:spLocks noGrp="1"/>
          </p:cNvSpPr>
          <p:nvPr>
            <p:ph type="pic" sz="quarter" idx="18"/>
          </p:nvPr>
        </p:nvSpPr>
        <p:spPr>
          <a:xfrm>
            <a:off x="1036320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2"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3" name="Slide Number Placeholder 3"/>
          <p:cNvSpPr>
            <a:spLocks noGrp="1"/>
          </p:cNvSpPr>
          <p:nvPr>
            <p:ph type="sldNum" sz="quarter" idx="19"/>
          </p:nvPr>
        </p:nvSpPr>
        <p:spPr>
          <a:xfrm>
            <a:off x="9353550" y="6492875"/>
            <a:ext cx="2844800" cy="365125"/>
          </a:xfrm>
        </p:spPr>
        <p:txBody>
          <a:bodyPr/>
          <a:lstStyle>
            <a:lvl1pPr>
              <a:defRPr smtClean="0">
                <a:solidFill>
                  <a:srgbClr val="3F3F3F"/>
                </a:solidFill>
                <a:latin typeface="+mn-lt"/>
              </a:defRPr>
            </a:lvl1pPr>
          </a:lstStyle>
          <a:p>
            <a:pPr>
              <a:defRPr/>
            </a:pPr>
            <a:fld id="{3D1B5734-3614-4DC6-A13F-4700EA017BC8}" type="slidenum">
              <a:rPr lang="en-US"/>
              <a:pPr>
                <a:defRPr/>
              </a:pPr>
              <a:t>‹#›</a:t>
            </a:fld>
            <a:endParaRPr lang="en-US"/>
          </a:p>
        </p:txBody>
      </p:sp>
    </p:spTree>
    <p:extLst>
      <p:ext uri="{BB962C8B-B14F-4D97-AF65-F5344CB8AC3E}">
        <p14:creationId xmlns:p14="http://schemas.microsoft.com/office/powerpoint/2010/main" val="156117704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2"/>
            <a:ext cx="11655078" cy="899665"/>
          </a:xfrm>
        </p:spPr>
        <p:txBody>
          <a:bodyPr/>
          <a:lstStyle>
            <a:lvl1pPr>
              <a:defRPr/>
            </a:lvl1pPr>
          </a:lstStyle>
          <a:p>
            <a:r>
              <a:rPr lang="en-US" dirty="0"/>
              <a:t>Slide for Developer Code</a:t>
            </a:r>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447803"/>
            <a:ext cx="11155093" cy="2089751"/>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sz="1800">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sz="1600">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sz="1400">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sz="1400">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7" name="Picture 6"/>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416501914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2_Blank">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10838" t="27302" r="9446" b="26762"/>
          <a:stretch/>
        </p:blipFill>
        <p:spPr>
          <a:xfrm>
            <a:off x="459230" y="3145040"/>
            <a:ext cx="3325370" cy="704879"/>
          </a:xfrm>
          <a:prstGeom prst="rect">
            <a:avLst/>
          </a:prstGeom>
        </p:spPr>
      </p:pic>
    </p:spTree>
    <p:extLst>
      <p:ext uri="{BB962C8B-B14F-4D97-AF65-F5344CB8AC3E}">
        <p14:creationId xmlns:p14="http://schemas.microsoft.com/office/powerpoint/2010/main" val="183325578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86" rtl="0" eaLnBrk="1" latinLnBrk="0" hangingPunct="1">
              <a:lnSpc>
                <a:spcPct val="90000"/>
              </a:lnSpc>
              <a:spcBef>
                <a:spcPct val="0"/>
              </a:spcBef>
              <a:buNone/>
              <a:defRPr lang="en-US" sz="6600"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Tree>
    <p:extLst>
      <p:ext uri="{BB962C8B-B14F-4D97-AF65-F5344CB8AC3E}">
        <p14:creationId xmlns:p14="http://schemas.microsoft.com/office/powerpoint/2010/main" val="22799695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2" y="6434664"/>
            <a:ext cx="935823" cy="239431"/>
          </a:xfrm>
          <a:prstGeom prst="rect">
            <a:avLst/>
          </a:prstGeom>
        </p:spPr>
      </p:pic>
    </p:spTree>
    <p:extLst>
      <p:ext uri="{BB962C8B-B14F-4D97-AF65-F5344CB8AC3E}">
        <p14:creationId xmlns:p14="http://schemas.microsoft.com/office/powerpoint/2010/main" val="3425062792"/>
      </p:ext>
    </p:extLst>
  </p:cSld>
  <p:clrMapOvr>
    <a:masterClrMapping/>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39233978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dark/image, left aligned">
    <p:bg>
      <p:bgPr>
        <a:solidFill>
          <a:schemeClr val="bg2"/>
        </a:solidFill>
        <a:effectLst/>
      </p:bgPr>
    </p:bg>
    <p:spTree>
      <p:nvGrpSpPr>
        <p:cNvPr id="1" name=""/>
        <p:cNvGrpSpPr/>
        <p:nvPr/>
      </p:nvGrpSpPr>
      <p:grpSpPr>
        <a:xfrm>
          <a:off x="0" y="0"/>
          <a:ext cx="0" cy="0"/>
          <a:chOff x="0" y="0"/>
          <a:chExt cx="0" cy="0"/>
        </a:xfrm>
      </p:grpSpPr>
      <p:sp>
        <p:nvSpPr>
          <p:cNvPr id="7" name="Text Placeholder 18"/>
          <p:cNvSpPr>
            <a:spLocks noGrp="1"/>
          </p:cNvSpPr>
          <p:nvPr>
            <p:ph type="body" sz="quarter" idx="16"/>
          </p:nvPr>
        </p:nvSpPr>
        <p:spPr>
          <a:xfrm>
            <a:off x="0" y="3429000"/>
            <a:ext cx="3048000" cy="1143000"/>
          </a:xfrm>
          <a:prstGeom prst="rect">
            <a:avLst/>
          </a:prstGeom>
          <a:solidFill>
            <a:schemeClr val="accent2">
              <a:alpha val="90000"/>
            </a:schemeClr>
          </a:solidFill>
        </p:spPr>
        <p:txBody>
          <a:bodyPr lIns="91440" tIns="91440">
            <a:normAutofit/>
          </a:bodyPr>
          <a:lstStyle>
            <a:lvl1pPr marL="0" indent="0">
              <a:lnSpc>
                <a:spcPct val="100000"/>
              </a:lnSpc>
              <a:buFontTx/>
              <a:buNone/>
              <a:defRPr sz="1600" baseline="0">
                <a:solidFill>
                  <a:schemeClr val="bg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1"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6" name="Picture Placeholder 4"/>
          <p:cNvSpPr>
            <a:spLocks noGrp="1"/>
          </p:cNvSpPr>
          <p:nvPr>
            <p:ph type="pic" sz="quarter" idx="18"/>
          </p:nvPr>
        </p:nvSpPr>
        <p:spPr>
          <a:xfrm>
            <a:off x="1036320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6842468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bg>
      <p:bgPr>
        <a:solidFill>
          <a:schemeClr val="tx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6"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0"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9"/>
          </p:nvPr>
        </p:nvSpPr>
        <p:spPr>
          <a:xfrm>
            <a:off x="9353550" y="6492875"/>
            <a:ext cx="2844800" cy="365125"/>
          </a:xfrm>
        </p:spPr>
        <p:txBody>
          <a:bodyPr/>
          <a:lstStyle>
            <a:lvl1pPr>
              <a:defRPr smtClean="0">
                <a:solidFill>
                  <a:srgbClr val="3F3F3F"/>
                </a:solidFill>
                <a:latin typeface="+mn-lt"/>
              </a:defRPr>
            </a:lvl1pPr>
          </a:lstStyle>
          <a:p>
            <a:pPr>
              <a:defRPr/>
            </a:pPr>
            <a:fld id="{3D1B5734-3614-4DC6-A13F-4700EA017BC8}" type="slidenum">
              <a:rPr lang="en-US"/>
              <a:pPr>
                <a:defRPr/>
              </a:pPr>
              <a:t>‹#›</a:t>
            </a:fld>
            <a:endParaRPr lang="en-US"/>
          </a:p>
        </p:txBody>
      </p:sp>
    </p:spTree>
    <p:extLst>
      <p:ext uri="{BB962C8B-B14F-4D97-AF65-F5344CB8AC3E}">
        <p14:creationId xmlns:p14="http://schemas.microsoft.com/office/powerpoint/2010/main" val="7883888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General content light">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0"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Click to edit Master text styles</a:t>
            </a:r>
          </a:p>
        </p:txBody>
      </p:sp>
      <p:sp>
        <p:nvSpPr>
          <p:cNvPr id="5" name="Date Placeholder 2"/>
          <p:cNvSpPr>
            <a:spLocks noGrp="1"/>
          </p:cNvSpPr>
          <p:nvPr>
            <p:ph type="dt" sz="half" idx="14"/>
          </p:nvPr>
        </p:nvSpPr>
        <p:spPr>
          <a:xfrm>
            <a:off x="0" y="6492875"/>
            <a:ext cx="2844800" cy="365125"/>
          </a:xfrm>
        </p:spPr>
        <p:txBody>
          <a:bodyPr/>
          <a:lstStyle>
            <a:lvl1pPr>
              <a:defRPr smtClean="0">
                <a:solidFill>
                  <a:srgbClr val="3F3F3F"/>
                </a:solidFill>
                <a:latin typeface="+mn-lt"/>
              </a:defRPr>
            </a:lvl1pPr>
          </a:lstStyle>
          <a:p>
            <a:pPr>
              <a:defRPr/>
            </a:pPr>
            <a:endParaRPr lang="en-US" dirty="0"/>
          </a:p>
        </p:txBody>
      </p:sp>
      <p:sp>
        <p:nvSpPr>
          <p:cNvPr id="6" name="Slide Number Placeholder 3"/>
          <p:cNvSpPr>
            <a:spLocks noGrp="1"/>
          </p:cNvSpPr>
          <p:nvPr>
            <p:ph type="sldNum" sz="quarter" idx="15"/>
          </p:nvPr>
        </p:nvSpPr>
        <p:spPr>
          <a:xfrm>
            <a:off x="9353550" y="6492875"/>
            <a:ext cx="2844800" cy="365125"/>
          </a:xfrm>
        </p:spPr>
        <p:txBody>
          <a:bodyPr/>
          <a:lstStyle>
            <a:lvl1pPr>
              <a:defRPr smtClean="0">
                <a:solidFill>
                  <a:srgbClr val="3F3F3F"/>
                </a:solidFill>
                <a:latin typeface="+mn-lt"/>
              </a:defRPr>
            </a:lvl1pPr>
          </a:lstStyle>
          <a:p>
            <a:pPr>
              <a:defRPr/>
            </a:pPr>
            <a:fld id="{3345F842-F93F-4EE0-94D2-EED9F9F91338}" type="slidenum">
              <a:rPr lang="en-US"/>
              <a:pPr>
                <a:defRPr/>
              </a:pPr>
              <a:t>‹#›</a:t>
            </a:fld>
            <a:endParaRPr lang="en-US"/>
          </a:p>
        </p:txBody>
      </p:sp>
    </p:spTree>
    <p:extLst>
      <p:ext uri="{BB962C8B-B14F-4D97-AF65-F5344CB8AC3E}">
        <p14:creationId xmlns:p14="http://schemas.microsoft.com/office/powerpoint/2010/main" val="272599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General content light">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0"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spcBef>
                <a:spcPts val="300"/>
              </a:spcBef>
              <a:buFontTx/>
              <a:buNone/>
              <a:defRPr sz="1600" baseline="0">
                <a:solidFill>
                  <a:srgbClr val="3F3F3F"/>
                </a:solidFill>
                <a:latin typeface="+mn-lt"/>
              </a:defRPr>
            </a:lvl1pPr>
          </a:lstStyle>
          <a:p>
            <a:pPr lvl="0"/>
            <a:r>
              <a:rPr lang="en-US"/>
              <a:t>Click to edit Master text styles</a:t>
            </a:r>
          </a:p>
        </p:txBody>
      </p:sp>
      <p:sp>
        <p:nvSpPr>
          <p:cNvPr id="5" name="Date Placeholder 2"/>
          <p:cNvSpPr>
            <a:spLocks noGrp="1"/>
          </p:cNvSpPr>
          <p:nvPr>
            <p:ph type="dt" sz="half" idx="14"/>
          </p:nvPr>
        </p:nvSpPr>
        <p:spPr>
          <a:xfrm>
            <a:off x="0" y="6492875"/>
            <a:ext cx="2844800" cy="365125"/>
          </a:xfrm>
        </p:spPr>
        <p:txBody>
          <a:bodyPr/>
          <a:lstStyle>
            <a:lvl1pPr>
              <a:defRPr smtClean="0">
                <a:solidFill>
                  <a:srgbClr val="3F3F3F"/>
                </a:solidFill>
                <a:latin typeface="+mn-lt"/>
              </a:defRPr>
            </a:lvl1pPr>
          </a:lstStyle>
          <a:p>
            <a:pPr>
              <a:defRPr/>
            </a:pPr>
            <a:endParaRPr lang="en-US" dirty="0"/>
          </a:p>
        </p:txBody>
      </p:sp>
      <p:sp>
        <p:nvSpPr>
          <p:cNvPr id="6" name="Slide Number Placeholder 3"/>
          <p:cNvSpPr>
            <a:spLocks noGrp="1"/>
          </p:cNvSpPr>
          <p:nvPr>
            <p:ph type="sldNum" sz="quarter" idx="15"/>
          </p:nvPr>
        </p:nvSpPr>
        <p:spPr>
          <a:xfrm>
            <a:off x="9353550" y="6492875"/>
            <a:ext cx="2844800" cy="365125"/>
          </a:xfrm>
        </p:spPr>
        <p:txBody>
          <a:bodyPr/>
          <a:lstStyle>
            <a:lvl1pPr>
              <a:defRPr smtClean="0">
                <a:solidFill>
                  <a:srgbClr val="3F3F3F"/>
                </a:solidFill>
                <a:latin typeface="+mn-lt"/>
              </a:defRPr>
            </a:lvl1pPr>
          </a:lstStyle>
          <a:p>
            <a:pPr>
              <a:defRPr/>
            </a:pPr>
            <a:fld id="{B5B90C1E-6F3C-4021-8BED-A3C6E480437D}" type="slidenum">
              <a:rPr lang="en-US"/>
              <a:pPr>
                <a:defRPr/>
              </a:pPr>
              <a:t>‹#›</a:t>
            </a:fld>
            <a:endParaRPr lang="en-US"/>
          </a:p>
        </p:txBody>
      </p:sp>
    </p:spTree>
    <p:extLst>
      <p:ext uri="{BB962C8B-B14F-4D97-AF65-F5344CB8AC3E}">
        <p14:creationId xmlns:p14="http://schemas.microsoft.com/office/powerpoint/2010/main" val="11286565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les with text">
    <p:bg>
      <p:bgPr>
        <a:solidFill>
          <a:schemeClr val="tx1"/>
        </a:solidFill>
        <a:effectLst/>
      </p:bgPr>
    </p:bg>
    <p:spTree>
      <p:nvGrpSpPr>
        <p:cNvPr id="1" name=""/>
        <p:cNvGrpSpPr/>
        <p:nvPr/>
      </p:nvGrpSpPr>
      <p:grpSpPr>
        <a:xfrm>
          <a:off x="0" y="0"/>
          <a:ext cx="0" cy="0"/>
          <a:chOff x="0" y="0"/>
          <a:chExt cx="0" cy="0"/>
        </a:xfrm>
      </p:grpSpPr>
      <p:sp>
        <p:nvSpPr>
          <p:cNvPr id="10"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a:t>Click icon to add picture</a:t>
            </a:r>
          </a:p>
        </p:txBody>
      </p:sp>
      <p:sp>
        <p:nvSpPr>
          <p:cNvPr id="2" name="Title 1"/>
          <p:cNvSpPr>
            <a:spLocks noGrp="1"/>
          </p:cNvSpPr>
          <p:nvPr>
            <p:ph type="title"/>
          </p:nvPr>
        </p:nvSpPr>
        <p:spPr>
          <a:xfrm>
            <a:off x="0"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latin typeface="+mn-lt"/>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p:cNvSpPr>
            <a:spLocks noGrp="1"/>
          </p:cNvSpPr>
          <p:nvPr>
            <p:ph type="body" sz="quarter" idx="13"/>
          </p:nvPr>
        </p:nvSpPr>
        <p:spPr>
          <a:xfrm>
            <a:off x="3048000" y="3429000"/>
            <a:ext cx="3048000" cy="2286000"/>
          </a:xfrm>
          <a:solidFill>
            <a:schemeClr val="accent3">
              <a:alpha val="90000"/>
            </a:schemeClr>
          </a:solidFill>
        </p:spPr>
        <p:txBody>
          <a:bodyPr>
            <a:normAutofit/>
          </a:bodyPr>
          <a:lstStyle>
            <a:lvl1pPr>
              <a:lnSpc>
                <a:spcPct val="100000"/>
              </a:lnSpc>
              <a:defRPr sz="1600">
                <a:latin typeface="+mn-lt"/>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latin typeface="+mn-lt"/>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Date Placeholder 2"/>
          <p:cNvSpPr>
            <a:spLocks noGrp="1"/>
          </p:cNvSpPr>
          <p:nvPr>
            <p:ph type="dt" sz="half" idx="17"/>
          </p:nvPr>
        </p:nvSpPr>
        <p:spPr>
          <a:xfrm>
            <a:off x="0" y="6492875"/>
            <a:ext cx="2844800" cy="365125"/>
          </a:xfrm>
        </p:spPr>
        <p:txBody>
          <a:bodyPr/>
          <a:lstStyle>
            <a:lvl1pPr>
              <a:defRPr smtClean="0">
                <a:solidFill>
                  <a:srgbClr val="3F3F3F"/>
                </a:solidFill>
                <a:latin typeface="+mn-lt"/>
              </a:defRPr>
            </a:lvl1pPr>
          </a:lstStyle>
          <a:p>
            <a:pPr>
              <a:defRPr/>
            </a:pPr>
            <a:endParaRPr lang="en-US" dirty="0"/>
          </a:p>
        </p:txBody>
      </p:sp>
      <p:sp>
        <p:nvSpPr>
          <p:cNvPr id="12" name="Slide Number Placeholder 3"/>
          <p:cNvSpPr>
            <a:spLocks noGrp="1"/>
          </p:cNvSpPr>
          <p:nvPr>
            <p:ph type="sldNum" sz="quarter" idx="18"/>
          </p:nvPr>
        </p:nvSpPr>
        <p:spPr>
          <a:xfrm>
            <a:off x="9353550" y="6492875"/>
            <a:ext cx="2844800" cy="365125"/>
          </a:xfrm>
        </p:spPr>
        <p:txBody>
          <a:bodyPr/>
          <a:lstStyle>
            <a:lvl1pPr>
              <a:defRPr smtClean="0">
                <a:solidFill>
                  <a:srgbClr val="3F3F3F"/>
                </a:solidFill>
                <a:latin typeface="+mn-lt"/>
              </a:defRPr>
            </a:lvl1pPr>
          </a:lstStyle>
          <a:p>
            <a:pPr>
              <a:defRPr/>
            </a:pPr>
            <a:fld id="{54455FA3-1BEB-41AD-BEE9-8EC54C71420C}" type="slidenum">
              <a:rPr lang="en-US"/>
              <a:pPr>
                <a:defRPr/>
              </a:pPr>
              <a:t>‹#›</a:t>
            </a:fld>
            <a:endParaRPr lang="en-US"/>
          </a:p>
        </p:txBody>
      </p:sp>
    </p:spTree>
    <p:extLst>
      <p:ext uri="{BB962C8B-B14F-4D97-AF65-F5344CB8AC3E}">
        <p14:creationId xmlns:p14="http://schemas.microsoft.com/office/powerpoint/2010/main" val="2102109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les with text">
    <p:bg>
      <p:bgPr>
        <a:solidFill>
          <a:schemeClr val="tx1"/>
        </a:solidFill>
        <a:effectLst/>
      </p:bgPr>
    </p:bg>
    <p:spTree>
      <p:nvGrpSpPr>
        <p:cNvPr id="1" name=""/>
        <p:cNvGrpSpPr/>
        <p:nvPr/>
      </p:nvGrpSpPr>
      <p:grpSpPr>
        <a:xfrm>
          <a:off x="0" y="0"/>
          <a:ext cx="0" cy="0"/>
          <a:chOff x="0" y="0"/>
          <a:chExt cx="0" cy="0"/>
        </a:xfrm>
      </p:grpSpPr>
      <p:sp>
        <p:nvSpPr>
          <p:cNvPr id="9"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Text Placeholder 11"/>
          <p:cNvSpPr>
            <a:spLocks noGrp="1"/>
          </p:cNvSpPr>
          <p:nvPr>
            <p:ph type="body" sz="quarter" idx="17"/>
          </p:nvPr>
        </p:nvSpPr>
        <p:spPr>
          <a:xfrm>
            <a:off x="4572000" y="1143000"/>
            <a:ext cx="7010400" cy="2286000"/>
          </a:xfrm>
        </p:spPr>
        <p:txBody>
          <a:bodyPr>
            <a:noAutofit/>
          </a:bodyPr>
          <a:lstStyle>
            <a:lvl1pPr>
              <a:defRPr sz="2400">
                <a:solidFill>
                  <a:srgbClr val="000000"/>
                </a:solidFill>
              </a:defRPr>
            </a:lvl1pPr>
            <a:lvl2pPr>
              <a:defRPr sz="2400">
                <a:solidFill>
                  <a:srgbClr val="000000"/>
                </a:solidFill>
              </a:defRPr>
            </a:lvl2pPr>
            <a:lvl3pPr>
              <a:lnSpc>
                <a:spcPct val="100000"/>
              </a:lnSpc>
              <a:defRPr sz="2400">
                <a:solidFill>
                  <a:srgbClr val="000000"/>
                </a:solidFill>
              </a:defRPr>
            </a:lvl3pPr>
            <a:lvl4pPr>
              <a:defRPr sz="2400">
                <a:solidFill>
                  <a:srgbClr val="000000"/>
                </a:solidFill>
              </a:defRPr>
            </a:lvl4pPr>
            <a:lvl5pPr>
              <a:defRPr sz="2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0"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solidFill>
        </p:spPr>
        <p:txBody>
          <a:bodyPr>
            <a:normAutofit/>
          </a:bodyPr>
          <a:lstStyle>
            <a:lvl1pPr>
              <a:lnSpc>
                <a:spcPct val="100000"/>
              </a:lnSpc>
              <a:defRPr sz="1600">
                <a:latin typeface="+mn-lt"/>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p:cNvSpPr>
            <a:spLocks noGrp="1"/>
          </p:cNvSpPr>
          <p:nvPr>
            <p:ph type="body" sz="quarter" idx="13"/>
          </p:nvPr>
        </p:nvSpPr>
        <p:spPr>
          <a:xfrm>
            <a:off x="3048000" y="3429000"/>
            <a:ext cx="3048000" cy="2286000"/>
          </a:xfrm>
          <a:solidFill>
            <a:schemeClr val="accent3"/>
          </a:solidFill>
        </p:spPr>
        <p:txBody>
          <a:bodyPr>
            <a:normAutofit/>
          </a:bodyPr>
          <a:lstStyle>
            <a:lvl1pPr>
              <a:lnSpc>
                <a:spcPct val="100000"/>
              </a:lnSpc>
              <a:defRPr sz="1600">
                <a:latin typeface="+mn-lt"/>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4"/>
          <p:cNvSpPr>
            <a:spLocks noGrp="1"/>
          </p:cNvSpPr>
          <p:nvPr>
            <p:ph type="body" sz="quarter" idx="14"/>
          </p:nvPr>
        </p:nvSpPr>
        <p:spPr>
          <a:xfrm>
            <a:off x="6096000" y="3429000"/>
            <a:ext cx="3048000" cy="2286000"/>
          </a:xfrm>
          <a:solidFill>
            <a:schemeClr val="accent4"/>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4"/>
          <p:cNvSpPr>
            <a:spLocks noGrp="1"/>
          </p:cNvSpPr>
          <p:nvPr>
            <p:ph type="body" sz="quarter" idx="15"/>
          </p:nvPr>
        </p:nvSpPr>
        <p:spPr>
          <a:xfrm>
            <a:off x="9144000" y="3429000"/>
            <a:ext cx="3048000" cy="2286000"/>
          </a:xfrm>
          <a:solidFill>
            <a:schemeClr val="accent5"/>
          </a:solidFill>
        </p:spPr>
        <p:txBody>
          <a:bodyPr>
            <a:normAutofit/>
          </a:bodyPr>
          <a:lstStyle>
            <a:lvl1pPr>
              <a:lnSpc>
                <a:spcPct val="100000"/>
              </a:lnSpc>
              <a:defRPr sz="1600">
                <a:latin typeface="+mn-lt"/>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Date Placeholder 2"/>
          <p:cNvSpPr>
            <a:spLocks noGrp="1"/>
          </p:cNvSpPr>
          <p:nvPr>
            <p:ph type="dt" sz="half" idx="18"/>
          </p:nvPr>
        </p:nvSpPr>
        <p:spPr>
          <a:xfrm>
            <a:off x="0" y="6492875"/>
            <a:ext cx="2844800" cy="365125"/>
          </a:xfrm>
        </p:spPr>
        <p:txBody>
          <a:bodyPr/>
          <a:lstStyle>
            <a:lvl1pPr>
              <a:defRPr smtClean="0">
                <a:solidFill>
                  <a:srgbClr val="3F3F3F"/>
                </a:solidFill>
                <a:latin typeface="+mn-lt"/>
              </a:defRPr>
            </a:lvl1pPr>
          </a:lstStyle>
          <a:p>
            <a:pPr>
              <a:defRPr/>
            </a:pPr>
            <a:endParaRPr lang="en-US" dirty="0"/>
          </a:p>
        </p:txBody>
      </p:sp>
      <p:sp>
        <p:nvSpPr>
          <p:cNvPr id="11" name="Slide Number Placeholder 3"/>
          <p:cNvSpPr>
            <a:spLocks noGrp="1"/>
          </p:cNvSpPr>
          <p:nvPr>
            <p:ph type="sldNum" sz="quarter" idx="19"/>
          </p:nvPr>
        </p:nvSpPr>
        <p:spPr>
          <a:xfrm>
            <a:off x="9353550" y="6492875"/>
            <a:ext cx="2844800" cy="365125"/>
          </a:xfrm>
        </p:spPr>
        <p:txBody>
          <a:bodyPr/>
          <a:lstStyle>
            <a:lvl1pPr>
              <a:defRPr smtClean="0">
                <a:solidFill>
                  <a:srgbClr val="3F3F3F"/>
                </a:solidFill>
                <a:latin typeface="+mn-lt"/>
              </a:defRPr>
            </a:lvl1pPr>
          </a:lstStyle>
          <a:p>
            <a:pPr>
              <a:defRPr/>
            </a:pPr>
            <a:fld id="{3D1B5734-3614-4DC6-A13F-4700EA017BC8}" type="slidenum">
              <a:rPr lang="en-US"/>
              <a:pPr>
                <a:defRPr/>
              </a:pPr>
              <a:t>‹#›</a:t>
            </a:fld>
            <a:endParaRPr lang="en-US"/>
          </a:p>
        </p:txBody>
      </p:sp>
    </p:spTree>
    <p:extLst>
      <p:ext uri="{BB962C8B-B14F-4D97-AF65-F5344CB8AC3E}">
        <p14:creationId xmlns:p14="http://schemas.microsoft.com/office/powerpoint/2010/main" val="23620036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les with text and background image">
    <p:bg>
      <p:bgPr>
        <a:solidFill>
          <a:schemeClr val="tx1"/>
        </a:solidFill>
        <a:effectLst/>
      </p:bgPr>
    </p:bg>
    <p:spTree>
      <p:nvGrpSpPr>
        <p:cNvPr id="1" name=""/>
        <p:cNvGrpSpPr/>
        <p:nvPr/>
      </p:nvGrpSpPr>
      <p:grpSpPr>
        <a:xfrm>
          <a:off x="0" y="0"/>
          <a:ext cx="0" cy="0"/>
          <a:chOff x="0" y="0"/>
          <a:chExt cx="0" cy="0"/>
        </a:xfrm>
      </p:grpSpPr>
      <p:sp>
        <p:nvSpPr>
          <p:cNvPr id="7"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Picture Placeholder 8"/>
          <p:cNvSpPr>
            <a:spLocks noGrp="1"/>
          </p:cNvSpPr>
          <p:nvPr>
            <p:ph type="pic" sz="quarter" idx="15"/>
          </p:nvPr>
        </p:nvSpPr>
        <p:spPr>
          <a:xfrm>
            <a:off x="0" y="0"/>
            <a:ext cx="12192000" cy="6858000"/>
          </a:xfrm>
        </p:spPr>
        <p:txBody>
          <a:bodyPr rtlCol="0">
            <a:normAutofit/>
          </a:bodyPr>
          <a:lstStyle>
            <a:lvl1pPr>
              <a:defRPr>
                <a:solidFill>
                  <a:srgbClr val="3F3F3F"/>
                </a:solidFill>
              </a:defRPr>
            </a:lvl1pPr>
          </a:lstStyle>
          <a:p>
            <a:pPr lvl="0"/>
            <a:r>
              <a:rPr lang="en-US" noProof="0"/>
              <a:t>Click icon to add picture</a:t>
            </a:r>
          </a:p>
        </p:txBody>
      </p:sp>
      <p:sp>
        <p:nvSpPr>
          <p:cNvPr id="2" name="Title 1"/>
          <p:cNvSpPr>
            <a:spLocks noGrp="1"/>
          </p:cNvSpPr>
          <p:nvPr>
            <p:ph type="title"/>
          </p:nvPr>
        </p:nvSpPr>
        <p:spPr>
          <a:xfrm>
            <a:off x="0"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p:cNvSpPr>
            <a:spLocks noGrp="1"/>
          </p:cNvSpPr>
          <p:nvPr>
            <p:ph type="body" sz="quarter" idx="13"/>
          </p:nvPr>
        </p:nvSpPr>
        <p:spPr>
          <a:xfrm>
            <a:off x="3048000" y="3429000"/>
            <a:ext cx="3048000" cy="2286000"/>
          </a:xfrm>
          <a:solidFill>
            <a:schemeClr val="accent2">
              <a:alpha val="90000"/>
            </a:schemeClr>
          </a:solidFill>
        </p:spPr>
        <p:txBody>
          <a:bodyPr>
            <a:normAutofit/>
          </a:bodyPr>
          <a:lstStyle>
            <a:lvl1pPr>
              <a:lnSpc>
                <a:spcPct val="100000"/>
              </a:lnSpc>
              <a:defRPr sz="1600">
                <a:solidFill>
                  <a:srgbClr val="000000"/>
                </a:solidFill>
              </a:defRPr>
            </a:lvl1pPr>
            <a:lvl2pPr>
              <a:lnSpc>
                <a:spcPct val="100000"/>
              </a:lnSpc>
              <a:defRPr sz="1600">
                <a:solidFill>
                  <a:srgbClr val="000000"/>
                </a:solidFill>
              </a:defRPr>
            </a:lvl2pPr>
            <a:lvl3pPr>
              <a:lnSpc>
                <a:spcPct val="100000"/>
              </a:lnSpc>
              <a:defRPr sz="1600">
                <a:solidFill>
                  <a:srgbClr val="000000"/>
                </a:solidFill>
              </a:defRPr>
            </a:lvl3pPr>
            <a:lvl4pPr>
              <a:lnSpc>
                <a:spcPct val="100000"/>
              </a:lnSpc>
              <a:defRPr sz="1600">
                <a:solidFill>
                  <a:srgbClr val="000000"/>
                </a:solidFill>
              </a:defRPr>
            </a:lvl4pPr>
            <a:lvl5pPr>
              <a:lnSpc>
                <a:spcPct val="100000"/>
              </a:lnSpc>
              <a:defRPr sz="16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2"/>
          <p:cNvSpPr>
            <a:spLocks noGrp="1"/>
          </p:cNvSpPr>
          <p:nvPr>
            <p:ph type="dt" sz="half" idx="16"/>
          </p:nvPr>
        </p:nvSpPr>
        <p:spPr>
          <a:xfrm>
            <a:off x="0" y="6492875"/>
            <a:ext cx="2844800" cy="365125"/>
          </a:xfrm>
        </p:spPr>
        <p:txBody>
          <a:bodyPr/>
          <a:lstStyle>
            <a:lvl1pPr>
              <a:defRPr smtClean="0">
                <a:solidFill>
                  <a:srgbClr val="3F3F3F"/>
                </a:solidFill>
                <a:latin typeface="+mn-lt"/>
              </a:defRPr>
            </a:lvl1pPr>
          </a:lstStyle>
          <a:p>
            <a:pPr>
              <a:defRPr/>
            </a:pPr>
            <a:endParaRPr lang="en-US" dirty="0"/>
          </a:p>
        </p:txBody>
      </p:sp>
      <p:sp>
        <p:nvSpPr>
          <p:cNvPr id="10" name="Slide Number Placeholder 3"/>
          <p:cNvSpPr>
            <a:spLocks noGrp="1"/>
          </p:cNvSpPr>
          <p:nvPr>
            <p:ph type="sldNum" sz="quarter" idx="17"/>
          </p:nvPr>
        </p:nvSpPr>
        <p:spPr>
          <a:xfrm>
            <a:off x="9353550" y="6492875"/>
            <a:ext cx="2844800" cy="365125"/>
          </a:xfrm>
        </p:spPr>
        <p:txBody>
          <a:bodyPr/>
          <a:lstStyle>
            <a:lvl1pPr>
              <a:defRPr smtClean="0">
                <a:solidFill>
                  <a:srgbClr val="3F3F3F"/>
                </a:solidFill>
                <a:latin typeface="+mn-lt"/>
              </a:defRPr>
            </a:lvl1pPr>
          </a:lstStyle>
          <a:p>
            <a:pPr>
              <a:defRPr/>
            </a:pPr>
            <a:fld id="{5A02B6AE-BAF7-4538-BA9F-0AEECDFB6DFA}" type="slidenum">
              <a:rPr lang="en-US"/>
              <a:pPr>
                <a:defRPr/>
              </a:pPr>
              <a:t>‹#›</a:t>
            </a:fld>
            <a:endParaRPr lang="en-US"/>
          </a:p>
        </p:txBody>
      </p:sp>
    </p:spTree>
    <p:extLst>
      <p:ext uri="{BB962C8B-B14F-4D97-AF65-F5344CB8AC3E}">
        <p14:creationId xmlns:p14="http://schemas.microsoft.com/office/powerpoint/2010/main" val="10578538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 and text">
    <p:bg>
      <p:bgPr>
        <a:solidFill>
          <a:schemeClr val="tx1"/>
        </a:solidFill>
        <a:effectLst/>
      </p:bgPr>
    </p:bg>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0"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latin typeface="+mn-lt"/>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rgbClr val="000000"/>
                </a:solidFill>
                <a:latin typeface="+mn-lt"/>
              </a:defRPr>
            </a:lvl1pPr>
            <a:lvl2pPr>
              <a:lnSpc>
                <a:spcPct val="100000"/>
              </a:lnSpc>
              <a:defRPr sz="1600">
                <a:solidFill>
                  <a:srgbClr val="000000"/>
                </a:solidFill>
                <a:latin typeface="+mn-lt"/>
              </a:defRPr>
            </a:lvl2pPr>
            <a:lvl3pPr>
              <a:lnSpc>
                <a:spcPct val="100000"/>
              </a:lnSpc>
              <a:defRPr sz="1600">
                <a:solidFill>
                  <a:srgbClr val="000000"/>
                </a:solidFill>
                <a:latin typeface="+mn-lt"/>
              </a:defRPr>
            </a:lvl3pPr>
            <a:lvl4pPr>
              <a:lnSpc>
                <a:spcPct val="100000"/>
              </a:lnSpc>
              <a:defRPr sz="1600">
                <a:solidFill>
                  <a:srgbClr val="000000"/>
                </a:solidFill>
                <a:latin typeface="+mn-lt"/>
              </a:defRPr>
            </a:lvl4pPr>
            <a:lvl5pPr>
              <a:lnSpc>
                <a:spcPct val="100000"/>
              </a:lnSpc>
              <a:defRPr sz="1600">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2"/>
          <p:cNvSpPr>
            <a:spLocks noGrp="1"/>
          </p:cNvSpPr>
          <p:nvPr>
            <p:ph type="dt" sz="half" idx="17"/>
          </p:nvPr>
        </p:nvSpPr>
        <p:spPr/>
        <p:txBody>
          <a:bodyPr/>
          <a:lstStyle>
            <a:lvl1pPr>
              <a:defRPr smtClean="0">
                <a:solidFill>
                  <a:srgbClr val="3F3F3F"/>
                </a:solidFill>
              </a:defRPr>
            </a:lvl1pPr>
          </a:lstStyle>
          <a:p>
            <a:pPr>
              <a:defRPr/>
            </a:pPr>
            <a:endParaRPr lang="en-US"/>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txBox="1">
            <a:spLocks/>
          </p:cNvSpPr>
          <p:nvPr userDrawn="1"/>
        </p:nvSpPr>
        <p:spPr>
          <a:xfrm>
            <a:off x="9353550" y="6492875"/>
            <a:ext cx="2844800" cy="365125"/>
          </a:xfrm>
          <a:prstGeom prst="rect">
            <a:avLst/>
          </a:prstGeom>
        </p:spPr>
        <p:txBody>
          <a:bodyPr vert="horz" lIns="182880" tIns="45720" rIns="182880" bIns="45720" rtlCol="0" anchor="ctr"/>
          <a:lstStyle>
            <a:defPPr>
              <a:defRPr lang="en-US"/>
            </a:defPPr>
            <a:lvl1pPr algn="r" defTabSz="457200" rtl="0" eaLnBrk="1" fontAlgn="auto" hangingPunct="1">
              <a:spcBef>
                <a:spcPts val="0"/>
              </a:spcBef>
              <a:spcAft>
                <a:spcPts val="0"/>
              </a:spcAft>
              <a:defRPr sz="800" kern="1200" smtClean="0">
                <a:solidFill>
                  <a:srgbClr val="3F3F3F"/>
                </a:solidFill>
                <a:latin typeface="+mn-lt"/>
                <a:ea typeface="+mn-ea"/>
                <a:cs typeface="Segoe Pro Light"/>
              </a:defRPr>
            </a:lvl1pPr>
            <a:lvl2pPr marL="457200" algn="l" defTabSz="457200" rtl="0" eaLnBrk="0" fontAlgn="base" hangingPunct="0">
              <a:spcBef>
                <a:spcPct val="0"/>
              </a:spcBef>
              <a:spcAft>
                <a:spcPct val="0"/>
              </a:spcAft>
              <a:defRPr kern="1200">
                <a:solidFill>
                  <a:schemeClr val="tx1"/>
                </a:solidFill>
                <a:latin typeface="Segoe UI" panose="020B0502040204020203"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Segoe UI" panose="020B0502040204020203"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Segoe UI" panose="020B0502040204020203"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Segoe UI" panose="020B0502040204020203" pitchFamily="34" charset="0"/>
                <a:ea typeface="+mn-ea"/>
                <a:cs typeface="+mn-cs"/>
              </a:defRPr>
            </a:lvl5pPr>
            <a:lvl6pPr marL="2286000" algn="l" defTabSz="914400" rtl="0" eaLnBrk="1" latinLnBrk="0" hangingPunct="1">
              <a:defRPr kern="1200">
                <a:solidFill>
                  <a:schemeClr val="tx1"/>
                </a:solidFill>
                <a:latin typeface="Segoe UI" panose="020B0502040204020203" pitchFamily="34" charset="0"/>
                <a:ea typeface="+mn-ea"/>
                <a:cs typeface="+mn-cs"/>
              </a:defRPr>
            </a:lvl6pPr>
            <a:lvl7pPr marL="2743200" algn="l" defTabSz="914400" rtl="0" eaLnBrk="1" latinLnBrk="0" hangingPunct="1">
              <a:defRPr kern="1200">
                <a:solidFill>
                  <a:schemeClr val="tx1"/>
                </a:solidFill>
                <a:latin typeface="Segoe UI" panose="020B0502040204020203" pitchFamily="34" charset="0"/>
                <a:ea typeface="+mn-ea"/>
                <a:cs typeface="+mn-cs"/>
              </a:defRPr>
            </a:lvl7pPr>
            <a:lvl8pPr marL="3200400" algn="l" defTabSz="914400" rtl="0" eaLnBrk="1" latinLnBrk="0" hangingPunct="1">
              <a:defRPr kern="1200">
                <a:solidFill>
                  <a:schemeClr val="tx1"/>
                </a:solidFill>
                <a:latin typeface="Segoe UI" panose="020B0502040204020203" pitchFamily="34" charset="0"/>
                <a:ea typeface="+mn-ea"/>
                <a:cs typeface="+mn-cs"/>
              </a:defRPr>
            </a:lvl8pPr>
            <a:lvl9pPr marL="3657600" algn="l" defTabSz="914400" rtl="0" eaLnBrk="1" latinLnBrk="0" hangingPunct="1">
              <a:defRPr kern="1200">
                <a:solidFill>
                  <a:schemeClr val="tx1"/>
                </a:solidFill>
                <a:latin typeface="Segoe UI" panose="020B0502040204020203" pitchFamily="34" charset="0"/>
                <a:ea typeface="+mn-ea"/>
                <a:cs typeface="+mn-cs"/>
              </a:defRPr>
            </a:lvl9pPr>
          </a:lstStyle>
          <a:p>
            <a:pPr>
              <a:defRPr/>
            </a:pPr>
            <a:fld id="{3D1B5734-3614-4DC6-A13F-4700EA017BC8}" type="slidenum">
              <a:rPr lang="en-US" smtClean="0"/>
              <a:pPr>
                <a:defRPr/>
              </a:pPr>
              <a:t>‹#›</a:t>
            </a:fld>
            <a:endParaRPr lang="en-US"/>
          </a:p>
        </p:txBody>
      </p:sp>
    </p:spTree>
    <p:extLst>
      <p:ext uri="{BB962C8B-B14F-4D97-AF65-F5344CB8AC3E}">
        <p14:creationId xmlns:p14="http://schemas.microsoft.com/office/powerpoint/2010/main" val="37471625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lternating tiles">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bg1"/>
                </a:solidFill>
              </a:defRPr>
            </a:lvl1pPr>
            <a:lvl2pPr>
              <a:lnSpc>
                <a:spcPct val="100000"/>
              </a:lnSpc>
              <a:defRPr sz="1600">
                <a:solidFill>
                  <a:schemeClr val="bg1"/>
                </a:solidFill>
              </a:defRPr>
            </a:lvl2pPr>
            <a:lvl3pPr>
              <a:lnSpc>
                <a:spcPct val="100000"/>
              </a:lnSpc>
              <a:defRPr sz="1600">
                <a:solidFill>
                  <a:schemeClr val="bg1"/>
                </a:solidFill>
              </a:defRPr>
            </a:lvl3pPr>
            <a:lvl4pPr>
              <a:lnSpc>
                <a:spcPct val="100000"/>
              </a:lnSpc>
              <a:defRPr sz="1600">
                <a:solidFill>
                  <a:schemeClr val="bg1"/>
                </a:solidFill>
              </a:defRPr>
            </a:lvl4pPr>
            <a:lvl5pPr>
              <a:lnSpc>
                <a:spcPct val="100000"/>
              </a:lnSpc>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20"/>
          <p:cNvSpPr>
            <a:spLocks noGrp="1"/>
          </p:cNvSpPr>
          <p:nvPr>
            <p:ph type="body" sz="quarter" idx="14"/>
          </p:nvPr>
        </p:nvSpPr>
        <p:spPr>
          <a:xfrm>
            <a:off x="3048000" y="3429000"/>
            <a:ext cx="3048000" cy="2286000"/>
          </a:xfrm>
          <a:solidFill>
            <a:schemeClr val="bg2"/>
          </a:solidFill>
        </p:spPr>
        <p:txBody>
          <a:bodyPr>
            <a:norm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Picture Placeholder 22"/>
          <p:cNvSpPr>
            <a:spLocks noGrp="1"/>
          </p:cNvSpPr>
          <p:nvPr>
            <p:ph type="pic" sz="quarter" idx="15"/>
          </p:nvPr>
        </p:nvSpPr>
        <p:spPr>
          <a:xfrm>
            <a:off x="3048000" y="1143000"/>
            <a:ext cx="3048000" cy="2286000"/>
          </a:xfrm>
        </p:spPr>
        <p:txBody>
          <a:bodyPr rtlCol="0">
            <a:normAutofit/>
          </a:bodyPr>
          <a:lstStyle/>
          <a:p>
            <a:pPr lvl="0"/>
            <a:r>
              <a:rPr lang="en-US" noProof="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a:t>Click icon to add picture</a:t>
            </a:r>
            <a:endParaRPr lang="en-US" noProof="0" dirty="0"/>
          </a:p>
        </p:txBody>
      </p:sp>
      <p:sp>
        <p:nvSpPr>
          <p:cNvPr id="9" name="Date Placeholder 2"/>
          <p:cNvSpPr>
            <a:spLocks noGrp="1"/>
          </p:cNvSpPr>
          <p:nvPr>
            <p:ph type="dt" sz="half" idx="18"/>
          </p:nvPr>
        </p:nvSpPr>
        <p:spPr/>
        <p:txBody>
          <a:bodyPr/>
          <a:lstStyle>
            <a:lvl1pPr>
              <a:defRPr smtClean="0">
                <a:solidFill>
                  <a:srgbClr val="3F3F3F"/>
                </a:solidFill>
              </a:defRPr>
            </a:lvl1pPr>
          </a:lstStyle>
          <a:p>
            <a:pPr>
              <a:defRPr/>
            </a:pPr>
            <a:endParaRPr lang="en-US"/>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txBox="1">
            <a:spLocks/>
          </p:cNvSpPr>
          <p:nvPr userDrawn="1"/>
        </p:nvSpPr>
        <p:spPr>
          <a:xfrm>
            <a:off x="9353550" y="6492875"/>
            <a:ext cx="2844800" cy="365125"/>
          </a:xfrm>
          <a:prstGeom prst="rect">
            <a:avLst/>
          </a:prstGeom>
        </p:spPr>
        <p:txBody>
          <a:bodyPr vert="horz" lIns="182880" tIns="45720" rIns="182880" bIns="45720" rtlCol="0" anchor="ctr"/>
          <a:lstStyle>
            <a:defPPr>
              <a:defRPr lang="en-US"/>
            </a:defPPr>
            <a:lvl1pPr algn="r" defTabSz="457200" rtl="0" eaLnBrk="1" fontAlgn="auto" hangingPunct="1">
              <a:spcBef>
                <a:spcPts val="0"/>
              </a:spcBef>
              <a:spcAft>
                <a:spcPts val="0"/>
              </a:spcAft>
              <a:defRPr sz="800" kern="1200" smtClean="0">
                <a:solidFill>
                  <a:srgbClr val="3F3F3F"/>
                </a:solidFill>
                <a:latin typeface="+mn-lt"/>
                <a:ea typeface="+mn-ea"/>
                <a:cs typeface="Segoe Pro Light"/>
              </a:defRPr>
            </a:lvl1pPr>
            <a:lvl2pPr marL="457200" algn="l" defTabSz="457200" rtl="0" eaLnBrk="0" fontAlgn="base" hangingPunct="0">
              <a:spcBef>
                <a:spcPct val="0"/>
              </a:spcBef>
              <a:spcAft>
                <a:spcPct val="0"/>
              </a:spcAft>
              <a:defRPr kern="1200">
                <a:solidFill>
                  <a:schemeClr val="tx1"/>
                </a:solidFill>
                <a:latin typeface="Segoe UI" panose="020B0502040204020203"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Segoe UI" panose="020B0502040204020203"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Segoe UI" panose="020B0502040204020203"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Segoe UI" panose="020B0502040204020203" pitchFamily="34" charset="0"/>
                <a:ea typeface="+mn-ea"/>
                <a:cs typeface="+mn-cs"/>
              </a:defRPr>
            </a:lvl5pPr>
            <a:lvl6pPr marL="2286000" algn="l" defTabSz="914400" rtl="0" eaLnBrk="1" latinLnBrk="0" hangingPunct="1">
              <a:defRPr kern="1200">
                <a:solidFill>
                  <a:schemeClr val="tx1"/>
                </a:solidFill>
                <a:latin typeface="Segoe UI" panose="020B0502040204020203" pitchFamily="34" charset="0"/>
                <a:ea typeface="+mn-ea"/>
                <a:cs typeface="+mn-cs"/>
              </a:defRPr>
            </a:lvl6pPr>
            <a:lvl7pPr marL="2743200" algn="l" defTabSz="914400" rtl="0" eaLnBrk="1" latinLnBrk="0" hangingPunct="1">
              <a:defRPr kern="1200">
                <a:solidFill>
                  <a:schemeClr val="tx1"/>
                </a:solidFill>
                <a:latin typeface="Segoe UI" panose="020B0502040204020203" pitchFamily="34" charset="0"/>
                <a:ea typeface="+mn-ea"/>
                <a:cs typeface="+mn-cs"/>
              </a:defRPr>
            </a:lvl7pPr>
            <a:lvl8pPr marL="3200400" algn="l" defTabSz="914400" rtl="0" eaLnBrk="1" latinLnBrk="0" hangingPunct="1">
              <a:defRPr kern="1200">
                <a:solidFill>
                  <a:schemeClr val="tx1"/>
                </a:solidFill>
                <a:latin typeface="Segoe UI" panose="020B0502040204020203" pitchFamily="34" charset="0"/>
                <a:ea typeface="+mn-ea"/>
                <a:cs typeface="+mn-cs"/>
              </a:defRPr>
            </a:lvl8pPr>
            <a:lvl9pPr marL="3657600" algn="l" defTabSz="914400" rtl="0" eaLnBrk="1" latinLnBrk="0" hangingPunct="1">
              <a:defRPr kern="1200">
                <a:solidFill>
                  <a:schemeClr val="tx1"/>
                </a:solidFill>
                <a:latin typeface="Segoe UI" panose="020B0502040204020203" pitchFamily="34" charset="0"/>
                <a:ea typeface="+mn-ea"/>
                <a:cs typeface="+mn-cs"/>
              </a:defRPr>
            </a:lvl9pPr>
          </a:lstStyle>
          <a:p>
            <a:pPr>
              <a:defRPr/>
            </a:pPr>
            <a:fld id="{3D1B5734-3614-4DC6-A13F-4700EA017BC8}" type="slidenum">
              <a:rPr lang="en-US" smtClean="0"/>
              <a:pPr>
                <a:defRPr/>
              </a:pPr>
              <a:t>‹#›</a:t>
            </a:fld>
            <a:endParaRPr lang="en-US"/>
          </a:p>
        </p:txBody>
      </p:sp>
    </p:spTree>
    <p:extLst>
      <p:ext uri="{BB962C8B-B14F-4D97-AF65-F5344CB8AC3E}">
        <p14:creationId xmlns:p14="http://schemas.microsoft.com/office/powerpoint/2010/main" val="25964704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pyright">
    <p:bg>
      <p:bgPr>
        <a:solidFill>
          <a:schemeClr val="tx1"/>
        </a:solidFill>
        <a:effectLst/>
      </p:bgPr>
    </p:bg>
    <p:spTree>
      <p:nvGrpSpPr>
        <p:cNvPr id="1" name=""/>
        <p:cNvGrpSpPr/>
        <p:nvPr/>
      </p:nvGrpSpPr>
      <p:grpSpPr>
        <a:xfrm>
          <a:off x="0" y="0"/>
          <a:ext cx="0" cy="0"/>
          <a:chOff x="0" y="0"/>
          <a:chExt cx="0" cy="0"/>
        </a:xfrm>
      </p:grpSpPr>
      <p:sp>
        <p:nvSpPr>
          <p:cNvPr id="2"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3" name="Slide Number Placeholder 3"/>
          <p:cNvSpPr>
            <a:spLocks noGrp="1"/>
          </p:cNvSpPr>
          <p:nvPr>
            <p:ph type="sldNum" sz="quarter" idx="19"/>
          </p:nvPr>
        </p:nvSpPr>
        <p:spPr>
          <a:xfrm>
            <a:off x="9353550" y="6492875"/>
            <a:ext cx="2844800" cy="365125"/>
          </a:xfrm>
        </p:spPr>
        <p:txBody>
          <a:bodyPr/>
          <a:lstStyle>
            <a:lvl1pPr>
              <a:defRPr smtClean="0">
                <a:solidFill>
                  <a:srgbClr val="3F3F3F"/>
                </a:solidFill>
                <a:latin typeface="+mn-lt"/>
              </a:defRPr>
            </a:lvl1pPr>
          </a:lstStyle>
          <a:p>
            <a:pPr>
              <a:defRPr/>
            </a:pPr>
            <a:fld id="{3D1B5734-3614-4DC6-A13F-4700EA017BC8}" type="slidenum">
              <a:rPr lang="en-US"/>
              <a:pPr>
                <a:defRPr/>
              </a:pPr>
              <a:t>‹#›</a:t>
            </a:fld>
            <a:endParaRPr lang="en-US"/>
          </a:p>
        </p:txBody>
      </p:sp>
    </p:spTree>
    <p:extLst>
      <p:ext uri="{BB962C8B-B14F-4D97-AF65-F5344CB8AC3E}">
        <p14:creationId xmlns:p14="http://schemas.microsoft.com/office/powerpoint/2010/main" val="29670503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flowing text sections">
    <p:bg>
      <p:bgPr>
        <a:solidFill>
          <a:schemeClr val="tx1"/>
        </a:solidFill>
        <a:effectLst/>
      </p:bgPr>
    </p:bg>
    <p:spTree>
      <p:nvGrpSpPr>
        <p:cNvPr id="1" name=""/>
        <p:cNvGrpSpPr/>
        <p:nvPr/>
      </p:nvGrpSpPr>
      <p:grpSpPr>
        <a:xfrm>
          <a:off x="0" y="0"/>
          <a:ext cx="0" cy="0"/>
          <a:chOff x="0" y="0"/>
          <a:chExt cx="0" cy="0"/>
        </a:xfrm>
      </p:grpSpPr>
      <p:sp>
        <p:nvSpPr>
          <p:cNvPr id="5"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a:t>Click to edit Master text styles</a:t>
            </a:r>
          </a:p>
        </p:txBody>
      </p:sp>
      <p:sp>
        <p:nvSpPr>
          <p:cNvPr id="9" name="Title 1"/>
          <p:cNvSpPr>
            <a:spLocks noGrp="1"/>
          </p:cNvSpPr>
          <p:nvPr>
            <p:ph type="title"/>
          </p:nvPr>
        </p:nvSpPr>
        <p:spPr>
          <a:xfrm>
            <a:off x="0"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a:t>Click to edit Master text styles</a:t>
            </a:r>
          </a:p>
        </p:txBody>
      </p:sp>
      <p:sp>
        <p:nvSpPr>
          <p:cNvPr id="6" name="Date Placeholder 2"/>
          <p:cNvSpPr>
            <a:spLocks noGrp="1"/>
          </p:cNvSpPr>
          <p:nvPr>
            <p:ph type="dt" sz="half" idx="15"/>
          </p:nvPr>
        </p:nvSpPr>
        <p:spPr>
          <a:xfrm>
            <a:off x="0" y="6492875"/>
            <a:ext cx="2844800" cy="365125"/>
          </a:xfrm>
        </p:spPr>
        <p:txBody>
          <a:bodyPr/>
          <a:lstStyle>
            <a:lvl1pPr>
              <a:defRPr smtClean="0">
                <a:solidFill>
                  <a:srgbClr val="3F3F3F"/>
                </a:solidFill>
                <a:latin typeface="+mn-lt"/>
              </a:defRPr>
            </a:lvl1pPr>
          </a:lstStyle>
          <a:p>
            <a:pPr>
              <a:defRPr/>
            </a:pPr>
            <a:endParaRPr lang="en-US" dirty="0"/>
          </a:p>
        </p:txBody>
      </p:sp>
      <p:sp>
        <p:nvSpPr>
          <p:cNvPr id="7" name="Slide Number Placeholder 3"/>
          <p:cNvSpPr>
            <a:spLocks noGrp="1"/>
          </p:cNvSpPr>
          <p:nvPr>
            <p:ph type="sldNum" sz="quarter" idx="16"/>
          </p:nvPr>
        </p:nvSpPr>
        <p:spPr>
          <a:xfrm>
            <a:off x="9353550" y="6492875"/>
            <a:ext cx="2844800" cy="365125"/>
          </a:xfrm>
        </p:spPr>
        <p:txBody>
          <a:bodyPr/>
          <a:lstStyle>
            <a:lvl1pPr>
              <a:defRPr smtClean="0">
                <a:solidFill>
                  <a:srgbClr val="3F3F3F"/>
                </a:solidFill>
                <a:latin typeface="+mn-lt"/>
              </a:defRPr>
            </a:lvl1pPr>
          </a:lstStyle>
          <a:p>
            <a:pPr>
              <a:defRPr/>
            </a:pPr>
            <a:fld id="{36CEC9A5-AF90-4D85-B34D-92D38556E42C}" type="slidenum">
              <a:rPr lang="en-US"/>
              <a:pPr>
                <a:defRPr/>
              </a:pPr>
              <a:t>‹#›</a:t>
            </a:fld>
            <a:endParaRPr lang="en-US"/>
          </a:p>
        </p:txBody>
      </p:sp>
    </p:spTree>
    <p:extLst>
      <p:ext uri="{BB962C8B-B14F-4D97-AF65-F5344CB8AC3E}">
        <p14:creationId xmlns:p14="http://schemas.microsoft.com/office/powerpoint/2010/main" val="9584796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Slide light right aligned">
    <p:bg>
      <p:bgPr>
        <a:solidFill>
          <a:schemeClr val="tx1"/>
        </a:solidFill>
        <a:effectLst/>
      </p:bgPr>
    </p:bg>
    <p:spTree>
      <p:nvGrpSpPr>
        <p:cNvPr id="1" name=""/>
        <p:cNvGrpSpPr/>
        <p:nvPr/>
      </p:nvGrpSpPr>
      <p:grpSpPr>
        <a:xfrm>
          <a:off x="0" y="0"/>
          <a:ext cx="0" cy="0"/>
          <a:chOff x="0" y="0"/>
          <a:chExt cx="0" cy="0"/>
        </a:xfrm>
      </p:grpSpPr>
      <p:sp>
        <p:nvSpPr>
          <p:cNvPr id="4" name="TextBox 6"/>
          <p:cNvSpPr txBox="1">
            <a:spLocks noChangeArrowheads="1"/>
          </p:cNvSpPr>
          <p:nvPr userDrawn="1"/>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6" name="Slide Number Placeholder 3"/>
          <p:cNvSpPr>
            <a:spLocks noGrp="1"/>
          </p:cNvSpPr>
          <p:nvPr>
            <p:ph type="sldNum" sz="quarter" idx="19"/>
          </p:nvPr>
        </p:nvSpPr>
        <p:spPr>
          <a:xfrm>
            <a:off x="9353550" y="6492875"/>
            <a:ext cx="2844800" cy="365125"/>
          </a:xfrm>
        </p:spPr>
        <p:txBody>
          <a:bodyPr/>
          <a:lstStyle>
            <a:lvl1pPr>
              <a:defRPr smtClean="0">
                <a:solidFill>
                  <a:srgbClr val="3F3F3F"/>
                </a:solidFill>
                <a:latin typeface="+mn-lt"/>
              </a:defRPr>
            </a:lvl1pPr>
          </a:lstStyle>
          <a:p>
            <a:pPr>
              <a:defRPr/>
            </a:pPr>
            <a:fld id="{3D1B5734-3614-4DC6-A13F-4700EA017BC8}" type="slidenum">
              <a:rPr lang="en-US"/>
              <a:pPr>
                <a:defRPr/>
              </a:pPr>
              <a:t>‹#›</a:t>
            </a:fld>
            <a:endParaRPr lang="en-US"/>
          </a:p>
        </p:txBody>
      </p:sp>
    </p:spTree>
    <p:extLst>
      <p:ext uri="{BB962C8B-B14F-4D97-AF65-F5344CB8AC3E}">
        <p14:creationId xmlns:p14="http://schemas.microsoft.com/office/powerpoint/2010/main" val="9775876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itle Slide light right aligned">
    <p:bg>
      <p:bgPr>
        <a:solidFill>
          <a:schemeClr val="bg2"/>
        </a:solidFill>
        <a:effectLst/>
      </p:bgPr>
    </p:bg>
    <p:spTree>
      <p:nvGrpSpPr>
        <p:cNvPr id="1" name=""/>
        <p:cNvGrpSpPr/>
        <p:nvPr/>
      </p:nvGrpSpPr>
      <p:grpSpPr>
        <a:xfrm>
          <a:off x="0" y="0"/>
          <a:ext cx="0" cy="0"/>
          <a:chOff x="0" y="0"/>
          <a:chExt cx="0" cy="0"/>
        </a:xfrm>
      </p:grpSpPr>
      <p:sp>
        <p:nvSpPr>
          <p:cNvPr id="3" name="TextBox 6"/>
          <p:cNvSpPr txBox="1">
            <a:spLocks noChangeArrowheads="1"/>
          </p:cNvSpPr>
          <p:nvPr userDrawn="1"/>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p>
        </p:txBody>
      </p:sp>
      <p:sp>
        <p:nvSpPr>
          <p:cNvPr id="16" name="Text Placeholder 9"/>
          <p:cNvSpPr>
            <a:spLocks noGrp="1"/>
          </p:cNvSpPr>
          <p:nvPr>
            <p:ph type="body" sz="quarter" idx="13"/>
          </p:nvPr>
        </p:nvSpPr>
        <p:spPr>
          <a:xfrm>
            <a:off x="0" y="1143000"/>
            <a:ext cx="6096000" cy="2286000"/>
          </a:xfrm>
          <a:solidFill>
            <a:schemeClr val="accent1"/>
          </a:solidFill>
        </p:spPr>
        <p:txBody>
          <a:bodyPr>
            <a:noAutofit/>
          </a:bodyPr>
          <a:lstStyle>
            <a:lvl1pPr>
              <a:lnSpc>
                <a:spcPct val="100000"/>
              </a:lnSpc>
              <a:defRPr sz="3200">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Tree>
    <p:extLst>
      <p:ext uri="{BB962C8B-B14F-4D97-AF65-F5344CB8AC3E}">
        <p14:creationId xmlns:p14="http://schemas.microsoft.com/office/powerpoint/2010/main" val="29090628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ble of Contents light">
    <p:bg>
      <p:bgPr>
        <a:solidFill>
          <a:schemeClr val="tx1"/>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p:nvPr>
        </p:nvSpPr>
        <p:spPr>
          <a:xfrm>
            <a:off x="4572000" y="1143000"/>
            <a:ext cx="7620000" cy="5029200"/>
          </a:xfrm>
          <a:prstGeom prst="rect">
            <a:avLst/>
          </a:prstGeom>
        </p:spPr>
        <p:txBody>
          <a:bodyPr lIns="91440" tIns="45720">
            <a:normAutofit/>
          </a:bodyPr>
          <a:lstStyle>
            <a:lvl1pPr marL="0" indent="0">
              <a:spcBef>
                <a:spcPts val="600"/>
              </a:spcBef>
              <a:buFontTx/>
              <a:buNone/>
              <a:tabLst>
                <a:tab pos="630238" algn="l"/>
              </a:tabLst>
              <a:defRPr sz="2400" baseline="0">
                <a:solidFill>
                  <a:srgbClr val="3F3F3F"/>
                </a:solidFill>
                <a:latin typeface="+mn-lt"/>
                <a:cs typeface="Segoe Pro Light"/>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a:t>Click to edit Master text styles</a:t>
            </a:r>
          </a:p>
        </p:txBody>
      </p:sp>
      <p:sp>
        <p:nvSpPr>
          <p:cNvPr id="7" name="Text Placeholder 12"/>
          <p:cNvSpPr>
            <a:spLocks noGrp="1"/>
          </p:cNvSpPr>
          <p:nvPr>
            <p:ph type="body" sz="quarter" idx="14"/>
          </p:nvPr>
        </p:nvSpPr>
        <p:spPr>
          <a:xfrm>
            <a:off x="0" y="1152525"/>
            <a:ext cx="3048000" cy="4237038"/>
          </a:xfrm>
          <a:prstGeom prst="rect">
            <a:avLst/>
          </a:prstGeom>
        </p:spPr>
        <p:txBody>
          <a:bodyPr>
            <a:noAutofit/>
          </a:bodyPr>
          <a:lstStyle>
            <a:lvl1pPr marL="0" indent="0">
              <a:spcBef>
                <a:spcPts val="600"/>
              </a:spcBef>
              <a:buFontTx/>
              <a:buNone/>
              <a:defRPr sz="1600" baseline="0">
                <a:solidFill>
                  <a:srgbClr val="3F3F3F"/>
                </a:solidFill>
                <a:latin typeface="+mn-lt"/>
                <a:cs typeface="Segoe Pro Semibold"/>
              </a:defRPr>
            </a:lvl1pPr>
          </a:lstStyle>
          <a:p>
            <a:pPr lvl="0"/>
            <a:r>
              <a:rPr lang="en-US"/>
              <a:t>Click to edit Master text styles</a:t>
            </a:r>
          </a:p>
        </p:txBody>
      </p:sp>
      <p:sp>
        <p:nvSpPr>
          <p:cNvPr id="4" name="Date Placeholder 3"/>
          <p:cNvSpPr>
            <a:spLocks noGrp="1"/>
          </p:cNvSpPr>
          <p:nvPr>
            <p:ph type="dt" sz="half" idx="15"/>
          </p:nvPr>
        </p:nvSpPr>
        <p:spPr/>
        <p:txBody>
          <a:bodyPr/>
          <a:lstStyle>
            <a:lvl1pPr algn="l">
              <a:defRPr sz="800" smtClean="0">
                <a:solidFill>
                  <a:schemeClr val="bg1"/>
                </a:solidFill>
                <a:latin typeface="+mn-lt"/>
                <a:cs typeface="Segoe Pro Light"/>
              </a:defRPr>
            </a:lvl1pPr>
          </a:lstStyle>
          <a:p>
            <a:pPr>
              <a:defRPr/>
            </a:pPr>
            <a:endParaRPr lang="en-US" dirty="0"/>
          </a:p>
        </p:txBody>
      </p:sp>
      <p:sp>
        <p:nvSpPr>
          <p:cNvPr id="8"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Slide Number Placeholder 3"/>
          <p:cNvSpPr txBox="1">
            <a:spLocks/>
          </p:cNvSpPr>
          <p:nvPr userDrawn="1"/>
        </p:nvSpPr>
        <p:spPr>
          <a:xfrm>
            <a:off x="9353550" y="6492875"/>
            <a:ext cx="2844800" cy="365125"/>
          </a:xfrm>
          <a:prstGeom prst="rect">
            <a:avLst/>
          </a:prstGeom>
        </p:spPr>
        <p:txBody>
          <a:bodyPr vert="horz" lIns="182880" tIns="45720" rIns="182880" bIns="45720" rtlCol="0" anchor="ctr"/>
          <a:lstStyle>
            <a:defPPr>
              <a:defRPr lang="en-US"/>
            </a:defPPr>
            <a:lvl1pPr algn="r" defTabSz="457200" rtl="0" eaLnBrk="1" fontAlgn="auto" hangingPunct="1">
              <a:spcBef>
                <a:spcPts val="0"/>
              </a:spcBef>
              <a:spcAft>
                <a:spcPts val="0"/>
              </a:spcAft>
              <a:defRPr sz="800" kern="1200" smtClean="0">
                <a:solidFill>
                  <a:srgbClr val="3F3F3F"/>
                </a:solidFill>
                <a:latin typeface="+mn-lt"/>
                <a:ea typeface="+mn-ea"/>
                <a:cs typeface="Segoe Pro Light"/>
              </a:defRPr>
            </a:lvl1pPr>
            <a:lvl2pPr marL="457200" algn="l" defTabSz="457200" rtl="0" eaLnBrk="0" fontAlgn="base" hangingPunct="0">
              <a:spcBef>
                <a:spcPct val="0"/>
              </a:spcBef>
              <a:spcAft>
                <a:spcPct val="0"/>
              </a:spcAft>
              <a:defRPr kern="1200">
                <a:solidFill>
                  <a:schemeClr val="tx1"/>
                </a:solidFill>
                <a:latin typeface="Segoe UI" panose="020B0502040204020203"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Segoe UI" panose="020B0502040204020203"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Segoe UI" panose="020B0502040204020203"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Segoe UI" panose="020B0502040204020203" pitchFamily="34" charset="0"/>
                <a:ea typeface="+mn-ea"/>
                <a:cs typeface="+mn-cs"/>
              </a:defRPr>
            </a:lvl5pPr>
            <a:lvl6pPr marL="2286000" algn="l" defTabSz="914400" rtl="0" eaLnBrk="1" latinLnBrk="0" hangingPunct="1">
              <a:defRPr kern="1200">
                <a:solidFill>
                  <a:schemeClr val="tx1"/>
                </a:solidFill>
                <a:latin typeface="Segoe UI" panose="020B0502040204020203" pitchFamily="34" charset="0"/>
                <a:ea typeface="+mn-ea"/>
                <a:cs typeface="+mn-cs"/>
              </a:defRPr>
            </a:lvl6pPr>
            <a:lvl7pPr marL="2743200" algn="l" defTabSz="914400" rtl="0" eaLnBrk="1" latinLnBrk="0" hangingPunct="1">
              <a:defRPr kern="1200">
                <a:solidFill>
                  <a:schemeClr val="tx1"/>
                </a:solidFill>
                <a:latin typeface="Segoe UI" panose="020B0502040204020203" pitchFamily="34" charset="0"/>
                <a:ea typeface="+mn-ea"/>
                <a:cs typeface="+mn-cs"/>
              </a:defRPr>
            </a:lvl7pPr>
            <a:lvl8pPr marL="3200400" algn="l" defTabSz="914400" rtl="0" eaLnBrk="1" latinLnBrk="0" hangingPunct="1">
              <a:defRPr kern="1200">
                <a:solidFill>
                  <a:schemeClr val="tx1"/>
                </a:solidFill>
                <a:latin typeface="Segoe UI" panose="020B0502040204020203" pitchFamily="34" charset="0"/>
                <a:ea typeface="+mn-ea"/>
                <a:cs typeface="+mn-cs"/>
              </a:defRPr>
            </a:lvl8pPr>
            <a:lvl9pPr marL="3657600" algn="l" defTabSz="914400" rtl="0" eaLnBrk="1" latinLnBrk="0" hangingPunct="1">
              <a:defRPr kern="1200">
                <a:solidFill>
                  <a:schemeClr val="tx1"/>
                </a:solidFill>
                <a:latin typeface="Segoe UI" panose="020B0502040204020203" pitchFamily="34" charset="0"/>
                <a:ea typeface="+mn-ea"/>
                <a:cs typeface="+mn-cs"/>
              </a:defRPr>
            </a:lvl9pPr>
          </a:lstStyle>
          <a:p>
            <a:pPr>
              <a:defRPr/>
            </a:pPr>
            <a:fld id="{3D1B5734-3614-4DC6-A13F-4700EA017BC8}" type="slidenum">
              <a:rPr lang="en-US" smtClean="0"/>
              <a:pPr>
                <a:defRPr/>
              </a:pPr>
              <a:t>‹#›</a:t>
            </a:fld>
            <a:endParaRPr lang="en-US"/>
          </a:p>
        </p:txBody>
      </p:sp>
    </p:spTree>
    <p:extLst>
      <p:ext uri="{BB962C8B-B14F-4D97-AF65-F5344CB8AC3E}">
        <p14:creationId xmlns:p14="http://schemas.microsoft.com/office/powerpoint/2010/main" val="15267975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able of Contents light">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6"/>
          </p:nvPr>
        </p:nvSpPr>
        <p:spPr>
          <a:xfrm>
            <a:off x="0" y="0"/>
            <a:ext cx="12192000" cy="6858000"/>
          </a:xfrm>
        </p:spPr>
        <p:txBody>
          <a:bodyPr rtlCol="0">
            <a:normAutofit/>
          </a:bodyPr>
          <a:lstStyle/>
          <a:p>
            <a:pPr lvl="0"/>
            <a:r>
              <a:rPr lang="en-US" noProof="0"/>
              <a:t>Click icon to add picture</a:t>
            </a:r>
          </a:p>
        </p:txBody>
      </p:sp>
      <p:sp>
        <p:nvSpPr>
          <p:cNvPr id="6" name="Text Placeholder 9"/>
          <p:cNvSpPr>
            <a:spLocks noGrp="1"/>
          </p:cNvSpPr>
          <p:nvPr>
            <p:ph type="body" sz="quarter" idx="13"/>
          </p:nvPr>
        </p:nvSpPr>
        <p:spPr>
          <a:xfrm>
            <a:off x="4572000" y="1143000"/>
            <a:ext cx="7620000" cy="5029200"/>
          </a:xfrm>
          <a:prstGeom prst="rect">
            <a:avLst/>
          </a:prstGeom>
        </p:spPr>
        <p:txBody>
          <a:bodyPr lIns="91440" tIns="45720">
            <a:normAutofit/>
          </a:bodyPr>
          <a:lstStyle>
            <a:lvl1pPr marL="0" indent="0">
              <a:spcBef>
                <a:spcPts val="600"/>
              </a:spcBef>
              <a:buFontTx/>
              <a:buNone/>
              <a:tabLst>
                <a:tab pos="630238" algn="l"/>
              </a:tabLst>
              <a:defRPr sz="2400" baseline="0">
                <a:solidFill>
                  <a:srgbClr val="3F3F3F"/>
                </a:solidFill>
                <a:latin typeface="+mn-lt"/>
                <a:cs typeface="Segoe Pro Light"/>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a:t>Click to edit Master text styles</a:t>
            </a:r>
          </a:p>
        </p:txBody>
      </p:sp>
      <p:sp>
        <p:nvSpPr>
          <p:cNvPr id="7" name="Text Placeholder 12"/>
          <p:cNvSpPr>
            <a:spLocks noGrp="1"/>
          </p:cNvSpPr>
          <p:nvPr>
            <p:ph type="body" sz="quarter" idx="14"/>
          </p:nvPr>
        </p:nvSpPr>
        <p:spPr>
          <a:xfrm>
            <a:off x="0" y="1152525"/>
            <a:ext cx="3048000" cy="4237038"/>
          </a:xfrm>
          <a:prstGeom prst="rect">
            <a:avLst/>
          </a:prstGeom>
        </p:spPr>
        <p:txBody>
          <a:bodyPr>
            <a:noAutofit/>
          </a:bodyPr>
          <a:lstStyle>
            <a:lvl1pPr marL="0" indent="0">
              <a:spcBef>
                <a:spcPts val="600"/>
              </a:spcBef>
              <a:buFontTx/>
              <a:buNone/>
              <a:defRPr sz="1600" baseline="0">
                <a:solidFill>
                  <a:srgbClr val="3F3F3F"/>
                </a:solidFill>
                <a:latin typeface="+mn-lt"/>
                <a:cs typeface="Segoe Pro Semibold"/>
              </a:defRPr>
            </a:lvl1pPr>
          </a:lstStyle>
          <a:p>
            <a:pPr lvl="0"/>
            <a:r>
              <a:rPr lang="en-US"/>
              <a:t>Click to edit Master text styles</a:t>
            </a:r>
          </a:p>
        </p:txBody>
      </p:sp>
      <p:sp>
        <p:nvSpPr>
          <p:cNvPr id="5" name="Date Placeholder 3"/>
          <p:cNvSpPr>
            <a:spLocks noGrp="1"/>
          </p:cNvSpPr>
          <p:nvPr>
            <p:ph type="dt" sz="half" idx="17"/>
          </p:nvPr>
        </p:nvSpPr>
        <p:spPr/>
        <p:txBody>
          <a:bodyPr/>
          <a:lstStyle>
            <a:lvl1pPr algn="l">
              <a:defRPr sz="800" smtClean="0">
                <a:solidFill>
                  <a:schemeClr val="bg1"/>
                </a:solidFill>
                <a:latin typeface="+mn-lt"/>
                <a:cs typeface="Segoe Pro Light"/>
              </a:defRPr>
            </a:lvl1pPr>
          </a:lstStyle>
          <a:p>
            <a:pPr>
              <a:defRPr/>
            </a:pPr>
            <a:endParaRPr lang="en-US" dirty="0"/>
          </a:p>
        </p:txBody>
      </p:sp>
      <p:sp>
        <p:nvSpPr>
          <p:cNvPr id="8" name="Slide Number Placeholder 5"/>
          <p:cNvSpPr>
            <a:spLocks noGrp="1"/>
          </p:cNvSpPr>
          <p:nvPr>
            <p:ph type="sldNum" sz="quarter" idx="18"/>
          </p:nvPr>
        </p:nvSpPr>
        <p:spPr/>
        <p:txBody>
          <a:bodyPr/>
          <a:lstStyle>
            <a:lvl1pPr algn="r">
              <a:defRPr sz="800" smtClean="0">
                <a:solidFill>
                  <a:schemeClr val="bg1"/>
                </a:solidFill>
                <a:latin typeface="+mn-lt"/>
                <a:cs typeface="Segoe Pro Light"/>
              </a:defRPr>
            </a:lvl1pPr>
          </a:lstStyle>
          <a:p>
            <a:pPr>
              <a:defRPr/>
            </a:pPr>
            <a:fld id="{821A9FF0-0460-43AE-87DF-FBE8D4423830}" type="slidenum">
              <a:rPr lang="en-US"/>
              <a:pPr>
                <a:defRPr/>
              </a:pPr>
              <a:t>‹#›</a:t>
            </a:fld>
            <a:endParaRPr lang="en-US" dirty="0"/>
          </a:p>
        </p:txBody>
      </p:sp>
    </p:spTree>
    <p:extLst>
      <p:ext uri="{BB962C8B-B14F-4D97-AF65-F5344CB8AC3E}">
        <p14:creationId xmlns:p14="http://schemas.microsoft.com/office/powerpoint/2010/main" val="2916056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ntact Page">
    <p:bg>
      <p:bgPr>
        <a:solidFill>
          <a:schemeClr val="tx1"/>
        </a:solidFill>
        <a:effectLst/>
      </p:bgPr>
    </p:bg>
    <p:spTree>
      <p:nvGrpSpPr>
        <p:cNvPr id="1" name=""/>
        <p:cNvGrpSpPr/>
        <p:nvPr/>
      </p:nvGrpSpPr>
      <p:grpSpPr>
        <a:xfrm>
          <a:off x="0" y="0"/>
          <a:ext cx="0" cy="0"/>
          <a:chOff x="0" y="0"/>
          <a:chExt cx="0" cy="0"/>
        </a:xfrm>
      </p:grpSpPr>
      <p:sp>
        <p:nvSpPr>
          <p:cNvPr id="5" name="TextBox 6"/>
          <p:cNvSpPr txBox="1">
            <a:spLocks noChangeArrowheads="1"/>
          </p:cNvSpPr>
          <p:nvPr userDrawn="1"/>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Slide Number Placeholder 3"/>
          <p:cNvSpPr>
            <a:spLocks noGrp="1"/>
          </p:cNvSpPr>
          <p:nvPr>
            <p:ph type="sldNum" sz="quarter" idx="19"/>
          </p:nvPr>
        </p:nvSpPr>
        <p:spPr>
          <a:xfrm>
            <a:off x="9353550" y="6492875"/>
            <a:ext cx="2844800" cy="365125"/>
          </a:xfrm>
        </p:spPr>
        <p:txBody>
          <a:bodyPr/>
          <a:lstStyle>
            <a:lvl1pPr>
              <a:defRPr smtClean="0">
                <a:solidFill>
                  <a:srgbClr val="3F3F3F"/>
                </a:solidFill>
                <a:latin typeface="+mn-lt"/>
              </a:defRPr>
            </a:lvl1pPr>
          </a:lstStyle>
          <a:p>
            <a:pPr>
              <a:defRPr/>
            </a:pPr>
            <a:fld id="{3D1B5734-3614-4DC6-A13F-4700EA017BC8}" type="slidenum">
              <a:rPr lang="en-US"/>
              <a:pPr>
                <a:defRPr/>
              </a:pPr>
              <a:t>‹#›</a:t>
            </a:fld>
            <a:endParaRPr lang="en-US"/>
          </a:p>
        </p:txBody>
      </p:sp>
    </p:spTree>
    <p:extLst>
      <p:ext uri="{BB962C8B-B14F-4D97-AF65-F5344CB8AC3E}">
        <p14:creationId xmlns:p14="http://schemas.microsoft.com/office/powerpoint/2010/main" val="10217952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Contact Page">
    <p:bg>
      <p:bgPr>
        <a:solidFill>
          <a:schemeClr val="tx1"/>
        </a:solidFill>
        <a:effectLst/>
      </p:bgPr>
    </p:bg>
    <p:spTree>
      <p:nvGrpSpPr>
        <p:cNvPr id="1" name=""/>
        <p:cNvGrpSpPr/>
        <p:nvPr/>
      </p:nvGrpSpPr>
      <p:grpSpPr>
        <a:xfrm>
          <a:off x="0" y="0"/>
          <a:ext cx="0" cy="0"/>
          <a:chOff x="0" y="0"/>
          <a:chExt cx="0" cy="0"/>
        </a:xfrm>
      </p:grpSpPr>
      <p:sp>
        <p:nvSpPr>
          <p:cNvPr id="5" name="TextBox 6"/>
          <p:cNvSpPr txBox="1">
            <a:spLocks noChangeArrowheads="1"/>
          </p:cNvSpPr>
          <p:nvPr userDrawn="1"/>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7" name="Picture Placeholder 4"/>
          <p:cNvSpPr>
            <a:spLocks noGrp="1"/>
          </p:cNvSpPr>
          <p:nvPr>
            <p:ph type="pic" sz="quarter" idx="17"/>
          </p:nvPr>
        </p:nvSpPr>
        <p:spPr>
          <a:xfrm>
            <a:off x="1036320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0" name="Slide Number Placeholder 3"/>
          <p:cNvSpPr>
            <a:spLocks noGrp="1"/>
          </p:cNvSpPr>
          <p:nvPr>
            <p:ph type="sldNum" sz="quarter" idx="19"/>
          </p:nvPr>
        </p:nvSpPr>
        <p:spPr>
          <a:xfrm>
            <a:off x="9353550" y="6492875"/>
            <a:ext cx="2844800" cy="365125"/>
          </a:xfrm>
        </p:spPr>
        <p:txBody>
          <a:bodyPr/>
          <a:lstStyle>
            <a:lvl1pPr>
              <a:defRPr smtClean="0">
                <a:solidFill>
                  <a:srgbClr val="3F3F3F"/>
                </a:solidFill>
                <a:latin typeface="+mn-lt"/>
              </a:defRPr>
            </a:lvl1pPr>
          </a:lstStyle>
          <a:p>
            <a:pPr>
              <a:defRPr/>
            </a:pPr>
            <a:fld id="{3D1B5734-3614-4DC6-A13F-4700EA017BC8}" type="slidenum">
              <a:rPr lang="en-US"/>
              <a:pPr>
                <a:defRPr/>
              </a:pPr>
              <a:t>‹#›</a:t>
            </a:fld>
            <a:endParaRPr lang="en-US"/>
          </a:p>
        </p:txBody>
      </p:sp>
    </p:spTree>
    <p:extLst>
      <p:ext uri="{BB962C8B-B14F-4D97-AF65-F5344CB8AC3E}">
        <p14:creationId xmlns:p14="http://schemas.microsoft.com/office/powerpoint/2010/main" val="14398834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Contact Page">
    <p:bg>
      <p:bgPr>
        <a:solidFill>
          <a:schemeClr val="tx1"/>
        </a:solidFill>
        <a:effectLst/>
      </p:bgPr>
    </p:bg>
    <p:spTree>
      <p:nvGrpSpPr>
        <p:cNvPr id="1" name=""/>
        <p:cNvGrpSpPr/>
        <p:nvPr/>
      </p:nvGrpSpPr>
      <p:grpSpPr>
        <a:xfrm>
          <a:off x="0" y="0"/>
          <a:ext cx="0" cy="0"/>
          <a:chOff x="0" y="0"/>
          <a:chExt cx="0" cy="0"/>
        </a:xfrm>
      </p:grpSpPr>
      <p:sp>
        <p:nvSpPr>
          <p:cNvPr id="9" name="TextBox 6"/>
          <p:cNvSpPr txBox="1">
            <a:spLocks noChangeArrowheads="1"/>
          </p:cNvSpPr>
          <p:nvPr userDrawn="1"/>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p:spPr>
        <p:txBody>
          <a:bodyPr/>
          <a:lstStyle>
            <a:lvl1pPr>
              <a:defRPr smtClean="0">
                <a:solidFill>
                  <a:srgbClr val="3F3F3F"/>
                </a:solidFill>
                <a:latin typeface="+mn-lt"/>
              </a:defRPr>
            </a:lvl1pPr>
          </a:lstStyle>
          <a:p>
            <a:pPr>
              <a:defRPr/>
            </a:pPr>
            <a:fld id="{3D1B5734-3614-4DC6-A13F-4700EA017BC8}" type="slidenum">
              <a:rPr lang="en-US"/>
              <a:pPr>
                <a:defRPr/>
              </a:pPr>
              <a:t>‹#›</a:t>
            </a:fld>
            <a:endParaRPr lang="en-US"/>
          </a:p>
        </p:txBody>
      </p:sp>
    </p:spTree>
    <p:extLst>
      <p:ext uri="{BB962C8B-B14F-4D97-AF65-F5344CB8AC3E}">
        <p14:creationId xmlns:p14="http://schemas.microsoft.com/office/powerpoint/2010/main" val="29813823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Contact Page">
    <p:bg>
      <p:bgPr>
        <a:solidFill>
          <a:schemeClr val="tx1"/>
        </a:solidFill>
        <a:effectLst/>
      </p:bgPr>
    </p:bg>
    <p:spTree>
      <p:nvGrpSpPr>
        <p:cNvPr id="1" name=""/>
        <p:cNvGrpSpPr/>
        <p:nvPr/>
      </p:nvGrpSpPr>
      <p:grpSpPr>
        <a:xfrm>
          <a:off x="0" y="0"/>
          <a:ext cx="0" cy="0"/>
          <a:chOff x="0" y="0"/>
          <a:chExt cx="0" cy="0"/>
        </a:xfrm>
      </p:grpSpPr>
      <p:sp>
        <p:nvSpPr>
          <p:cNvPr id="7" name="TextBox 6"/>
          <p:cNvSpPr txBox="1">
            <a:spLocks noChangeArrowheads="1"/>
          </p:cNvSpPr>
          <p:nvPr userDrawn="1"/>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0"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p:spPr>
        <p:txBody>
          <a:bodyPr/>
          <a:lstStyle>
            <a:lvl1pPr>
              <a:defRPr smtClean="0">
                <a:solidFill>
                  <a:srgbClr val="3F3F3F"/>
                </a:solidFill>
                <a:latin typeface="+mn-lt"/>
              </a:defRPr>
            </a:lvl1pPr>
          </a:lstStyle>
          <a:p>
            <a:pPr>
              <a:defRPr/>
            </a:pPr>
            <a:fld id="{3D1B5734-3614-4DC6-A13F-4700EA017BC8}" type="slidenum">
              <a:rPr lang="en-US"/>
              <a:pPr>
                <a:defRPr/>
              </a:pPr>
              <a:t>‹#›</a:t>
            </a:fld>
            <a:endParaRPr lang="en-US"/>
          </a:p>
        </p:txBody>
      </p:sp>
    </p:spTree>
    <p:extLst>
      <p:ext uri="{BB962C8B-B14F-4D97-AF65-F5344CB8AC3E}">
        <p14:creationId xmlns:p14="http://schemas.microsoft.com/office/powerpoint/2010/main" val="3088188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able of Contents dark or with image">
    <p:bg>
      <p:bgPr>
        <a:solidFill>
          <a:schemeClr val="bg1">
            <a:lumMod val="75000"/>
            <a:lumOff val="25000"/>
          </a:schemeClr>
        </a:solidFill>
        <a:effectLst/>
      </p:bgPr>
    </p:bg>
    <p:spTree>
      <p:nvGrpSpPr>
        <p:cNvPr id="1" name=""/>
        <p:cNvGrpSpPr/>
        <p:nvPr/>
      </p:nvGrpSpPr>
      <p:grpSpPr>
        <a:xfrm>
          <a:off x="0" y="0"/>
          <a:ext cx="0" cy="0"/>
          <a:chOff x="0" y="0"/>
          <a:chExt cx="0" cy="0"/>
        </a:xfrm>
      </p:grpSpPr>
      <p:sp>
        <p:nvSpPr>
          <p:cNvPr id="8" name="Text Placeholder 9"/>
          <p:cNvSpPr>
            <a:spLocks noGrp="1"/>
          </p:cNvSpPr>
          <p:nvPr>
            <p:ph type="body" sz="quarter" idx="13"/>
          </p:nvPr>
        </p:nvSpPr>
        <p:spPr>
          <a:xfrm>
            <a:off x="4572000" y="1143001"/>
            <a:ext cx="7620000" cy="4246563"/>
          </a:xfrm>
          <a:prstGeom prst="rect">
            <a:avLst/>
          </a:prstGeom>
        </p:spPr>
        <p:txBody>
          <a:bodyPr lIns="91440" tIns="45720">
            <a:normAutofit/>
          </a:bodyPr>
          <a:lstStyle>
            <a:lvl1pPr marL="0" indent="0">
              <a:spcBef>
                <a:spcPts val="600"/>
              </a:spcBef>
              <a:buFontTx/>
              <a:buNone/>
              <a:tabLst>
                <a:tab pos="630238" algn="l"/>
              </a:tabLst>
              <a:defRPr sz="2400" baseline="0">
                <a:solidFill>
                  <a:schemeClr val="tx1"/>
                </a:solidFill>
                <a:latin typeface="+mn-lt"/>
                <a:cs typeface="Segoe Pro Light"/>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a:t>Click to edit Master text styles</a:t>
            </a:r>
          </a:p>
        </p:txBody>
      </p:sp>
      <p:sp>
        <p:nvSpPr>
          <p:cNvPr id="9" name="Text Placeholder 12"/>
          <p:cNvSpPr>
            <a:spLocks noGrp="1"/>
          </p:cNvSpPr>
          <p:nvPr>
            <p:ph type="body" sz="quarter" idx="14"/>
          </p:nvPr>
        </p:nvSpPr>
        <p:spPr>
          <a:xfrm>
            <a:off x="0" y="1152525"/>
            <a:ext cx="3048000" cy="4237038"/>
          </a:xfrm>
          <a:prstGeom prst="rect">
            <a:avLst/>
          </a:prstGeom>
        </p:spPr>
        <p:txBody>
          <a:bodyPr>
            <a:noAutofit/>
          </a:bodyPr>
          <a:lstStyle>
            <a:lvl1pPr marL="0" indent="0">
              <a:spcBef>
                <a:spcPts val="600"/>
              </a:spcBef>
              <a:buFontTx/>
              <a:buNone/>
              <a:defRPr sz="1600" baseline="0">
                <a:solidFill>
                  <a:srgbClr val="FFFFFF"/>
                </a:solidFill>
                <a:latin typeface="+mn-lt"/>
                <a:cs typeface="Segoe Pro Semibold"/>
              </a:defRPr>
            </a:lvl1pPr>
          </a:lstStyle>
          <a:p>
            <a:pPr lvl="0"/>
            <a:r>
              <a:rPr lang="en-US"/>
              <a:t>Click to edit Master text styles</a:t>
            </a:r>
          </a:p>
        </p:txBody>
      </p:sp>
      <p:sp>
        <p:nvSpPr>
          <p:cNvPr id="4"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5" name="Slide Number Placeholder 3"/>
          <p:cNvSpPr>
            <a:spLocks noGrp="1"/>
          </p:cNvSpPr>
          <p:nvPr>
            <p:ph type="sldNum" sz="quarter" idx="19"/>
          </p:nvPr>
        </p:nvSpPr>
        <p:spPr>
          <a:xfrm>
            <a:off x="9353550" y="6492875"/>
            <a:ext cx="2844800" cy="365125"/>
          </a:xfrm>
        </p:spPr>
        <p:txBody>
          <a:bodyPr/>
          <a:lstStyle>
            <a:lvl1pPr>
              <a:defRPr smtClean="0">
                <a:solidFill>
                  <a:srgbClr val="3F3F3F"/>
                </a:solidFill>
                <a:latin typeface="+mn-lt"/>
              </a:defRPr>
            </a:lvl1pPr>
          </a:lstStyle>
          <a:p>
            <a:pPr>
              <a:defRPr/>
            </a:pPr>
            <a:fld id="{3D1B5734-3614-4DC6-A13F-4700EA017BC8}" type="slidenum">
              <a:rPr lang="en-US"/>
              <a:pPr>
                <a:defRPr/>
              </a:pPr>
              <a:t>‹#›</a:t>
            </a:fld>
            <a:endParaRPr lang="en-US"/>
          </a:p>
        </p:txBody>
      </p:sp>
    </p:spTree>
    <p:extLst>
      <p:ext uri="{BB962C8B-B14F-4D97-AF65-F5344CB8AC3E}">
        <p14:creationId xmlns:p14="http://schemas.microsoft.com/office/powerpoint/2010/main" val="42756041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General content light">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304800" y="304800"/>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406400" y="1143000"/>
            <a:ext cx="11176000" cy="4953000"/>
          </a:xfrm>
          <a:prstGeom prst="rect">
            <a:avLst/>
          </a:prstGeom>
        </p:spPr>
        <p:txBody>
          <a:bodyPr lIns="91440" tIns="45720">
            <a:normAutofit/>
          </a:bodyPr>
          <a:lstStyle>
            <a:lvl1pPr marL="0" indent="0">
              <a:lnSpc>
                <a:spcPct val="100000"/>
              </a:lnSpc>
              <a:spcBef>
                <a:spcPts val="300"/>
              </a:spcBef>
              <a:buFontTx/>
              <a:buNone/>
              <a:defRPr sz="2400" baseline="0">
                <a:solidFill>
                  <a:srgbClr val="3F3F3F"/>
                </a:solidFill>
                <a:latin typeface="Segoe UI Light" pitchFamily="34" charset="0"/>
              </a:defRPr>
            </a:lvl1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p:spPr>
        <p:txBody>
          <a:bodyPr/>
          <a:lstStyle>
            <a:lvl1pPr>
              <a:defRPr smtClean="0">
                <a:solidFill>
                  <a:srgbClr val="3F3F3F"/>
                </a:solidFill>
                <a:latin typeface="+mn-lt"/>
              </a:defRPr>
            </a:lvl1pPr>
          </a:lstStyle>
          <a:p>
            <a:pPr>
              <a:defRPr/>
            </a:pPr>
            <a:fld id="{51544C08-3723-40BD-8CF5-B5FB8A33B8CE}" type="slidenum">
              <a:rPr lang="en-US"/>
              <a:pPr>
                <a:defRPr/>
              </a:pPr>
              <a:t>‹#›</a:t>
            </a:fld>
            <a:endParaRPr lang="en-US"/>
          </a:p>
        </p:txBody>
      </p:sp>
    </p:spTree>
    <p:extLst>
      <p:ext uri="{BB962C8B-B14F-4D97-AF65-F5344CB8AC3E}">
        <p14:creationId xmlns:p14="http://schemas.microsoft.com/office/powerpoint/2010/main" val="31707236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549156F-DDCF-40A8-935F-C4BA21A59E62}" type="datetimeFigureOut">
              <a:rPr lang="en-US">
                <a:solidFill>
                  <a:prstClr val="black">
                    <a:tint val="75000"/>
                  </a:prstClr>
                </a:solidFill>
              </a:rPr>
              <a:pPr/>
              <a:t>11/5/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1C0F982-576B-4C53-B9CE-E3EBE8D44DA3}"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385180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549156F-DDCF-40A8-935F-C4BA21A59E62}" type="datetimeFigureOut">
              <a:rPr lang="en-US">
                <a:solidFill>
                  <a:prstClr val="black">
                    <a:tint val="75000"/>
                  </a:prstClr>
                </a:solidFill>
              </a:rPr>
              <a:pPr/>
              <a:t>11/5/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1C0F982-576B-4C53-B9CE-E3EBE8D44DA3}"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061825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549156F-DDCF-40A8-935F-C4BA21A59E62}" type="datetimeFigureOut">
              <a:rPr lang="en-US">
                <a:solidFill>
                  <a:prstClr val="black">
                    <a:tint val="75000"/>
                  </a:prstClr>
                </a:solidFill>
              </a:rPr>
              <a:pPr/>
              <a:t>11/5/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1C0F982-576B-4C53-B9CE-E3EBE8D44DA3}"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90488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549156F-DDCF-40A8-935F-C4BA21A59E62}" type="datetimeFigureOut">
              <a:rPr lang="en-US">
                <a:solidFill>
                  <a:prstClr val="black">
                    <a:tint val="75000"/>
                  </a:prstClr>
                </a:solidFill>
              </a:rPr>
              <a:pPr/>
              <a:t>11/5/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1C0F982-576B-4C53-B9CE-E3EBE8D44DA3}"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473669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549156F-DDCF-40A8-935F-C4BA21A59E62}" type="datetimeFigureOut">
              <a:rPr lang="en-US">
                <a:solidFill>
                  <a:prstClr val="black">
                    <a:tint val="75000"/>
                  </a:prstClr>
                </a:solidFill>
              </a:rPr>
              <a:pPr/>
              <a:t>11/5/2017</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11C0F982-576B-4C53-B9CE-E3EBE8D44DA3}"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581848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549156F-DDCF-40A8-935F-C4BA21A59E62}" type="datetimeFigureOut">
              <a:rPr lang="en-US">
                <a:solidFill>
                  <a:prstClr val="black">
                    <a:tint val="75000"/>
                  </a:prstClr>
                </a:solidFill>
              </a:rPr>
              <a:pPr/>
              <a:t>11/5/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11C0F982-576B-4C53-B9CE-E3EBE8D44DA3}"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895953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549156F-DDCF-40A8-935F-C4BA21A59E62}" type="datetimeFigureOut">
              <a:rPr lang="en-US">
                <a:solidFill>
                  <a:prstClr val="black">
                    <a:tint val="75000"/>
                  </a:prstClr>
                </a:solidFill>
              </a:rPr>
              <a:pPr/>
              <a:t>11/5/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11C0F982-576B-4C53-B9CE-E3EBE8D44DA3}"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291433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549156F-DDCF-40A8-935F-C4BA21A59E62}" type="datetimeFigureOut">
              <a:rPr lang="en-US">
                <a:solidFill>
                  <a:prstClr val="black">
                    <a:tint val="75000"/>
                  </a:prstClr>
                </a:solidFill>
              </a:rPr>
              <a:pPr/>
              <a:t>11/5/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1C0F982-576B-4C53-B9CE-E3EBE8D44DA3}"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2255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549156F-DDCF-40A8-935F-C4BA21A59E62}" type="datetimeFigureOut">
              <a:rPr lang="en-US">
                <a:solidFill>
                  <a:prstClr val="black">
                    <a:tint val="75000"/>
                  </a:prstClr>
                </a:solidFill>
              </a:rPr>
              <a:pPr/>
              <a:t>11/5/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1C0F982-576B-4C53-B9CE-E3EBE8D44DA3}"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263155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549156F-DDCF-40A8-935F-C4BA21A59E62}" type="datetimeFigureOut">
              <a:rPr lang="en-US">
                <a:solidFill>
                  <a:prstClr val="black">
                    <a:tint val="75000"/>
                  </a:prstClr>
                </a:solidFill>
              </a:rPr>
              <a:pPr/>
              <a:t>11/5/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1C0F982-576B-4C53-B9CE-E3EBE8D44DA3}"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765315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otes Continued">
    <p:bg>
      <p:bgPr>
        <a:solidFill>
          <a:schemeClr val="tx1"/>
        </a:solidFill>
        <a:effectLst/>
      </p:bgPr>
    </p:bg>
    <p:spTree>
      <p:nvGrpSpPr>
        <p:cNvPr id="1" name=""/>
        <p:cNvGrpSpPr/>
        <p:nvPr/>
      </p:nvGrpSpPr>
      <p:grpSpPr>
        <a:xfrm>
          <a:off x="0" y="0"/>
          <a:ext cx="0" cy="0"/>
          <a:chOff x="0" y="0"/>
          <a:chExt cx="0" cy="0"/>
        </a:xfrm>
      </p:grpSpPr>
      <p:sp>
        <p:nvSpPr>
          <p:cNvPr id="3"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304800" y="304800"/>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p:spPr>
        <p:txBody>
          <a:bodyPr/>
          <a:lstStyle>
            <a:lvl1pPr>
              <a:defRPr smtClean="0">
                <a:solidFill>
                  <a:srgbClr val="3F3F3F"/>
                </a:solidFill>
                <a:latin typeface="+mn-lt"/>
              </a:defRPr>
            </a:lvl1pPr>
          </a:lstStyle>
          <a:p>
            <a:pPr>
              <a:defRPr/>
            </a:pPr>
            <a:fld id="{92A42026-F129-469A-8661-5F471DE1CD63}" type="slidenum">
              <a:rPr lang="en-US"/>
              <a:pPr>
                <a:defRPr/>
              </a:pPr>
              <a:t>‹#›</a:t>
            </a:fld>
            <a:endParaRPr lang="en-US"/>
          </a:p>
        </p:txBody>
      </p:sp>
    </p:spTree>
    <p:extLst>
      <p:ext uri="{BB962C8B-B14F-4D97-AF65-F5344CB8AC3E}">
        <p14:creationId xmlns:p14="http://schemas.microsoft.com/office/powerpoint/2010/main" val="7935135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549156F-DDCF-40A8-935F-C4BA21A59E62}" type="datetimeFigureOut">
              <a:rPr lang="en-US">
                <a:solidFill>
                  <a:prstClr val="black">
                    <a:tint val="75000"/>
                  </a:prstClr>
                </a:solidFill>
              </a:rPr>
              <a:pPr/>
              <a:t>11/5/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1C0F982-576B-4C53-B9CE-E3EBE8D44DA3}"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603857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83534390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1611108638"/>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58515" y="3877271"/>
            <a:ext cx="9562678" cy="1794661"/>
          </a:xfrm>
          <a:noFill/>
        </p:spPr>
        <p:txBody>
          <a:bodyPr lIns="146304" tIns="109728" rIns="146304" bIns="109728">
            <a:noAutofit/>
          </a:bodyPr>
          <a:lstStyle>
            <a:lvl1pPr marL="0" indent="0">
              <a:spcBef>
                <a:spcPts val="0"/>
              </a:spcBef>
              <a:buNone/>
              <a:defRPr sz="353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358455" y="2075840"/>
            <a:ext cx="9562678" cy="1793104"/>
          </a:xfrm>
          <a:noFill/>
        </p:spPr>
        <p:txBody>
          <a:bodyPr lIns="146304" tIns="91440" rIns="146304" bIns="91440" anchor="t" anchorCtr="0"/>
          <a:lstStyle>
            <a:lvl1pPr>
              <a:defRPr sz="5883" spc="-98" baseline="0">
                <a:gradFill>
                  <a:gsLst>
                    <a:gs pos="3333">
                      <a:schemeClr val="tx1"/>
                    </a:gs>
                    <a:gs pos="39000">
                      <a:schemeClr val="tx1"/>
                    </a:gs>
                  </a:gsLst>
                  <a:lin ang="5400000" scaled="0"/>
                </a:gradFill>
              </a:defRPr>
            </a:lvl1pPr>
          </a:lstStyle>
          <a:p>
            <a:r>
              <a:rPr lang="en-US" dirty="0"/>
              <a:t>Presentation title</a:t>
            </a:r>
          </a:p>
        </p:txBody>
      </p:sp>
      <p:sp>
        <p:nvSpPr>
          <p:cNvPr id="7" name="Rectangle 6"/>
          <p:cNvSpPr/>
          <p:nvPr/>
        </p:nvSpPr>
        <p:spPr bwMode="auto">
          <a:xfrm>
            <a:off x="567880" y="470411"/>
            <a:ext cx="2539816"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289" eaLnBrk="1" hangingPunct="1">
              <a:lnSpc>
                <a:spcPct val="90000"/>
              </a:lnSpc>
              <a:defRPr/>
            </a:pPr>
            <a:r>
              <a:rPr lang="en-US" sz="1765" dirty="0">
                <a:gradFill>
                  <a:gsLst>
                    <a:gs pos="5833">
                      <a:srgbClr val="FFFFFF"/>
                    </a:gs>
                    <a:gs pos="15000">
                      <a:srgbClr val="FFFFFF"/>
                    </a:gs>
                  </a:gsLst>
                  <a:lin ang="5400000" scaled="0"/>
                </a:gradFill>
                <a:ea typeface="Segoe UI" pitchFamily="34" charset="0"/>
                <a:cs typeface="Segoe UI" pitchFamily="34" charset="0"/>
              </a:rPr>
              <a:t>Product logo </a:t>
            </a:r>
          </a:p>
          <a:p>
            <a:pPr algn="ctr" defTabSz="914289" eaLnBrk="1" hangingPunct="1">
              <a:lnSpc>
                <a:spcPct val="90000"/>
              </a:lnSpc>
              <a:defRPr/>
            </a:pPr>
            <a:r>
              <a:rPr lang="en-US" sz="1765" dirty="0">
                <a:gradFill>
                  <a:gsLst>
                    <a:gs pos="5833">
                      <a:srgbClr val="FFFFFF"/>
                    </a:gs>
                    <a:gs pos="15000">
                      <a:srgbClr val="FFFFFF"/>
                    </a:gs>
                  </a:gsLst>
                  <a:lin ang="5400000" scaled="0"/>
                </a:gradFill>
                <a:ea typeface="Segoe UI" pitchFamily="34" charset="0"/>
                <a:cs typeface="Segoe UI" pitchFamily="34" charset="0"/>
              </a:rPr>
              <a:t>goes here</a:t>
            </a: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196256" y="6196321"/>
            <a:ext cx="1398223" cy="191269"/>
          </a:xfrm>
          <a:prstGeom prst="rect">
            <a:avLst/>
          </a:prstGeom>
        </p:spPr>
      </p:pic>
    </p:spTree>
    <p:extLst>
      <p:ext uri="{BB962C8B-B14F-4D97-AF65-F5344CB8AC3E}">
        <p14:creationId xmlns:p14="http://schemas.microsoft.com/office/powerpoint/2010/main" val="768547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3" name="Rectangle 2"/>
          <p:cNvSpPr/>
          <p:nvPr/>
        </p:nvSpPr>
        <p:spPr bwMode="ltGray">
          <a:xfrm>
            <a:off x="358454" y="2084172"/>
            <a:ext cx="8486877"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10" tIns="143448" rIns="179310" bIns="143448" numCol="1" spcCol="0" rtlCol="0" fromWordArt="0" anchor="t" anchorCtr="0" forceAA="0" compatLnSpc="1">
            <a:prstTxWarp prst="textNoShape">
              <a:avLst/>
            </a:prstTxWarp>
            <a:noAutofit/>
          </a:bodyPr>
          <a:lstStyle/>
          <a:p>
            <a:pPr algn="ctr" defTabSz="914289" eaLnBrk="1" hangingPunct="1">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358517" y="2084187"/>
            <a:ext cx="8486877" cy="1793090"/>
          </a:xfrm>
          <a:noFill/>
        </p:spPr>
        <p:txBody>
          <a:bodyPr lIns="146304" tIns="91440" rIns="146304" bIns="91440" anchor="t" anchorCtr="0"/>
          <a:lstStyle>
            <a:lvl1pPr>
              <a:defRPr sz="5883"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358515" y="3878576"/>
            <a:ext cx="8486877" cy="1792326"/>
          </a:xfrm>
          <a:noFill/>
        </p:spPr>
        <p:txBody>
          <a:bodyPr lIns="146304" tIns="109728" rIns="146304" bIns="109728">
            <a:noAutofit/>
          </a:bodyPr>
          <a:lstStyle>
            <a:lvl1pPr marL="0" indent="0">
              <a:spcBef>
                <a:spcPts val="0"/>
              </a:spcBef>
              <a:buNone/>
              <a:defRPr sz="3138" spc="0" baseline="0">
                <a:gradFill>
                  <a:gsLst>
                    <a:gs pos="2917">
                      <a:srgbClr val="FFFFFF"/>
                    </a:gs>
                    <a:gs pos="30000">
                      <a:srgbClr val="FFFFFF"/>
                    </a:gs>
                  </a:gsLst>
                  <a:lin ang="5400000" scaled="0"/>
                </a:gradFill>
                <a:latin typeface="+mj-lt"/>
              </a:defRPr>
            </a:lvl1pPr>
          </a:lstStyle>
          <a:p>
            <a:pPr lvl="0"/>
            <a:r>
              <a:rPr lang="en-US" dirty="0"/>
              <a:t>Speaker Name</a:t>
            </a:r>
          </a:p>
        </p:txBody>
      </p:sp>
      <p:sp>
        <p:nvSpPr>
          <p:cNvPr id="10" name="Rectangle 9"/>
          <p:cNvSpPr/>
          <p:nvPr/>
        </p:nvSpPr>
        <p:spPr bwMode="auto">
          <a:xfrm>
            <a:off x="567880" y="470411"/>
            <a:ext cx="2539816"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289" eaLnBrk="1" hangingPunct="1">
              <a:lnSpc>
                <a:spcPct val="90000"/>
              </a:lnSpc>
              <a:defRPr/>
            </a:pPr>
            <a:r>
              <a:rPr lang="en-US" sz="1765" dirty="0">
                <a:gradFill>
                  <a:gsLst>
                    <a:gs pos="5833">
                      <a:srgbClr val="FFFFFF"/>
                    </a:gs>
                    <a:gs pos="15000">
                      <a:srgbClr val="FFFFFF"/>
                    </a:gs>
                  </a:gsLst>
                  <a:lin ang="5400000" scaled="0"/>
                </a:gradFill>
                <a:ea typeface="Segoe UI" pitchFamily="34" charset="0"/>
                <a:cs typeface="Segoe UI" pitchFamily="34" charset="0"/>
              </a:rPr>
              <a:t>Product logo </a:t>
            </a:r>
          </a:p>
          <a:p>
            <a:pPr algn="ctr" defTabSz="914289" eaLnBrk="1" hangingPunct="1">
              <a:lnSpc>
                <a:spcPct val="90000"/>
              </a:lnSpc>
              <a:defRPr/>
            </a:pPr>
            <a:r>
              <a:rPr lang="en-US" sz="1765" dirty="0">
                <a:gradFill>
                  <a:gsLst>
                    <a:gs pos="5833">
                      <a:srgbClr val="FFFFFF"/>
                    </a:gs>
                    <a:gs pos="15000">
                      <a:srgbClr val="FFFFFF"/>
                    </a:gs>
                  </a:gsLst>
                  <a:lin ang="5400000" scaled="0"/>
                </a:gradFill>
                <a:ea typeface="Segoe UI" pitchFamily="34" charset="0"/>
                <a:cs typeface="Segoe UI" pitchFamily="34" charset="0"/>
              </a:rPr>
              <a:t>goes here</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196256" y="6196321"/>
            <a:ext cx="1398223" cy="191269"/>
          </a:xfrm>
          <a:prstGeom prst="rect">
            <a:avLst/>
          </a:prstGeom>
        </p:spPr>
      </p:pic>
    </p:spTree>
    <p:extLst>
      <p:ext uri="{BB962C8B-B14F-4D97-AF65-F5344CB8AC3E}">
        <p14:creationId xmlns:p14="http://schemas.microsoft.com/office/powerpoint/2010/main" val="32107166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4">
    <p:spTree>
      <p:nvGrpSpPr>
        <p:cNvPr id="1" name=""/>
        <p:cNvGrpSpPr/>
        <p:nvPr/>
      </p:nvGrpSpPr>
      <p:grpSpPr>
        <a:xfrm>
          <a:off x="0" y="0"/>
          <a:ext cx="0" cy="0"/>
          <a:chOff x="0" y="0"/>
          <a:chExt cx="0" cy="0"/>
        </a:xfrm>
      </p:grpSpPr>
      <p:pic>
        <p:nvPicPr>
          <p:cNvPr id="11" name="Picture 4"/>
          <p:cNvPicPr>
            <a:picLocks noChangeArrowheads="1"/>
          </p:cNvPicPr>
          <p:nvPr/>
        </p:nvPicPr>
        <p:blipFill rotWithShape="1">
          <a:blip r:embed="rId2">
            <a:extLst>
              <a:ext uri="{28A0092B-C50C-407E-A947-70E740481C1C}">
                <a14:useLocalDpi xmlns:a14="http://schemas.microsoft.com/office/drawing/2010/main" val="0"/>
              </a:ext>
            </a:extLst>
          </a:blip>
          <a:srcRect l="17326" r="7877"/>
          <a:stretch/>
        </p:blipFill>
        <p:spPr bwMode="auto">
          <a:xfrm>
            <a:off x="-1" y="1"/>
            <a:ext cx="12192001"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p:nvSpPr>
        <p:spPr bwMode="gray">
          <a:xfrm>
            <a:off x="358456" y="1175218"/>
            <a:ext cx="597515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10" tIns="143448" rIns="179310" bIns="143448" numCol="1" spcCol="0" rtlCol="0" fromWordArt="0" anchor="t" anchorCtr="0" forceAA="0" compatLnSpc="1">
            <a:prstTxWarp prst="textNoShape">
              <a:avLst/>
            </a:prstTxWarp>
            <a:noAutofit/>
          </a:bodyPr>
          <a:lstStyle/>
          <a:p>
            <a:pPr algn="ctr" defTabSz="914289" eaLnBrk="1" hangingPunct="1">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358456" y="1173514"/>
            <a:ext cx="5975159" cy="1794808"/>
          </a:xfrm>
          <a:noFill/>
        </p:spPr>
        <p:txBody>
          <a:bodyPr lIns="146304" tIns="91440" rIns="146304" bIns="91440" anchor="t" anchorCtr="0"/>
          <a:lstStyle>
            <a:lvl1pPr>
              <a:defRPr sz="5295"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358456" y="2968348"/>
            <a:ext cx="5975159" cy="1789970"/>
          </a:xfrm>
        </p:spPr>
        <p:txBody>
          <a:bodyPr tIns="109728" bIns="109728">
            <a:noAutofit/>
          </a:bodyPr>
          <a:lstStyle>
            <a:lvl1pPr marL="0" indent="0">
              <a:spcBef>
                <a:spcPts val="0"/>
              </a:spcBef>
              <a:buNone/>
              <a:defRPr sz="3138">
                <a:gradFill>
                  <a:gsLst>
                    <a:gs pos="1250">
                      <a:srgbClr val="FFFFFF"/>
                    </a:gs>
                    <a:gs pos="99000">
                      <a:srgbClr val="FFFFFF"/>
                    </a:gs>
                  </a:gsLst>
                  <a:lin ang="5400000" scaled="0"/>
                </a:gradFill>
              </a:defRPr>
            </a:lvl1pPr>
          </a:lstStyle>
          <a:p>
            <a:pPr lvl="0"/>
            <a:r>
              <a:rPr lang="en-US" dirty="0"/>
              <a:t>Speaker Name</a:t>
            </a:r>
          </a:p>
        </p:txBody>
      </p:sp>
      <p:sp>
        <p:nvSpPr>
          <p:cNvPr id="14" name="Rectangle 13"/>
          <p:cNvSpPr/>
          <p:nvPr/>
        </p:nvSpPr>
        <p:spPr bwMode="auto">
          <a:xfrm>
            <a:off x="597521" y="470411"/>
            <a:ext cx="2390643"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289" eaLnBrk="1" hangingPunct="1">
              <a:lnSpc>
                <a:spcPct val="90000"/>
              </a:lnSpc>
              <a:defRPr/>
            </a:pPr>
            <a:r>
              <a:rPr lang="en-US" sz="1765" dirty="0">
                <a:gradFill>
                  <a:gsLst>
                    <a:gs pos="5833">
                      <a:srgbClr val="0072C6"/>
                    </a:gs>
                    <a:gs pos="15000">
                      <a:srgbClr val="0072C6"/>
                    </a:gs>
                  </a:gsLst>
                  <a:lin ang="5400000" scaled="0"/>
                </a:gradFill>
                <a:ea typeface="Segoe UI" pitchFamily="34" charset="0"/>
                <a:cs typeface="Segoe UI" pitchFamily="34" charset="0"/>
              </a:rPr>
              <a:t>Product logo goes here</a:t>
            </a: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597519" y="6196321"/>
            <a:ext cx="1398223" cy="191269"/>
          </a:xfrm>
          <a:prstGeom prst="rect">
            <a:avLst/>
          </a:prstGeom>
        </p:spPr>
      </p:pic>
    </p:spTree>
    <p:extLst>
      <p:ext uri="{BB962C8B-B14F-4D97-AF65-F5344CB8AC3E}">
        <p14:creationId xmlns:p14="http://schemas.microsoft.com/office/powerpoint/2010/main" val="1034687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5 ">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l="44825" t="25693" b="12567"/>
          <a:stretch/>
        </p:blipFill>
        <p:spPr>
          <a:xfrm flipH="1">
            <a:off x="-1" y="1"/>
            <a:ext cx="12192000" cy="6858000"/>
          </a:xfrm>
          <a:prstGeom prst="rect">
            <a:avLst/>
          </a:prstGeom>
        </p:spPr>
      </p:pic>
      <p:sp>
        <p:nvSpPr>
          <p:cNvPr id="19" name="Rectangle 18"/>
          <p:cNvSpPr/>
          <p:nvPr/>
        </p:nvSpPr>
        <p:spPr bwMode="gray">
          <a:xfrm>
            <a:off x="358455" y="1187298"/>
            <a:ext cx="5976674"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10" tIns="143448" rIns="179310" bIns="143448" numCol="1" spcCol="0" rtlCol="0" fromWordArt="0" anchor="t" anchorCtr="0" forceAA="0" compatLnSpc="1">
            <a:prstTxWarp prst="textNoShape">
              <a:avLst/>
            </a:prstTxWarp>
            <a:noAutofit/>
          </a:bodyPr>
          <a:lstStyle/>
          <a:p>
            <a:pPr algn="ctr" defTabSz="914289" eaLnBrk="1" hangingPunct="1">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358455" y="1187298"/>
            <a:ext cx="5976674" cy="1793108"/>
          </a:xfrm>
          <a:noFill/>
        </p:spPr>
        <p:txBody>
          <a:bodyPr lIns="146304" tIns="91440" rIns="146304" bIns="91440" anchor="t" anchorCtr="0"/>
          <a:lstStyle>
            <a:lvl1pPr>
              <a:defRPr sz="5295"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358455" y="2971063"/>
            <a:ext cx="5976674" cy="2689656"/>
          </a:xfrm>
          <a:noFill/>
        </p:spPr>
        <p:txBody>
          <a:bodyPr lIns="146304" tIns="109728" rIns="146304" bIns="109728">
            <a:noAutofit/>
          </a:bodyPr>
          <a:lstStyle>
            <a:lvl1pPr marL="0" indent="0">
              <a:spcBef>
                <a:spcPts val="0"/>
              </a:spcBef>
              <a:buNone/>
              <a:defRPr sz="3138"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8" name="Rectangle 7"/>
          <p:cNvSpPr/>
          <p:nvPr/>
        </p:nvSpPr>
        <p:spPr bwMode="auto">
          <a:xfrm>
            <a:off x="597520" y="4953121"/>
            <a:ext cx="2539816"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289" eaLnBrk="1" hangingPunct="1">
              <a:lnSpc>
                <a:spcPct val="90000"/>
              </a:lnSpc>
              <a:defRPr/>
            </a:pPr>
            <a:r>
              <a:rPr lang="en-US" sz="1765" dirty="0">
                <a:gradFill>
                  <a:gsLst>
                    <a:gs pos="5833">
                      <a:srgbClr val="FFFFFF"/>
                    </a:gs>
                    <a:gs pos="15000">
                      <a:srgbClr val="FFFFFF"/>
                    </a:gs>
                  </a:gsLst>
                  <a:lin ang="5400000" scaled="0"/>
                </a:gradFill>
                <a:ea typeface="Segoe UI" pitchFamily="34" charset="0"/>
                <a:cs typeface="Segoe UI" pitchFamily="34" charset="0"/>
              </a:rPr>
              <a:t>Product logo </a:t>
            </a:r>
          </a:p>
          <a:p>
            <a:pPr algn="ctr" defTabSz="914289" eaLnBrk="1" hangingPunct="1">
              <a:lnSpc>
                <a:spcPct val="90000"/>
              </a:lnSpc>
              <a:defRPr/>
            </a:pPr>
            <a:r>
              <a:rPr lang="en-US" sz="1765" dirty="0">
                <a:gradFill>
                  <a:gsLst>
                    <a:gs pos="5833">
                      <a:srgbClr val="FFFFFF"/>
                    </a:gs>
                    <a:gs pos="15000">
                      <a:srgbClr val="FFFFFF"/>
                    </a:gs>
                  </a:gsLst>
                  <a:lin ang="5400000" scaled="0"/>
                </a:gradFill>
                <a:ea typeface="Segoe UI" pitchFamily="34" charset="0"/>
                <a:cs typeface="Segoe UI" pitchFamily="34" charset="0"/>
              </a:rPr>
              <a:t>goes here</a:t>
            </a: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597519" y="6196321"/>
            <a:ext cx="1398223" cy="191269"/>
          </a:xfrm>
          <a:prstGeom prst="rect">
            <a:avLst/>
          </a:prstGeom>
        </p:spPr>
      </p:pic>
    </p:spTree>
    <p:extLst>
      <p:ext uri="{BB962C8B-B14F-4D97-AF65-F5344CB8AC3E}">
        <p14:creationId xmlns:p14="http://schemas.microsoft.com/office/powerpoint/2010/main" val="634685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6 ">
    <p:spTree>
      <p:nvGrpSpPr>
        <p:cNvPr id="1" name=""/>
        <p:cNvGrpSpPr/>
        <p:nvPr/>
      </p:nvGrpSpPr>
      <p:grpSpPr>
        <a:xfrm>
          <a:off x="0" y="0"/>
          <a:ext cx="0" cy="0"/>
          <a:chOff x="0" y="0"/>
          <a:chExt cx="0" cy="0"/>
        </a:xfrm>
      </p:grpSpPr>
      <p:pic>
        <p:nvPicPr>
          <p:cNvPr id="11" name="Picture 10"/>
          <p:cNvPicPr>
            <a:picLocks/>
          </p:cNvPicPr>
          <p:nvPr/>
        </p:nvPicPr>
        <p:blipFill rotWithShape="1">
          <a:blip r:embed="rId2">
            <a:extLst>
              <a:ext uri="{28A0092B-C50C-407E-A947-70E740481C1C}">
                <a14:useLocalDpi xmlns:a14="http://schemas.microsoft.com/office/drawing/2010/main" val="0"/>
              </a:ext>
            </a:extLst>
          </a:blip>
          <a:srcRect l="18378" t="-40" r="6590" b="40"/>
          <a:stretch/>
        </p:blipFill>
        <p:spPr>
          <a:xfrm>
            <a:off x="4" y="0"/>
            <a:ext cx="12191996" cy="6860760"/>
          </a:xfrm>
          <a:prstGeom prst="rect">
            <a:avLst/>
          </a:prstGeom>
        </p:spPr>
      </p:pic>
      <p:sp>
        <p:nvSpPr>
          <p:cNvPr id="12" name="Rectangle 11"/>
          <p:cNvSpPr/>
          <p:nvPr/>
        </p:nvSpPr>
        <p:spPr bwMode="gray">
          <a:xfrm>
            <a:off x="358455" y="1187620"/>
            <a:ext cx="5976674"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10" tIns="143448" rIns="179310" bIns="143448" numCol="1" spcCol="0" rtlCol="0" fromWordArt="0" anchor="t" anchorCtr="0" forceAA="0" compatLnSpc="1">
            <a:prstTxWarp prst="textNoShape">
              <a:avLst/>
            </a:prstTxWarp>
            <a:noAutofit/>
          </a:bodyPr>
          <a:lstStyle/>
          <a:p>
            <a:pPr algn="ctr" defTabSz="914289" eaLnBrk="1" hangingPunct="1">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358455" y="1187620"/>
            <a:ext cx="5976674" cy="1793108"/>
          </a:xfrm>
          <a:noFill/>
        </p:spPr>
        <p:txBody>
          <a:bodyPr lIns="146304" tIns="91440" rIns="146304" bIns="91440" anchor="t" anchorCtr="0"/>
          <a:lstStyle>
            <a:lvl1pPr>
              <a:defRPr sz="5295" spc="-98" baseline="0">
                <a:gradFill>
                  <a:gsLst>
                    <a:gs pos="0">
                      <a:srgbClr val="FFFFFF"/>
                    </a:gs>
                    <a:gs pos="100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ltGray">
          <a:xfrm>
            <a:off x="358455" y="2971385"/>
            <a:ext cx="5976674" cy="1794661"/>
          </a:xfrm>
          <a:noFill/>
        </p:spPr>
        <p:txBody>
          <a:bodyPr lIns="146304" tIns="109728" rIns="146304" bIns="109728">
            <a:noAutofit/>
          </a:bodyPr>
          <a:lstStyle>
            <a:lvl1pPr marL="0" indent="0">
              <a:spcBef>
                <a:spcPts val="0"/>
              </a:spcBef>
              <a:buNone/>
              <a:defRPr sz="3138"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158323" y="6196321"/>
            <a:ext cx="1398223" cy="191269"/>
          </a:xfrm>
          <a:prstGeom prst="rect">
            <a:avLst/>
          </a:prstGeom>
        </p:spPr>
      </p:pic>
      <p:sp>
        <p:nvSpPr>
          <p:cNvPr id="10" name="Rectangle 9"/>
          <p:cNvSpPr/>
          <p:nvPr/>
        </p:nvSpPr>
        <p:spPr bwMode="auto">
          <a:xfrm>
            <a:off x="567880" y="4953121"/>
            <a:ext cx="2539816"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289" eaLnBrk="1" hangingPunct="1">
              <a:lnSpc>
                <a:spcPct val="90000"/>
              </a:lnSpc>
              <a:defRPr/>
            </a:pPr>
            <a:r>
              <a:rPr lang="en-US" sz="1765" dirty="0">
                <a:gradFill>
                  <a:gsLst>
                    <a:gs pos="5833">
                      <a:srgbClr val="FFFFFF"/>
                    </a:gs>
                    <a:gs pos="15000">
                      <a:srgbClr val="FFFFFF"/>
                    </a:gs>
                  </a:gsLst>
                  <a:lin ang="5400000" scaled="0"/>
                </a:gradFill>
                <a:ea typeface="Segoe UI" pitchFamily="34" charset="0"/>
                <a:cs typeface="Segoe UI" pitchFamily="34" charset="0"/>
              </a:rPr>
              <a:t>Product logo </a:t>
            </a:r>
          </a:p>
          <a:p>
            <a:pPr algn="ctr" defTabSz="914289" eaLnBrk="1" hangingPunct="1">
              <a:lnSpc>
                <a:spcPct val="90000"/>
              </a:lnSpc>
              <a:defRPr/>
            </a:pPr>
            <a:r>
              <a:rPr lang="en-US" sz="1765" dirty="0">
                <a:gradFill>
                  <a:gsLst>
                    <a:gs pos="5833">
                      <a:srgbClr val="FFFFFF"/>
                    </a:gs>
                    <a:gs pos="15000">
                      <a:srgbClr val="FFFFFF"/>
                    </a:gs>
                  </a:gsLst>
                  <a:lin ang="5400000" scaled="0"/>
                </a:gradFill>
                <a:ea typeface="Segoe UI" pitchFamily="34" charset="0"/>
                <a:cs typeface="Segoe UI" pitchFamily="34" charset="0"/>
              </a:rPr>
              <a:t>goes here</a:t>
            </a:r>
          </a:p>
        </p:txBody>
      </p:sp>
    </p:spTree>
    <p:extLst>
      <p:ext uri="{BB962C8B-B14F-4D97-AF65-F5344CB8AC3E}">
        <p14:creationId xmlns:p14="http://schemas.microsoft.com/office/powerpoint/2010/main" val="38585401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7">
    <p:spTree>
      <p:nvGrpSpPr>
        <p:cNvPr id="1" name=""/>
        <p:cNvGrpSpPr/>
        <p:nvPr/>
      </p:nvGrpSpPr>
      <p:grpSpPr>
        <a:xfrm>
          <a:off x="0" y="0"/>
          <a:ext cx="0" cy="0"/>
          <a:chOff x="0" y="0"/>
          <a:chExt cx="0" cy="0"/>
        </a:xfrm>
      </p:grpSpPr>
      <p:pic>
        <p:nvPicPr>
          <p:cNvPr id="22" name="Picture 21"/>
          <p:cNvPicPr>
            <a:picLocks/>
          </p:cNvPicPr>
          <p:nvPr/>
        </p:nvPicPr>
        <p:blipFill rotWithShape="1">
          <a:blip r:embed="rId2">
            <a:extLst>
              <a:ext uri="{28A0092B-C50C-407E-A947-70E740481C1C}">
                <a14:useLocalDpi xmlns:a14="http://schemas.microsoft.com/office/drawing/2010/main" val="0"/>
              </a:ext>
            </a:extLst>
          </a:blip>
          <a:srcRect l="16369" r="8455"/>
          <a:stretch/>
        </p:blipFill>
        <p:spPr>
          <a:xfrm>
            <a:off x="4731" y="0"/>
            <a:ext cx="12187268" cy="6857999"/>
          </a:xfrm>
          <a:prstGeom prst="rect">
            <a:avLst/>
          </a:prstGeom>
        </p:spPr>
      </p:pic>
      <p:sp>
        <p:nvSpPr>
          <p:cNvPr id="13" name="Rectangle 12"/>
          <p:cNvSpPr/>
          <p:nvPr/>
        </p:nvSpPr>
        <p:spPr bwMode="gray">
          <a:xfrm>
            <a:off x="358456" y="2084147"/>
            <a:ext cx="7172008"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10" tIns="143448" rIns="179310" bIns="143448" numCol="1" spcCol="0" rtlCol="0" fromWordArt="0" anchor="t" anchorCtr="0" forceAA="0" compatLnSpc="1">
            <a:prstTxWarp prst="textNoShape">
              <a:avLst/>
            </a:prstTxWarp>
            <a:noAutofit/>
          </a:bodyPr>
          <a:lstStyle/>
          <a:p>
            <a:pPr algn="ctr" defTabSz="914289" eaLnBrk="1" hangingPunct="1">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358456" y="2082443"/>
            <a:ext cx="7172008" cy="1794808"/>
          </a:xfrm>
          <a:noFill/>
        </p:spPr>
        <p:txBody>
          <a:bodyPr lIns="146304" tIns="91440" rIns="146304" bIns="91440" anchor="t" anchorCtr="0"/>
          <a:lstStyle>
            <a:lvl1pPr>
              <a:defRPr sz="5295"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358456" y="3877257"/>
            <a:ext cx="7172008" cy="1789991"/>
          </a:xfrm>
        </p:spPr>
        <p:txBody>
          <a:bodyPr tIns="109728" bIns="109728">
            <a:noAutofit/>
          </a:bodyPr>
          <a:lstStyle>
            <a:lvl1pPr marL="0" indent="0">
              <a:spcBef>
                <a:spcPts val="0"/>
              </a:spcBef>
              <a:buNone/>
              <a:defRPr sz="3138">
                <a:gradFill>
                  <a:gsLst>
                    <a:gs pos="1250">
                      <a:srgbClr val="FFFFFF"/>
                    </a:gs>
                    <a:gs pos="99000">
                      <a:srgbClr val="FFFFFF"/>
                    </a:gs>
                  </a:gsLst>
                  <a:lin ang="5400000" scaled="0"/>
                </a:gradFill>
              </a:defRPr>
            </a:lvl1pPr>
          </a:lstStyle>
          <a:p>
            <a:pPr lvl="0"/>
            <a:r>
              <a:rPr lang="en-US"/>
              <a:t>Click to edit Master text styles</a:t>
            </a:r>
          </a:p>
        </p:txBody>
      </p:sp>
      <p:sp>
        <p:nvSpPr>
          <p:cNvPr id="9" name="Rectangle 8"/>
          <p:cNvSpPr/>
          <p:nvPr/>
        </p:nvSpPr>
        <p:spPr bwMode="auto">
          <a:xfrm>
            <a:off x="597520" y="470411"/>
            <a:ext cx="2352736"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289" eaLnBrk="1" hangingPunct="1">
              <a:lnSpc>
                <a:spcPct val="90000"/>
              </a:lnSpc>
              <a:defRPr/>
            </a:pPr>
            <a:r>
              <a:rPr lang="en-US" sz="1765" dirty="0">
                <a:gradFill>
                  <a:gsLst>
                    <a:gs pos="5833">
                      <a:srgbClr val="0072C6"/>
                    </a:gs>
                    <a:gs pos="15000">
                      <a:srgbClr val="0072C6"/>
                    </a:gs>
                  </a:gsLst>
                  <a:lin ang="5400000" scaled="0"/>
                </a:gradFill>
                <a:ea typeface="Segoe UI" pitchFamily="34" charset="0"/>
                <a:cs typeface="Segoe UI" pitchFamily="34" charset="0"/>
              </a:rPr>
              <a:t>Product logo goes here</a:t>
            </a: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597520" y="6196320"/>
            <a:ext cx="1380486" cy="191269"/>
          </a:xfrm>
          <a:prstGeom prst="rect">
            <a:avLst/>
          </a:prstGeom>
        </p:spPr>
      </p:pic>
    </p:spTree>
    <p:extLst>
      <p:ext uri="{BB962C8B-B14F-4D97-AF65-F5344CB8AC3E}">
        <p14:creationId xmlns:p14="http://schemas.microsoft.com/office/powerpoint/2010/main" val="25804637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8">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2">
            <a:extLst>
              <a:ext uri="{28A0092B-C50C-407E-A947-70E740481C1C}">
                <a14:useLocalDpi xmlns:a14="http://schemas.microsoft.com/office/drawing/2010/main" val="0"/>
              </a:ext>
            </a:extLst>
          </a:blip>
          <a:srcRect l="17903" t="1950" r="8873" b="378"/>
          <a:stretch/>
        </p:blipFill>
        <p:spPr>
          <a:xfrm>
            <a:off x="-1" y="0"/>
            <a:ext cx="12192000" cy="6858000"/>
          </a:xfrm>
          <a:prstGeom prst="rect">
            <a:avLst/>
          </a:prstGeom>
        </p:spPr>
      </p:pic>
      <p:sp>
        <p:nvSpPr>
          <p:cNvPr id="10" name="Rectangle 9"/>
          <p:cNvSpPr/>
          <p:nvPr/>
        </p:nvSpPr>
        <p:spPr bwMode="gray">
          <a:xfrm>
            <a:off x="358520" y="1187621"/>
            <a:ext cx="717042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10" tIns="143448" rIns="179310" bIns="143448" numCol="1" spcCol="0" rtlCol="0" fromWordArt="0" anchor="t" anchorCtr="0" forceAA="0" compatLnSpc="1">
            <a:prstTxWarp prst="textNoShape">
              <a:avLst/>
            </a:prstTxWarp>
            <a:noAutofit/>
          </a:bodyPr>
          <a:lstStyle/>
          <a:p>
            <a:pPr algn="ctr" defTabSz="914289" eaLnBrk="1" hangingPunct="1">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358455" y="1187620"/>
            <a:ext cx="7170429" cy="1793108"/>
          </a:xfrm>
          <a:noFill/>
        </p:spPr>
        <p:txBody>
          <a:bodyPr lIns="146304" tIns="91440" rIns="146304" bIns="91440" anchor="t" anchorCtr="0"/>
          <a:lstStyle>
            <a:lvl1pPr>
              <a:defRPr sz="5295" spc="-98"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358520" y="2971385"/>
            <a:ext cx="7170429" cy="1794661"/>
          </a:xfrm>
          <a:noFill/>
        </p:spPr>
        <p:txBody>
          <a:bodyPr lIns="146304" tIns="109728" rIns="146304" bIns="109728">
            <a:noAutofit/>
          </a:bodyPr>
          <a:lstStyle>
            <a:lvl1pPr marL="0" indent="0">
              <a:spcBef>
                <a:spcPts val="0"/>
              </a:spcBef>
              <a:buNone/>
              <a:defRPr sz="3138"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3" name="Rectangle 12"/>
          <p:cNvSpPr/>
          <p:nvPr/>
        </p:nvSpPr>
        <p:spPr bwMode="auto">
          <a:xfrm>
            <a:off x="597520" y="470411"/>
            <a:ext cx="2539816"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289" eaLnBrk="1" hangingPunct="1">
              <a:lnSpc>
                <a:spcPct val="90000"/>
              </a:lnSpc>
              <a:defRPr/>
            </a:pPr>
            <a:r>
              <a:rPr lang="en-US" sz="1765" dirty="0">
                <a:gradFill>
                  <a:gsLst>
                    <a:gs pos="5833">
                      <a:srgbClr val="FFFFFF"/>
                    </a:gs>
                    <a:gs pos="15000">
                      <a:srgbClr val="FFFFFF"/>
                    </a:gs>
                  </a:gsLst>
                  <a:lin ang="5400000" scaled="0"/>
                </a:gradFill>
                <a:ea typeface="Segoe UI" pitchFamily="34" charset="0"/>
                <a:cs typeface="Segoe UI" pitchFamily="34" charset="0"/>
              </a:rPr>
              <a:t>Product logo </a:t>
            </a:r>
          </a:p>
          <a:p>
            <a:pPr algn="ctr" defTabSz="914289" eaLnBrk="1" hangingPunct="1">
              <a:lnSpc>
                <a:spcPct val="90000"/>
              </a:lnSpc>
              <a:defRPr/>
            </a:pPr>
            <a:r>
              <a:rPr lang="en-US" sz="1765" dirty="0">
                <a:gradFill>
                  <a:gsLst>
                    <a:gs pos="5833">
                      <a:srgbClr val="FFFFFF"/>
                    </a:gs>
                    <a:gs pos="15000">
                      <a:srgbClr val="FFFFFF"/>
                    </a:gs>
                  </a:gsLst>
                  <a:lin ang="5400000" scaled="0"/>
                </a:gradFill>
                <a:ea typeface="Segoe UI" pitchFamily="34" charset="0"/>
                <a:cs typeface="Segoe UI" pitchFamily="34" charset="0"/>
              </a:rPr>
              <a:t>goes her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597519" y="6196321"/>
            <a:ext cx="1398223" cy="191269"/>
          </a:xfrm>
          <a:prstGeom prst="rect">
            <a:avLst/>
          </a:prstGeom>
        </p:spPr>
      </p:pic>
    </p:spTree>
    <p:extLst>
      <p:ext uri="{BB962C8B-B14F-4D97-AF65-F5344CB8AC3E}">
        <p14:creationId xmlns:p14="http://schemas.microsoft.com/office/powerpoint/2010/main" val="27176821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odule Overview">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5" name="Slide Number Placeholder 3"/>
          <p:cNvSpPr>
            <a:spLocks noGrp="1"/>
          </p:cNvSpPr>
          <p:nvPr>
            <p:ph type="sldNum" sz="quarter" idx="17"/>
          </p:nvPr>
        </p:nvSpPr>
        <p:spPr>
          <a:xfrm>
            <a:off x="9353550" y="6492875"/>
            <a:ext cx="2844800" cy="365125"/>
          </a:xfrm>
        </p:spPr>
        <p:txBody>
          <a:bodyPr/>
          <a:lstStyle>
            <a:lvl1pPr>
              <a:defRPr smtClean="0">
                <a:solidFill>
                  <a:srgbClr val="3F3F3F"/>
                </a:solidFill>
                <a:latin typeface="+mn-lt"/>
              </a:defRPr>
            </a:lvl1pPr>
          </a:lstStyle>
          <a:p>
            <a:pPr>
              <a:defRPr/>
            </a:pPr>
            <a:fld id="{EB7F6848-395C-4E9F-B328-8F118EF343E2}" type="slidenum">
              <a:rPr lang="en-US"/>
              <a:pPr>
                <a:defRPr/>
              </a:pPr>
              <a:t>‹#›</a:t>
            </a:fld>
            <a:endParaRPr lang="en-US"/>
          </a:p>
        </p:txBody>
      </p:sp>
    </p:spTree>
    <p:extLst>
      <p:ext uri="{BB962C8B-B14F-4D97-AF65-F5344CB8AC3E}">
        <p14:creationId xmlns:p14="http://schemas.microsoft.com/office/powerpoint/2010/main" val="1700406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ltGray">
          <a:xfrm>
            <a:off x="358455" y="1186356"/>
            <a:ext cx="8367343" cy="2689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10" tIns="143448" rIns="179310" bIns="143448" numCol="1" spcCol="0" rtlCol="0" fromWordArt="0" anchor="t" anchorCtr="0" forceAA="0" compatLnSpc="1">
            <a:prstTxWarp prst="textNoShape">
              <a:avLst/>
            </a:prstTxWarp>
            <a:noAutofit/>
          </a:bodyPr>
          <a:lstStyle/>
          <a:p>
            <a:pPr algn="ctr" defTabSz="914289" eaLnBrk="1" hangingPunct="1">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358455" y="1186356"/>
            <a:ext cx="8367343" cy="2689656"/>
          </a:xfrm>
          <a:noFill/>
        </p:spPr>
        <p:txBody>
          <a:bodyPr tIns="91440" bIns="91440" anchor="t" anchorCtr="0"/>
          <a:lstStyle>
            <a:lvl1pPr>
              <a:defRPr sz="706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358455" y="3877277"/>
            <a:ext cx="8367343" cy="1793881"/>
          </a:xfrm>
          <a:noFill/>
        </p:spPr>
        <p:txBody>
          <a:bodyPr lIns="182880" tIns="146304" rIns="182880" bIns="146304">
            <a:noAutofit/>
          </a:bodyPr>
          <a:lstStyle>
            <a:lvl1pPr marL="0" indent="0">
              <a:spcBef>
                <a:spcPts val="0"/>
              </a:spcBef>
              <a:buNone/>
              <a:defRPr sz="35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946841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ltGray">
          <a:xfrm>
            <a:off x="358455" y="1187644"/>
            <a:ext cx="8367343" cy="268965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10" tIns="143448" rIns="179310" bIns="143448" numCol="1" spcCol="0" rtlCol="0" fromWordArt="0" anchor="t" anchorCtr="0" forceAA="0" compatLnSpc="1">
            <a:prstTxWarp prst="textNoShape">
              <a:avLst/>
            </a:prstTxWarp>
            <a:noAutofit/>
          </a:bodyPr>
          <a:lstStyle/>
          <a:p>
            <a:pPr algn="ctr" defTabSz="914289" eaLnBrk="1" hangingPunct="1">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58455" y="1186356"/>
            <a:ext cx="8367343" cy="2689656"/>
          </a:xfrm>
          <a:noFill/>
        </p:spPr>
        <p:txBody>
          <a:bodyPr tIns="91440" bIns="91440" anchor="t" anchorCtr="0"/>
          <a:lstStyle>
            <a:lvl1pPr>
              <a:defRPr sz="7060"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7848632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455" y="2084174"/>
            <a:ext cx="11475214" cy="1796217"/>
          </a:xfrm>
          <a:noFill/>
        </p:spPr>
        <p:txBody>
          <a:bodyPr tIns="91440" bIns="91440" anchor="t" anchorCtr="0"/>
          <a:lstStyle>
            <a:lvl1pPr>
              <a:defRPr sz="862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909921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455" y="2084174"/>
            <a:ext cx="11475214" cy="1796217"/>
          </a:xfrm>
          <a:noFill/>
        </p:spPr>
        <p:txBody>
          <a:bodyPr tIns="91440" bIns="91440" anchor="t" anchorCtr="0"/>
          <a:lstStyle>
            <a:lvl1pPr>
              <a:defRPr sz="862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2244280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455" y="2084174"/>
            <a:ext cx="11475214" cy="1796217"/>
          </a:xfrm>
          <a:noFill/>
        </p:spPr>
        <p:txBody>
          <a:bodyPr tIns="91440" bIns="91440" anchor="t" anchorCtr="0"/>
          <a:lstStyle>
            <a:lvl1pPr>
              <a:defRPr sz="862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7136488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58455" y="1189177"/>
            <a:ext cx="11475214"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42" indent="0">
              <a:buNone/>
              <a:defRPr/>
            </a:lvl3pPr>
            <a:lvl4pPr marL="448285" indent="0">
              <a:buNone/>
              <a:defRPr/>
            </a:lvl4pPr>
            <a:lvl5pPr marL="67242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850484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58455" y="1189177"/>
            <a:ext cx="11475214"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42" indent="0">
              <a:buNone/>
              <a:defRPr/>
            </a:lvl3pPr>
            <a:lvl4pPr marL="448285" indent="0">
              <a:buNone/>
              <a:defRPr/>
            </a:lvl4pPr>
            <a:lvl5pPr marL="67242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7433460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8455" y="1189178"/>
            <a:ext cx="11475214" cy="205203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446847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8455" y="1189178"/>
            <a:ext cx="11475214" cy="2052030"/>
          </a:xfrm>
        </p:spPr>
        <p:txBody>
          <a:bodyPr wrap="square">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641460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358455" y="1189176"/>
            <a:ext cx="5498540" cy="1880515"/>
          </a:xfrm>
        </p:spPr>
        <p:txBody>
          <a:bodyPr wrap="square">
            <a:spAutoFit/>
          </a:bodyPr>
          <a:lstStyle>
            <a:lvl1pPr marL="0" indent="0">
              <a:spcBef>
                <a:spcPts val="1200"/>
              </a:spcBef>
              <a:buClr>
                <a:schemeClr val="tx1"/>
              </a:buClr>
              <a:buFont typeface="Wingdings" pitchFamily="2" charset="2"/>
              <a:buNone/>
              <a:defRPr sz="3138">
                <a:gradFill>
                  <a:gsLst>
                    <a:gs pos="1250">
                      <a:schemeClr val="tx2"/>
                    </a:gs>
                    <a:gs pos="99000">
                      <a:schemeClr val="tx2"/>
                    </a:gs>
                  </a:gsLst>
                  <a:lin ang="5400000" scaled="0"/>
                </a:gradFill>
              </a:defRPr>
            </a:lvl1pPr>
            <a:lvl2pPr marL="0" indent="0">
              <a:buNone/>
              <a:defRPr sz="1961"/>
            </a:lvl2pPr>
            <a:lvl3pPr marL="227255" indent="0">
              <a:buNone/>
              <a:tabLst/>
              <a:defRPr sz="1961"/>
            </a:lvl3pPr>
            <a:lvl4pPr marL="451398" indent="0">
              <a:buNone/>
              <a:defRPr/>
            </a:lvl4pPr>
            <a:lvl5pPr marL="67242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335064" y="1187621"/>
            <a:ext cx="5498540" cy="1880515"/>
          </a:xfrm>
        </p:spPr>
        <p:txBody>
          <a:bodyPr wrap="square">
            <a:spAutoFit/>
          </a:bodyPr>
          <a:lstStyle>
            <a:lvl1pPr marL="0" indent="0">
              <a:spcBef>
                <a:spcPts val="1200"/>
              </a:spcBef>
              <a:buClr>
                <a:schemeClr val="tx1"/>
              </a:buClr>
              <a:buFont typeface="Wingdings" pitchFamily="2" charset="2"/>
              <a:buNone/>
              <a:defRPr sz="3138">
                <a:gradFill>
                  <a:gsLst>
                    <a:gs pos="1250">
                      <a:schemeClr val="tx2"/>
                    </a:gs>
                    <a:gs pos="99000">
                      <a:schemeClr val="tx2"/>
                    </a:gs>
                  </a:gsLst>
                  <a:lin ang="5400000" scaled="0"/>
                </a:gradFill>
              </a:defRPr>
            </a:lvl1pPr>
            <a:lvl2pPr marL="0" indent="0">
              <a:buNone/>
              <a:defRPr sz="1961"/>
            </a:lvl2pPr>
            <a:lvl3pPr marL="227255" indent="0">
              <a:buNone/>
              <a:tabLst/>
              <a:defRPr sz="1961"/>
            </a:lvl3pPr>
            <a:lvl4pPr marL="451398" indent="0">
              <a:buNone/>
              <a:defRPr/>
            </a:lvl4pPr>
            <a:lvl5pPr marL="67242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312288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sson Overview">
    <p:bg>
      <p:bgPr>
        <a:solidFill>
          <a:schemeClr val="tx1"/>
        </a:solidFill>
        <a:effectLst/>
      </p:bgPr>
    </p:bg>
    <p:spTree>
      <p:nvGrpSpPr>
        <p:cNvPr id="1" name=""/>
        <p:cNvGrpSpPr/>
        <p:nvPr/>
      </p:nvGrpSpPr>
      <p:grpSpPr>
        <a:xfrm>
          <a:off x="0" y="0"/>
          <a:ext cx="0" cy="0"/>
          <a:chOff x="0" y="0"/>
          <a:chExt cx="0" cy="0"/>
        </a:xfrm>
      </p:grpSpPr>
      <p:sp>
        <p:nvSpPr>
          <p:cNvPr id="5"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0" y="1371600"/>
            <a:ext cx="4572000" cy="1828800"/>
          </a:xfrm>
          <a:solidFill>
            <a:srgbClr val="0A5BBA"/>
          </a:solidFill>
        </p:spPr>
        <p:txBody>
          <a:bodyPr>
            <a:normAutofit/>
          </a:bodyPr>
          <a:lstStyle>
            <a:lvl1pPr>
              <a:defRPr sz="24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0"/>
            <a:ext cx="4572000" cy="1828800"/>
          </a:xfrm>
          <a:solidFill>
            <a:schemeClr val="bg2"/>
          </a:solidFill>
        </p:spPr>
        <p:txBody>
          <a:bodyPr>
            <a:normAutofit/>
          </a:bodyPr>
          <a:lstStyle>
            <a:lvl1pPr>
              <a:lnSpc>
                <a:spcPct val="100000"/>
              </a:lnSpc>
              <a:defRPr sz="2400">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Click to edit Master text styles</a:t>
            </a:r>
          </a:p>
        </p:txBody>
      </p:sp>
      <p:sp>
        <p:nvSpPr>
          <p:cNvPr id="18" name="Text Placeholder 14"/>
          <p:cNvSpPr>
            <a:spLocks noGrp="1"/>
          </p:cNvSpPr>
          <p:nvPr>
            <p:ph type="body" sz="quarter" idx="14"/>
          </p:nvPr>
        </p:nvSpPr>
        <p:spPr>
          <a:xfrm>
            <a:off x="4572000" y="3200400"/>
            <a:ext cx="4572000" cy="1828800"/>
          </a:xfrm>
          <a:solidFill>
            <a:schemeClr val="accent4"/>
          </a:solidFill>
        </p:spPr>
        <p:txBody>
          <a:bodyPr>
            <a:normAutofit/>
          </a:bodyPr>
          <a:lstStyle>
            <a:lvl1pPr>
              <a:lnSpc>
                <a:spcPct val="100000"/>
              </a:lnSpc>
              <a:defRPr sz="240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p:txBody>
      </p:sp>
      <p:sp>
        <p:nvSpPr>
          <p:cNvPr id="6" name="Slide Number Placeholder 3"/>
          <p:cNvSpPr>
            <a:spLocks noGrp="1"/>
          </p:cNvSpPr>
          <p:nvPr>
            <p:ph type="sldNum" sz="quarter" idx="15"/>
          </p:nvPr>
        </p:nvSpPr>
        <p:spPr>
          <a:xfrm>
            <a:off x="9353550" y="6492875"/>
            <a:ext cx="2844800" cy="365125"/>
          </a:xfrm>
        </p:spPr>
        <p:txBody>
          <a:bodyPr/>
          <a:lstStyle>
            <a:lvl1pPr>
              <a:defRPr smtClean="0">
                <a:solidFill>
                  <a:srgbClr val="3F3F3F"/>
                </a:solidFill>
                <a:latin typeface="+mn-lt"/>
              </a:defRPr>
            </a:lvl1pPr>
          </a:lstStyle>
          <a:p>
            <a:pPr>
              <a:defRPr/>
            </a:pPr>
            <a:fld id="{61F04764-BEE9-4470-8C26-8BFC47745ADF}" type="slidenum">
              <a:rPr lang="en-US"/>
              <a:pPr>
                <a:defRPr/>
              </a:pPr>
              <a:t>‹#›</a:t>
            </a:fld>
            <a:endParaRPr lang="en-US"/>
          </a:p>
        </p:txBody>
      </p:sp>
    </p:spTree>
    <p:extLst>
      <p:ext uri="{BB962C8B-B14F-4D97-AF65-F5344CB8AC3E}">
        <p14:creationId xmlns:p14="http://schemas.microsoft.com/office/powerpoint/2010/main" val="1054251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358455" y="1189176"/>
            <a:ext cx="5498540" cy="1880515"/>
          </a:xfrm>
        </p:spPr>
        <p:txBody>
          <a:bodyPr wrap="square">
            <a:spAutoFit/>
          </a:bodyPr>
          <a:lstStyle>
            <a:lvl1pPr marL="0" indent="0">
              <a:spcBef>
                <a:spcPts val="1200"/>
              </a:spcBef>
              <a:buClr>
                <a:schemeClr val="tx1"/>
              </a:buClr>
              <a:buFont typeface="Wingdings" pitchFamily="2" charset="2"/>
              <a:buNone/>
              <a:defRPr sz="3138"/>
            </a:lvl1pPr>
            <a:lvl2pPr marL="0" indent="0">
              <a:buNone/>
              <a:defRPr sz="1961"/>
            </a:lvl2pPr>
            <a:lvl3pPr marL="227255" indent="0">
              <a:buNone/>
              <a:tabLst/>
              <a:defRPr sz="1961"/>
            </a:lvl3pPr>
            <a:lvl4pPr marL="451398" indent="0">
              <a:buNone/>
              <a:defRPr/>
            </a:lvl4pPr>
            <a:lvl5pPr marL="67242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335064" y="1189176"/>
            <a:ext cx="5498540" cy="1880515"/>
          </a:xfrm>
        </p:spPr>
        <p:txBody>
          <a:bodyPr wrap="square">
            <a:spAutoFit/>
          </a:bodyPr>
          <a:lstStyle>
            <a:lvl1pPr marL="0" indent="0">
              <a:spcBef>
                <a:spcPts val="1200"/>
              </a:spcBef>
              <a:buClr>
                <a:schemeClr val="tx1"/>
              </a:buClr>
              <a:buFont typeface="Wingdings" pitchFamily="2" charset="2"/>
              <a:buNone/>
              <a:defRPr sz="3138"/>
            </a:lvl1pPr>
            <a:lvl2pPr marL="0" indent="0">
              <a:buNone/>
              <a:defRPr sz="1961"/>
            </a:lvl2pPr>
            <a:lvl3pPr marL="227255" indent="0">
              <a:buNone/>
              <a:tabLst/>
              <a:defRPr sz="1961"/>
            </a:lvl3pPr>
            <a:lvl4pPr marL="451398" indent="0">
              <a:buNone/>
              <a:defRPr/>
            </a:lvl4pPr>
            <a:lvl5pPr marL="67242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649912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358455" y="1189177"/>
            <a:ext cx="5498540" cy="1946880"/>
          </a:xfrm>
        </p:spPr>
        <p:txBody>
          <a:bodyPr wrap="square">
            <a:spAutoFit/>
          </a:bodyPr>
          <a:lstStyle>
            <a:lvl1pPr marL="281735" indent="-281735">
              <a:spcBef>
                <a:spcPts val="1200"/>
              </a:spcBef>
              <a:buClr>
                <a:schemeClr val="tx1"/>
              </a:buClr>
              <a:buFont typeface="Arial" pitchFamily="34" charset="0"/>
              <a:buChar char="•"/>
              <a:defRPr sz="3138"/>
            </a:lvl1pPr>
            <a:lvl2pPr marL="520808" indent="-228648">
              <a:defRPr sz="2353"/>
            </a:lvl2pPr>
            <a:lvl3pPr marL="685943" indent="-165135">
              <a:tabLst/>
              <a:defRPr sz="1961"/>
            </a:lvl3pPr>
            <a:lvl4pPr marL="863779" indent="-177837">
              <a:defRPr/>
            </a:lvl4pPr>
            <a:lvl5pPr marL="1028914" indent="-1651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335003" y="1189177"/>
            <a:ext cx="5498540" cy="1946880"/>
          </a:xfrm>
        </p:spPr>
        <p:txBody>
          <a:bodyPr wrap="square">
            <a:spAutoFit/>
          </a:bodyPr>
          <a:lstStyle>
            <a:lvl1pPr marL="281735" indent="-281735">
              <a:spcBef>
                <a:spcPts val="1200"/>
              </a:spcBef>
              <a:buClr>
                <a:schemeClr val="tx1"/>
              </a:buClr>
              <a:buFont typeface="Arial" pitchFamily="34" charset="0"/>
              <a:buChar char="•"/>
              <a:defRPr sz="3138"/>
            </a:lvl1pPr>
            <a:lvl2pPr marL="520808" indent="-228648">
              <a:defRPr sz="2353"/>
            </a:lvl2pPr>
            <a:lvl3pPr marL="685943" indent="-165135">
              <a:tabLst/>
              <a:defRPr sz="1961"/>
            </a:lvl3pPr>
            <a:lvl4pPr marL="863779" indent="-177837">
              <a:defRPr/>
            </a:lvl4pPr>
            <a:lvl5pPr marL="1028914" indent="-1651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15923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358455" y="1189177"/>
            <a:ext cx="5498540" cy="1946880"/>
          </a:xfrm>
        </p:spPr>
        <p:txBody>
          <a:bodyPr wrap="square">
            <a:spAutoFit/>
          </a:bodyPr>
          <a:lstStyle>
            <a:lvl1pPr marL="281735" indent="-281735">
              <a:spcBef>
                <a:spcPts val="1200"/>
              </a:spcBef>
              <a:buClr>
                <a:schemeClr val="tx2"/>
              </a:buClr>
              <a:buFont typeface="Arial" pitchFamily="34" charset="0"/>
              <a:buChar char="•"/>
              <a:defRPr sz="3138">
                <a:gradFill>
                  <a:gsLst>
                    <a:gs pos="1250">
                      <a:schemeClr val="tx2"/>
                    </a:gs>
                    <a:gs pos="99000">
                      <a:schemeClr val="tx2"/>
                    </a:gs>
                  </a:gsLst>
                  <a:lin ang="5400000" scaled="0"/>
                </a:gradFill>
              </a:defRPr>
            </a:lvl1pPr>
            <a:lvl2pPr marL="520808" indent="-228648">
              <a:defRPr sz="2353"/>
            </a:lvl2pPr>
            <a:lvl3pPr marL="685943" indent="-165135">
              <a:tabLst/>
              <a:defRPr sz="1961"/>
            </a:lvl3pPr>
            <a:lvl4pPr marL="863779" indent="-177837">
              <a:defRPr/>
            </a:lvl4pPr>
            <a:lvl5pPr marL="1028914" indent="-1651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335062" y="1189177"/>
            <a:ext cx="5498540" cy="1946880"/>
          </a:xfrm>
        </p:spPr>
        <p:txBody>
          <a:bodyPr wrap="square">
            <a:spAutoFit/>
          </a:bodyPr>
          <a:lstStyle>
            <a:lvl1pPr marL="281735" indent="-281735">
              <a:spcBef>
                <a:spcPts val="1200"/>
              </a:spcBef>
              <a:buClr>
                <a:schemeClr val="tx2"/>
              </a:buClr>
              <a:buFont typeface="Arial" pitchFamily="34" charset="0"/>
              <a:buChar char="•"/>
              <a:defRPr sz="3138">
                <a:gradFill>
                  <a:gsLst>
                    <a:gs pos="1250">
                      <a:schemeClr val="tx2"/>
                    </a:gs>
                    <a:gs pos="99000">
                      <a:schemeClr val="tx2"/>
                    </a:gs>
                  </a:gsLst>
                  <a:lin ang="5400000" scaled="0"/>
                </a:gradFill>
              </a:defRPr>
            </a:lvl1pPr>
            <a:lvl2pPr marL="520808" indent="-228648">
              <a:defRPr sz="2353"/>
            </a:lvl2pPr>
            <a:lvl3pPr marL="685943" indent="-165135">
              <a:tabLst/>
              <a:defRPr sz="1961"/>
            </a:lvl3pPr>
            <a:lvl4pPr marL="863779" indent="-177837">
              <a:defRPr/>
            </a:lvl4pPr>
            <a:lvl5pPr marL="1028914" indent="-1651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986346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43093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245280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069772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286990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996731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3"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9" tIns="45729" rIns="45729" bIns="45729" numCol="1" spcCol="0" rtlCol="0" fromWordArt="0" anchor="ctr" anchorCtr="0" forceAA="0" compatLnSpc="1">
            <a:prstTxWarp prst="textNoShape">
              <a:avLst/>
            </a:prstTxWarp>
            <a:noAutofit/>
          </a:bodyPr>
          <a:lstStyle/>
          <a:p>
            <a:pPr algn="ctr" defTabSz="914289" eaLnBrk="1" hangingPunct="1"/>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58455" y="1197324"/>
            <a:ext cx="11475214" cy="1956973"/>
          </a:xfrm>
        </p:spPr>
        <p:txBody>
          <a:bodyPr/>
          <a:lstStyle>
            <a:lvl1pPr marL="0" indent="0">
              <a:buNone/>
              <a:defRPr sz="3236">
                <a:gradFill>
                  <a:gsLst>
                    <a:gs pos="1250">
                      <a:srgbClr val="000000"/>
                    </a:gs>
                    <a:gs pos="100000">
                      <a:srgbClr val="000000"/>
                    </a:gs>
                  </a:gsLst>
                  <a:lin ang="5400000" scaled="0"/>
                </a:gradFill>
                <a:latin typeface="Segoe UI" pitchFamily="34" charset="0"/>
                <a:cs typeface="Segoe UI" pitchFamily="34" charset="0"/>
              </a:defRPr>
            </a:lvl1pPr>
            <a:lvl2pPr marL="339795" indent="0">
              <a:buNone/>
              <a:defRPr>
                <a:gradFill>
                  <a:gsLst>
                    <a:gs pos="1250">
                      <a:srgbClr val="000000"/>
                    </a:gs>
                    <a:gs pos="100000">
                      <a:srgbClr val="000000"/>
                    </a:gs>
                  </a:gsLst>
                  <a:lin ang="5400000" scaled="0"/>
                </a:gradFill>
                <a:latin typeface="Segoe UI" pitchFamily="34" charset="0"/>
                <a:cs typeface="Segoe UI" pitchFamily="34" charset="0"/>
              </a:defRPr>
            </a:lvl2pPr>
            <a:lvl3pPr marL="57320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679"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50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638715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58455" y="1189177"/>
            <a:ext cx="11475214" cy="2341728"/>
          </a:xfrm>
          <a:prstGeom prst="rect">
            <a:avLst/>
          </a:prstGeom>
        </p:spPr>
        <p:txBody>
          <a:bodyPr/>
          <a:lstStyle>
            <a:lvl1pPr marL="284848" indent="-284848">
              <a:buClr>
                <a:schemeClr val="tx1"/>
              </a:buClr>
              <a:buSzPct val="90000"/>
              <a:buFont typeface="Arial" pitchFamily="34" charset="0"/>
              <a:buChar char="•"/>
              <a:defRPr sz="313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356" indent="-275509">
              <a:buClr>
                <a:schemeClr val="tx1"/>
              </a:buClr>
              <a:buSzPct val="90000"/>
              <a:buFont typeface="Arial" pitchFamily="34" charset="0"/>
              <a:buChar char="•"/>
              <a:defRPr sz="294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204" indent="-28484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346" indent="-224142">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488" indent="-224142">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86954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Point Slide">
    <p:bg>
      <p:bgPr>
        <a:solidFill>
          <a:schemeClr val="tx1"/>
        </a:solidFill>
        <a:effectLst/>
      </p:bgPr>
    </p:bg>
    <p:spTree>
      <p:nvGrpSpPr>
        <p:cNvPr id="1" name=""/>
        <p:cNvGrpSpPr/>
        <p:nvPr/>
      </p:nvGrpSpPr>
      <p:grpSpPr>
        <a:xfrm>
          <a:off x="0" y="0"/>
          <a:ext cx="0" cy="0"/>
          <a:chOff x="0" y="0"/>
          <a:chExt cx="0" cy="0"/>
        </a:xfrm>
      </p:grpSpPr>
      <p:sp>
        <p:nvSpPr>
          <p:cNvPr id="3"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304800" y="2819400"/>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p:spPr>
        <p:txBody>
          <a:bodyPr/>
          <a:lstStyle>
            <a:lvl1pPr>
              <a:defRPr smtClean="0">
                <a:solidFill>
                  <a:srgbClr val="3F3F3F"/>
                </a:solidFill>
                <a:latin typeface="+mn-lt"/>
              </a:defRPr>
            </a:lvl1pPr>
          </a:lstStyle>
          <a:p>
            <a:pPr>
              <a:defRPr/>
            </a:pPr>
            <a:fld id="{D2D24DCD-F2C2-4A33-8DEC-89F4788F6FB6}" type="slidenum">
              <a:rPr lang="en-US"/>
              <a:pPr>
                <a:defRPr/>
              </a:pPr>
              <a:t>‹#›</a:t>
            </a:fld>
            <a:endParaRPr lang="en-US"/>
          </a:p>
        </p:txBody>
      </p:sp>
    </p:spTree>
    <p:extLst>
      <p:ext uri="{BB962C8B-B14F-4D97-AF65-F5344CB8AC3E}">
        <p14:creationId xmlns:p14="http://schemas.microsoft.com/office/powerpoint/2010/main" val="18804435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2_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812791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991566"/>
            <a:ext cx="5157787" cy="513510"/>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4"/>
            <a:ext cx="5157787" cy="24901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991566"/>
            <a:ext cx="5183188" cy="513510"/>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4"/>
            <a:ext cx="5183188" cy="24901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1" y="6356351"/>
            <a:ext cx="2743200" cy="365125"/>
          </a:xfrm>
          <a:prstGeom prst="rect">
            <a:avLst/>
          </a:prstGeom>
        </p:spPr>
        <p:txBody>
          <a:bodyPr/>
          <a:lstStyle/>
          <a:p>
            <a:pPr defTabSz="914400" eaLnBrk="1" fontAlgn="auto" hangingPunct="1">
              <a:spcBef>
                <a:spcPts val="0"/>
              </a:spcBef>
              <a:spcAft>
                <a:spcPts val="0"/>
              </a:spcAft>
            </a:pPr>
            <a:fld id="{EF15A672-2F00-4D0D-9CE8-DC478389E1CC}" type="datetimeFigureOut">
              <a:rPr lang="en-US" smtClean="0">
                <a:solidFill>
                  <a:srgbClr val="FFFFFF"/>
                </a:solidFill>
                <a:latin typeface="Segoe UI"/>
              </a:rPr>
              <a:pPr defTabSz="914400" eaLnBrk="1" fontAlgn="auto" hangingPunct="1">
                <a:spcBef>
                  <a:spcPts val="0"/>
                </a:spcBef>
                <a:spcAft>
                  <a:spcPts val="0"/>
                </a:spcAft>
              </a:pPr>
              <a:t>11/5/2017</a:t>
            </a:fld>
            <a:endParaRPr lang="en-US">
              <a:solidFill>
                <a:srgbClr val="FFFFFF"/>
              </a:solidFill>
              <a:latin typeface="Segoe UI"/>
            </a:endParaRPr>
          </a:p>
        </p:txBody>
      </p:sp>
      <p:sp>
        <p:nvSpPr>
          <p:cNvPr id="8" name="Footer Placeholder 7"/>
          <p:cNvSpPr>
            <a:spLocks noGrp="1"/>
          </p:cNvSpPr>
          <p:nvPr>
            <p:ph type="ftr" sz="quarter" idx="11"/>
          </p:nvPr>
        </p:nvSpPr>
        <p:spPr>
          <a:xfrm>
            <a:off x="4038600" y="6356351"/>
            <a:ext cx="4114800" cy="365125"/>
          </a:xfrm>
          <a:prstGeom prst="rect">
            <a:avLst/>
          </a:prstGeom>
        </p:spPr>
        <p:txBody>
          <a:bodyPr/>
          <a:lstStyle/>
          <a:p>
            <a:pPr defTabSz="914400" eaLnBrk="1" fontAlgn="auto" hangingPunct="1">
              <a:spcBef>
                <a:spcPts val="0"/>
              </a:spcBef>
              <a:spcAft>
                <a:spcPts val="0"/>
              </a:spcAft>
            </a:pPr>
            <a:endParaRPr lang="en-US">
              <a:solidFill>
                <a:srgbClr val="FFFFFF"/>
              </a:solidFill>
              <a:latin typeface="Segoe UI"/>
            </a:endParaRPr>
          </a:p>
        </p:txBody>
      </p:sp>
      <p:sp>
        <p:nvSpPr>
          <p:cNvPr id="9" name="Slide Number Placeholder 8"/>
          <p:cNvSpPr>
            <a:spLocks noGrp="1"/>
          </p:cNvSpPr>
          <p:nvPr>
            <p:ph type="sldNum" sz="quarter" idx="12"/>
          </p:nvPr>
        </p:nvSpPr>
        <p:spPr>
          <a:xfrm>
            <a:off x="8610600" y="6356351"/>
            <a:ext cx="2743200" cy="365125"/>
          </a:xfrm>
          <a:prstGeom prst="rect">
            <a:avLst/>
          </a:prstGeom>
        </p:spPr>
        <p:txBody>
          <a:bodyPr/>
          <a:lstStyle/>
          <a:p>
            <a:pPr defTabSz="914400" eaLnBrk="1" fontAlgn="auto" hangingPunct="1">
              <a:spcBef>
                <a:spcPts val="0"/>
              </a:spcBef>
              <a:spcAft>
                <a:spcPts val="0"/>
              </a:spcAft>
            </a:pPr>
            <a:fld id="{AD7B8570-04B6-477B-8CE3-DCA1EF941099}" type="slidenum">
              <a:rPr lang="en-US" smtClean="0">
                <a:solidFill>
                  <a:srgbClr val="FFFFFF"/>
                </a:solidFill>
                <a:latin typeface="Segoe UI"/>
              </a:rPr>
              <a:pPr defTabSz="914400" eaLnBrk="1" fontAlgn="auto" hangingPunct="1">
                <a:spcBef>
                  <a:spcPts val="0"/>
                </a:spcBef>
                <a:spcAft>
                  <a:spcPts val="0"/>
                </a:spcAft>
              </a:pPr>
              <a:t>‹#›</a:t>
            </a:fld>
            <a:endParaRPr lang="en-US">
              <a:solidFill>
                <a:srgbClr val="FFFFFF"/>
              </a:solidFill>
              <a:latin typeface="Segoe UI"/>
            </a:endParaRPr>
          </a:p>
        </p:txBody>
      </p:sp>
    </p:spTree>
    <p:extLst>
      <p:ext uri="{BB962C8B-B14F-4D97-AF65-F5344CB8AC3E}">
        <p14:creationId xmlns:p14="http://schemas.microsoft.com/office/powerpoint/2010/main" val="53832024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able of Contents white">
    <p:bg>
      <p:bgPr>
        <a:solidFill>
          <a:schemeClr val="tx1"/>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798"/>
              </a:spcBef>
              <a:buFontTx/>
              <a:buNone/>
              <a:tabLst>
                <a:tab pos="838217" algn="l"/>
              </a:tabLst>
              <a:defRPr sz="2660" baseline="0">
                <a:solidFill>
                  <a:schemeClr val="bg1">
                    <a:lumMod val="75000"/>
                    <a:lumOff val="25000"/>
                  </a:schemeClr>
                </a:solidFill>
                <a:latin typeface="+mn-lt"/>
                <a:cs typeface="Segoe UI Light"/>
              </a:defRPr>
            </a:lvl1pPr>
            <a:lvl2pPr marL="0" indent="0">
              <a:spcBef>
                <a:spcPts val="798"/>
              </a:spcBef>
              <a:buFontTx/>
              <a:buNone/>
              <a:defRPr sz="3990">
                <a:latin typeface="Segoe Pro Light"/>
                <a:cs typeface="Segoe Pro Light"/>
              </a:defRPr>
            </a:lvl2pPr>
            <a:lvl3pPr marL="0" indent="0">
              <a:spcBef>
                <a:spcPts val="798"/>
              </a:spcBef>
              <a:buFontTx/>
              <a:buNone/>
              <a:defRPr sz="3990">
                <a:latin typeface="Segoe Pro Light"/>
                <a:cs typeface="Segoe Pro Light"/>
              </a:defRPr>
            </a:lvl3pPr>
            <a:lvl4pPr marL="0" indent="0">
              <a:spcBef>
                <a:spcPts val="798"/>
              </a:spcBef>
              <a:buFontTx/>
              <a:buNone/>
              <a:defRPr sz="3990">
                <a:latin typeface="Segoe Pro Light"/>
                <a:cs typeface="Segoe Pro Light"/>
              </a:defRPr>
            </a:lvl4pPr>
            <a:lvl5pPr marL="0" indent="0">
              <a:spcBef>
                <a:spcPts val="798"/>
              </a:spcBef>
              <a:buFontTx/>
              <a:buNone/>
              <a:defRPr sz="3990">
                <a:latin typeface="Segoe Pro Light"/>
                <a:cs typeface="Segoe Pro Light"/>
              </a:defRPr>
            </a:lvl5pPr>
          </a:lstStyle>
          <a:p>
            <a:pPr lvl="0"/>
            <a:r>
              <a:rPr lang="en-US" dirty="0"/>
              <a:t>4	Section Title</a:t>
            </a:r>
          </a:p>
        </p:txBody>
      </p:sp>
      <p:sp>
        <p:nvSpPr>
          <p:cNvPr id="5" name="Text Placeholder 12"/>
          <p:cNvSpPr>
            <a:spLocks noGrp="1"/>
          </p:cNvSpPr>
          <p:nvPr>
            <p:ph type="body" sz="quarter" idx="14" hasCustomPrompt="1"/>
          </p:nvPr>
        </p:nvSpPr>
        <p:spPr>
          <a:xfrm>
            <a:off x="0" y="1219200"/>
            <a:ext cx="2438400" cy="442557"/>
          </a:xfrm>
          <a:prstGeom prst="rect">
            <a:avLst/>
          </a:prstGeom>
          <a:noFill/>
        </p:spPr>
        <p:txBody>
          <a:bodyPr vert="horz"/>
          <a:lstStyle>
            <a:lvl1pPr marL="0" indent="0">
              <a:spcBef>
                <a:spcPts val="798"/>
              </a:spcBef>
              <a:buFontTx/>
              <a:buNone/>
              <a:defRPr sz="1862" baseline="0">
                <a:solidFill>
                  <a:schemeClr val="bg1"/>
                </a:solidFill>
                <a:latin typeface="+mn-lt"/>
                <a:cs typeface="Segoe UI Semibold"/>
              </a:defRPr>
            </a:lvl1pPr>
          </a:lstStyle>
          <a:p>
            <a:pPr lvl="0"/>
            <a:r>
              <a:rPr lang="en-US" dirty="0"/>
              <a:t>Enter header here.</a:t>
            </a:r>
          </a:p>
        </p:txBody>
      </p:sp>
      <p:sp>
        <p:nvSpPr>
          <p:cNvPr id="4" name="Date Placeholder 3"/>
          <p:cNvSpPr>
            <a:spLocks noGrp="1"/>
          </p:cNvSpPr>
          <p:nvPr>
            <p:ph type="dt" sz="half" idx="2"/>
          </p:nvPr>
        </p:nvSpPr>
        <p:spPr>
          <a:xfrm>
            <a:off x="0" y="6356352"/>
            <a:ext cx="2844800" cy="365125"/>
          </a:xfrm>
          <a:prstGeom prst="rect">
            <a:avLst/>
          </a:prstGeom>
        </p:spPr>
        <p:txBody>
          <a:bodyPr vert="horz" lIns="182880" tIns="45720" rIns="91440" bIns="45720" rtlCol="0" anchor="b"/>
          <a:lstStyle>
            <a:lvl1pPr algn="l">
              <a:defRPr sz="1064" kern="800">
                <a:solidFill>
                  <a:srgbClr val="3F3F3F"/>
                </a:solidFill>
                <a:latin typeface="+mn-lt"/>
                <a:cs typeface="Segoe UI Light"/>
              </a:defRPr>
            </a:lvl1pPr>
          </a:lstStyle>
          <a:p>
            <a:pPr defTabSz="914400" eaLnBrk="1" fontAlgn="auto" hangingPunct="1">
              <a:spcBef>
                <a:spcPts val="0"/>
              </a:spcBef>
              <a:spcAft>
                <a:spcPts val="0"/>
              </a:spcAft>
            </a:pPr>
            <a:fld id="{5618C56F-40DF-9948-BFF4-F48C2DEE1BBC}" type="datetime1">
              <a:rPr lang="en-US" smtClean="0"/>
              <a:pPr defTabSz="914400" eaLnBrk="1" fontAlgn="auto" hangingPunct="1">
                <a:spcBef>
                  <a:spcPts val="0"/>
                </a:spcBef>
                <a:spcAft>
                  <a:spcPts val="0"/>
                </a:spcAft>
              </a:pPr>
              <a:t>11/5/2017</a:t>
            </a:fld>
            <a:endParaRPr lang="en-US" dirty="0"/>
          </a:p>
        </p:txBody>
      </p:sp>
      <p:sp>
        <p:nvSpPr>
          <p:cNvPr id="7" name="Slide Number Placeholder 5"/>
          <p:cNvSpPr>
            <a:spLocks noGrp="1"/>
          </p:cNvSpPr>
          <p:nvPr>
            <p:ph type="sldNum" sz="quarter" idx="4"/>
          </p:nvPr>
        </p:nvSpPr>
        <p:spPr>
          <a:xfrm>
            <a:off x="9042400" y="6356352"/>
            <a:ext cx="2844800" cy="365125"/>
          </a:xfrm>
          <a:prstGeom prst="rect">
            <a:avLst/>
          </a:prstGeom>
        </p:spPr>
        <p:txBody>
          <a:bodyPr vert="horz" lIns="91440" tIns="45720" rIns="91440" bIns="45720" rtlCol="0" anchor="b"/>
          <a:lstStyle>
            <a:lvl1pPr algn="r">
              <a:defRPr sz="1064" kern="800">
                <a:solidFill>
                  <a:srgbClr val="3F3F3F"/>
                </a:solidFill>
                <a:latin typeface="+mn-lt"/>
                <a:cs typeface="Segoe UI Light"/>
              </a:defRPr>
            </a:lvl1pPr>
          </a:lstStyle>
          <a:p>
            <a:pPr defTabSz="914400" eaLnBrk="1" fontAlgn="auto" hangingPunct="1">
              <a:spcBef>
                <a:spcPts val="0"/>
              </a:spcBef>
              <a:spcAft>
                <a:spcPts val="0"/>
              </a:spcAft>
            </a:pPr>
            <a:fld id="{74A398B2-5A34-1A4A-811E-F4027282568C}" type="slidenum">
              <a:rPr lang="en-US" smtClean="0"/>
              <a:pPr defTabSz="914400" eaLnBrk="1" fontAlgn="auto" hangingPunct="1">
                <a:spcBef>
                  <a:spcPts val="0"/>
                </a:spcBef>
                <a:spcAft>
                  <a:spcPts val="0"/>
                </a:spcAft>
              </a:pPr>
              <a:t>‹#›</a:t>
            </a:fld>
            <a:endParaRPr lang="en-US"/>
          </a:p>
        </p:txBody>
      </p:sp>
    </p:spTree>
    <p:extLst>
      <p:ext uri="{BB962C8B-B14F-4D97-AF65-F5344CB8AC3E}">
        <p14:creationId xmlns:p14="http://schemas.microsoft.com/office/powerpoint/2010/main" val="2363562784"/>
      </p:ext>
    </p:extLst>
  </p:cSld>
  <p:clrMapOvr>
    <a:masterClrMapping/>
  </p:clrMapOvr>
  <p:transition spd="slow">
    <p:push/>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6096000" cy="1219200"/>
          </a:xfrm>
          <a:solidFill>
            <a:schemeClr val="accent1"/>
          </a:solidFill>
        </p:spPr>
        <p:txBody>
          <a:bodyPr rIns="91440" anchor="ctr">
            <a:noAutofit/>
          </a:bodyPr>
          <a:lstStyle>
            <a:lvl1pPr>
              <a:defRPr sz="2667" baseline="0">
                <a:solidFill>
                  <a:schemeClr val="tx1"/>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a:xfrm>
            <a:off x="9042400" y="6356351"/>
            <a:ext cx="2844800" cy="365125"/>
          </a:xfrm>
          <a:prstGeom prst="rect">
            <a:avLst/>
          </a:prstGeom>
        </p:spPr>
        <p:txBody>
          <a:bodyPr/>
          <a:lstStyle>
            <a:lvl1pPr>
              <a:defRPr>
                <a:solidFill>
                  <a:schemeClr val="bg1">
                    <a:lumMod val="75000"/>
                    <a:lumOff val="25000"/>
                  </a:schemeClr>
                </a:solidFill>
                <a:latin typeface="+mn-lt"/>
              </a:defRPr>
            </a:lvl1pPr>
          </a:lstStyle>
          <a:p>
            <a:pPr defTabSz="914400" eaLnBrk="1" fontAlgn="auto" hangingPunct="1">
              <a:spcBef>
                <a:spcPts val="0"/>
              </a:spcBef>
              <a:spcAft>
                <a:spcPts val="0"/>
              </a:spcAft>
            </a:pPr>
            <a:fld id="{74A398B2-5A34-1A4A-811E-F4027282568C}" type="slidenum">
              <a:rPr lang="en-US" smtClean="0">
                <a:solidFill>
                  <a:srgbClr val="505050">
                    <a:lumMod val="75000"/>
                    <a:lumOff val="25000"/>
                  </a:srgbClr>
                </a:solidFill>
              </a:rPr>
              <a:pPr defTabSz="914400" eaLnBrk="1" fontAlgn="auto" hangingPunct="1">
                <a:spcBef>
                  <a:spcPts val="0"/>
                </a:spcBef>
                <a:spcAft>
                  <a:spcPts val="0"/>
                </a:spcAft>
              </a:pPr>
              <a:t>‹#›</a:t>
            </a:fld>
            <a:endParaRPr lang="en-US">
              <a:solidFill>
                <a:srgbClr val="505050">
                  <a:lumMod val="75000"/>
                  <a:lumOff val="25000"/>
                </a:srgbClr>
              </a:solidFill>
            </a:endParaRPr>
          </a:p>
        </p:txBody>
      </p:sp>
      <p:sp>
        <p:nvSpPr>
          <p:cNvPr id="14" name="Content Placeholder 13"/>
          <p:cNvSpPr>
            <a:spLocks noGrp="1"/>
          </p:cNvSpPr>
          <p:nvPr>
            <p:ph sz="quarter" idx="13" hasCustomPrompt="1"/>
          </p:nvPr>
        </p:nvSpPr>
        <p:spPr>
          <a:xfrm>
            <a:off x="0" y="1219200"/>
            <a:ext cx="11887200" cy="5054600"/>
          </a:xfrm>
          <a:prstGeom prst="rect">
            <a:avLst/>
          </a:prstGeom>
        </p:spPr>
        <p:txBody>
          <a:bodyPr vert="horz" lIns="182880" tIns="137160">
            <a:noAutofit/>
          </a:bodyPr>
          <a:lstStyle>
            <a:lvl1pPr marL="0" indent="0">
              <a:spcBef>
                <a:spcPts val="400"/>
              </a:spcBef>
              <a:buFontTx/>
              <a:buNone/>
              <a:defRPr sz="2667" baseline="0">
                <a:solidFill>
                  <a:schemeClr val="bg1">
                    <a:lumMod val="75000"/>
                    <a:lumOff val="25000"/>
                  </a:schemeClr>
                </a:solidFill>
                <a:latin typeface="+mn-lt"/>
              </a:defRPr>
            </a:lvl1pPr>
          </a:lstStyle>
          <a:p>
            <a:pPr lvl="0"/>
            <a:r>
              <a:rPr lang="en-US" dirty="0"/>
              <a:t>Click to edit slide conten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3527" y="160137"/>
            <a:ext cx="1725855" cy="371567"/>
          </a:xfrm>
          <a:prstGeom prst="rect">
            <a:avLst/>
          </a:prstGeom>
        </p:spPr>
      </p:pic>
      <p:sp>
        <p:nvSpPr>
          <p:cNvPr id="3" name="TextBox 2"/>
          <p:cNvSpPr txBox="1"/>
          <p:nvPr userDrawn="1"/>
        </p:nvSpPr>
        <p:spPr>
          <a:xfrm>
            <a:off x="4456943" y="6491635"/>
            <a:ext cx="3843307" cy="256545"/>
          </a:xfrm>
          <a:prstGeom prst="rect">
            <a:avLst/>
          </a:prstGeom>
          <a:noFill/>
        </p:spPr>
        <p:txBody>
          <a:bodyPr wrap="square" rtlCol="0">
            <a:spAutoFit/>
          </a:bodyPr>
          <a:lstStyle/>
          <a:p>
            <a:pPr defTabSz="914400" eaLnBrk="1" fontAlgn="auto" hangingPunct="1">
              <a:spcBef>
                <a:spcPts val="0"/>
              </a:spcBef>
              <a:spcAft>
                <a:spcPts val="0"/>
              </a:spcAft>
            </a:pPr>
            <a:r>
              <a:rPr lang="en-US" sz="1067" b="1" dirty="0">
                <a:solidFill>
                  <a:srgbClr val="3650B8"/>
                </a:solidFill>
                <a:latin typeface="Segoe UI"/>
              </a:rPr>
              <a:t>Microsoft Confidential – Internal Use Only </a:t>
            </a:r>
          </a:p>
        </p:txBody>
      </p:sp>
    </p:spTree>
    <p:extLst>
      <p:ext uri="{BB962C8B-B14F-4D97-AF65-F5344CB8AC3E}">
        <p14:creationId xmlns:p14="http://schemas.microsoft.com/office/powerpoint/2010/main" val="101184706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6096000" cy="1219200"/>
          </a:xfrm>
          <a:solidFill>
            <a:srgbClr val="002050"/>
          </a:solidFill>
        </p:spPr>
        <p:txBody>
          <a:bodyPr rIns="91440" anchor="ctr">
            <a:noAutofit/>
          </a:bodyPr>
          <a:lstStyle>
            <a:lvl1pPr>
              <a:defRPr sz="2667" baseline="0">
                <a:solidFill>
                  <a:schemeClr val="tx1"/>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a:xfrm>
            <a:off x="9042400" y="6356351"/>
            <a:ext cx="2844800" cy="365125"/>
          </a:xfrm>
          <a:prstGeom prst="rect">
            <a:avLst/>
          </a:prstGeom>
        </p:spPr>
        <p:txBody>
          <a:bodyPr/>
          <a:lstStyle>
            <a:lvl1pPr>
              <a:defRPr>
                <a:solidFill>
                  <a:srgbClr val="3F3F3F"/>
                </a:solidFill>
                <a:latin typeface="+mn-lt"/>
              </a:defRPr>
            </a:lvl1pPr>
          </a:lstStyle>
          <a:p>
            <a:pPr defTabSz="914400" eaLnBrk="1" fontAlgn="auto" hangingPunct="1">
              <a:spcBef>
                <a:spcPts val="0"/>
              </a:spcBef>
              <a:spcAft>
                <a:spcPts val="0"/>
              </a:spcAft>
            </a:pPr>
            <a:fld id="{74A398B2-5A34-1A4A-811E-F4027282568C}" type="slidenum">
              <a:rPr lang="en-US" smtClean="0"/>
              <a:pPr defTabSz="914400" eaLnBrk="1" fontAlgn="auto" hangingPunct="1">
                <a:spcBef>
                  <a:spcPts val="0"/>
                </a:spcBef>
                <a:spcAft>
                  <a:spcPts val="0"/>
                </a:spcAft>
              </a:pPr>
              <a:t>‹#›</a:t>
            </a:fld>
            <a:endParaRPr lang="en-US"/>
          </a:p>
        </p:txBody>
      </p:sp>
      <p:sp>
        <p:nvSpPr>
          <p:cNvPr id="14" name="Content Placeholder 13"/>
          <p:cNvSpPr>
            <a:spLocks noGrp="1"/>
          </p:cNvSpPr>
          <p:nvPr>
            <p:ph sz="quarter" idx="13" hasCustomPrompt="1"/>
          </p:nvPr>
        </p:nvSpPr>
        <p:spPr>
          <a:xfrm>
            <a:off x="0" y="1219200"/>
            <a:ext cx="11887200" cy="4876800"/>
          </a:xfrm>
          <a:prstGeom prst="rect">
            <a:avLst/>
          </a:prstGeom>
        </p:spPr>
        <p:txBody>
          <a:bodyPr vert="horz" lIns="182880" tIns="137160">
            <a:noAutofit/>
          </a:bodyPr>
          <a:lstStyle>
            <a:lvl1pPr marL="0" indent="0">
              <a:spcBef>
                <a:spcPts val="400"/>
              </a:spcBef>
              <a:buFontTx/>
              <a:buNone/>
              <a:defRPr sz="4000" baseline="0">
                <a:solidFill>
                  <a:srgbClr val="3F3F3F"/>
                </a:solidFill>
                <a:latin typeface="Segoe UI Light" pitchFamily="34" charset="0"/>
              </a:defRPr>
            </a:lvl1pPr>
          </a:lstStyle>
          <a:p>
            <a:pPr lvl="0"/>
            <a:r>
              <a:rPr lang="en-US" dirty="0"/>
              <a:t>Click to edit slide conten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3527" y="160137"/>
            <a:ext cx="1725855" cy="371567"/>
          </a:xfrm>
          <a:prstGeom prst="rect">
            <a:avLst/>
          </a:prstGeom>
        </p:spPr>
      </p:pic>
      <p:sp>
        <p:nvSpPr>
          <p:cNvPr id="6" name="TextBox 5"/>
          <p:cNvSpPr txBox="1"/>
          <p:nvPr userDrawn="1"/>
        </p:nvSpPr>
        <p:spPr>
          <a:xfrm>
            <a:off x="4456943" y="6491635"/>
            <a:ext cx="3843307" cy="256545"/>
          </a:xfrm>
          <a:prstGeom prst="rect">
            <a:avLst/>
          </a:prstGeom>
          <a:noFill/>
        </p:spPr>
        <p:txBody>
          <a:bodyPr wrap="square" rtlCol="0">
            <a:spAutoFit/>
          </a:bodyPr>
          <a:lstStyle/>
          <a:p>
            <a:pPr defTabSz="914400" eaLnBrk="1" fontAlgn="auto" hangingPunct="1">
              <a:spcBef>
                <a:spcPts val="0"/>
              </a:spcBef>
              <a:spcAft>
                <a:spcPts val="0"/>
              </a:spcAft>
            </a:pPr>
            <a:r>
              <a:rPr lang="en-US" sz="1067" b="1" dirty="0">
                <a:solidFill>
                  <a:srgbClr val="3650B8"/>
                </a:solidFill>
                <a:latin typeface="Segoe UI"/>
              </a:rPr>
              <a:t>Microsoft Confidential – Internal Use Only </a:t>
            </a:r>
          </a:p>
        </p:txBody>
      </p:sp>
    </p:spTree>
    <p:extLst>
      <p:ext uri="{BB962C8B-B14F-4D97-AF65-F5344CB8AC3E}">
        <p14:creationId xmlns:p14="http://schemas.microsoft.com/office/powerpoint/2010/main" val="17785582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4805025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1185217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6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76039550"/>
      </p:ext>
    </p:extLst>
  </p:cSld>
  <p:clrMapOvr>
    <a:masterClrMapping/>
  </p:clrMapOvr>
  <p:transition spd="slow">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9718091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72431764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p:bg>
      <p:bgPr>
        <a:solidFill>
          <a:schemeClr val="tx1"/>
        </a:solidFill>
        <a:effectLst/>
      </p:bgPr>
    </p:bg>
    <p:spTree>
      <p:nvGrpSpPr>
        <p:cNvPr id="1" name=""/>
        <p:cNvGrpSpPr/>
        <p:nvPr/>
      </p:nvGrpSpPr>
      <p:grpSpPr>
        <a:xfrm>
          <a:off x="0" y="0"/>
          <a:ext cx="0" cy="0"/>
          <a:chOff x="0" y="0"/>
          <a:chExt cx="0" cy="0"/>
        </a:xfrm>
      </p:grpSpPr>
      <p:sp>
        <p:nvSpPr>
          <p:cNvPr id="3" name="TextBox 6"/>
          <p:cNvSpPr txBox="1">
            <a:spLocks noChangeArrowheads="1"/>
          </p:cNvSpPr>
          <p:nvPr userDrawn="1"/>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4"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5" name="Slide Number Placeholder 3"/>
          <p:cNvSpPr>
            <a:spLocks noGrp="1"/>
          </p:cNvSpPr>
          <p:nvPr>
            <p:ph type="sldNum" sz="quarter" idx="19"/>
          </p:nvPr>
        </p:nvSpPr>
        <p:spPr>
          <a:xfrm>
            <a:off x="9353550" y="6492875"/>
            <a:ext cx="2844800" cy="365125"/>
          </a:xfrm>
        </p:spPr>
        <p:txBody>
          <a:bodyPr/>
          <a:lstStyle>
            <a:lvl1pPr>
              <a:defRPr smtClean="0">
                <a:solidFill>
                  <a:srgbClr val="3F3F3F"/>
                </a:solidFill>
                <a:latin typeface="+mn-lt"/>
              </a:defRPr>
            </a:lvl1pPr>
          </a:lstStyle>
          <a:p>
            <a:pPr>
              <a:defRPr/>
            </a:pPr>
            <a:fld id="{3D1B5734-3614-4DC6-A13F-4700EA017BC8}" type="slidenum">
              <a:rPr lang="en-US"/>
              <a:pPr>
                <a:defRPr/>
              </a:pPr>
              <a:t>‹#›</a:t>
            </a:fld>
            <a:endParaRPr lang="en-US"/>
          </a:p>
        </p:txBody>
      </p:sp>
    </p:spTree>
    <p:extLst>
      <p:ext uri="{BB962C8B-B14F-4D97-AF65-F5344CB8AC3E}">
        <p14:creationId xmlns:p14="http://schemas.microsoft.com/office/powerpoint/2010/main" val="24974785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66265286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cxnSp>
        <p:nvCxnSpPr>
          <p:cNvPr id="8" name="Straight Connector 7"/>
          <p:cNvCxnSpPr/>
          <p:nvPr userDrawn="1"/>
        </p:nvCxnSpPr>
        <p:spPr>
          <a:xfrm>
            <a:off x="609600" y="6400800"/>
            <a:ext cx="10972800" cy="0"/>
          </a:xfrm>
          <a:prstGeom prst="line">
            <a:avLst/>
          </a:prstGeom>
          <a:ln w="28575">
            <a:solidFill>
              <a:schemeClr val="accent5"/>
            </a:solidFill>
          </a:ln>
        </p:spPr>
        <p:style>
          <a:lnRef idx="1">
            <a:schemeClr val="accent2"/>
          </a:lnRef>
          <a:fillRef idx="0">
            <a:schemeClr val="accent2"/>
          </a:fillRef>
          <a:effectRef idx="0">
            <a:schemeClr val="accent2"/>
          </a:effectRef>
          <a:fontRef idx="minor">
            <a:schemeClr val="tx1"/>
          </a:fontRef>
        </p:style>
      </p:cxnSp>
      <p:sp>
        <p:nvSpPr>
          <p:cNvPr id="10" name="Rectangle 9"/>
          <p:cNvSpPr/>
          <p:nvPr userDrawn="1"/>
        </p:nvSpPr>
        <p:spPr>
          <a:xfrm>
            <a:off x="0" y="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eaLnBrk="1" fontAlgn="auto" hangingPunct="1">
              <a:spcBef>
                <a:spcPts val="0"/>
              </a:spcBef>
              <a:spcAft>
                <a:spcPts val="0"/>
              </a:spcAft>
            </a:pPr>
            <a:endParaRPr lang="en-US">
              <a:solidFill>
                <a:srgbClr val="FFFFFF"/>
              </a:solidFill>
            </a:endParaRPr>
          </a:p>
        </p:txBody>
      </p:sp>
      <p:sp>
        <p:nvSpPr>
          <p:cNvPr id="2" name="Title 1"/>
          <p:cNvSpPr>
            <a:spLocks noGrp="1"/>
          </p:cNvSpPr>
          <p:nvPr>
            <p:ph type="title"/>
          </p:nvPr>
        </p:nvSpPr>
        <p:spPr/>
        <p:txBody>
          <a:bodyPr/>
          <a:lstStyle>
            <a:lvl1pPr>
              <a:defRPr lang="en-US" sz="2400" kern="1200" spc="-100" baseline="0" dirty="0">
                <a:gradFill>
                  <a:gsLst>
                    <a:gs pos="0">
                      <a:schemeClr val="accent2"/>
                    </a:gs>
                    <a:gs pos="100000">
                      <a:schemeClr val="accent2"/>
                    </a:gs>
                  </a:gsLst>
                  <a:lin ang="16200000" scaled="0"/>
                </a:gradFill>
                <a:latin typeface="+mj-lt"/>
                <a:ea typeface="+mj-ea"/>
                <a:cs typeface="+mj-cs"/>
              </a:defRPr>
            </a:lvl1pPr>
          </a:lstStyle>
          <a:p>
            <a:r>
              <a:rPr lang="en-US" dirty="0"/>
              <a:t>Click to edit Master title style</a:t>
            </a:r>
          </a:p>
        </p:txBody>
      </p:sp>
      <p:sp>
        <p:nvSpPr>
          <p:cNvPr id="6" name="Text Placeholder 7"/>
          <p:cNvSpPr>
            <a:spLocks noGrp="1"/>
          </p:cNvSpPr>
          <p:nvPr>
            <p:ph type="body" sz="quarter" idx="13"/>
          </p:nvPr>
        </p:nvSpPr>
        <p:spPr>
          <a:xfrm>
            <a:off x="609600" y="0"/>
            <a:ext cx="10972800" cy="457200"/>
          </a:xfrm>
        </p:spPr>
        <p:txBody>
          <a:bodyPr anchor="b" anchorCtr="0">
            <a:normAutofit/>
          </a:bodyPr>
          <a:lstStyle>
            <a:lvl1pPr>
              <a:lnSpc>
                <a:spcPct val="100000"/>
              </a:lnSpc>
              <a:spcBef>
                <a:spcPts val="0"/>
              </a:spcBef>
              <a:defRPr lang="en-US" sz="1600" kern="1200" cap="none" baseline="0" dirty="0" smtClean="0">
                <a:gradFill>
                  <a:gsLst>
                    <a:gs pos="0">
                      <a:schemeClr val="bg1"/>
                    </a:gs>
                    <a:gs pos="100000">
                      <a:schemeClr val="bg1"/>
                    </a:gs>
                  </a:gsLst>
                  <a:lin ang="5400000" scaled="0"/>
                </a:gradFill>
                <a:latin typeface="+mn-lt"/>
                <a:ea typeface="+mn-ea"/>
                <a:cs typeface="+mn-cs"/>
              </a:defRPr>
            </a:lvl1pPr>
          </a:lstStyle>
          <a:p>
            <a:pPr marL="0" lvl="0" indent="0" algn="l" defTabSz="914225" rtl="0" eaLnBrk="1" latinLnBrk="0" hangingPunct="1">
              <a:lnSpc>
                <a:spcPct val="100000"/>
              </a:lnSpc>
              <a:spcBef>
                <a:spcPts val="0"/>
              </a:spcBef>
              <a:buFont typeface="Arial" pitchFamily="34" charset="0"/>
              <a:buNone/>
            </a:pPr>
            <a:r>
              <a:rPr lang="en-US" dirty="0"/>
              <a:t>Click to edit Master text styles</a:t>
            </a:r>
          </a:p>
        </p:txBody>
      </p:sp>
      <p:sp>
        <p:nvSpPr>
          <p:cNvPr id="7" name="Text Placeholder 9"/>
          <p:cNvSpPr>
            <a:spLocks noGrp="1"/>
          </p:cNvSpPr>
          <p:nvPr>
            <p:ph type="body" sz="quarter" idx="14"/>
          </p:nvPr>
        </p:nvSpPr>
        <p:spPr>
          <a:xfrm>
            <a:off x="609600" y="5847073"/>
            <a:ext cx="10972800" cy="421654"/>
          </a:xfrm>
          <a:solidFill>
            <a:schemeClr val="accent5"/>
          </a:solidFill>
          <a:ln>
            <a:noFill/>
          </a:ln>
        </p:spPr>
        <p:style>
          <a:lnRef idx="2">
            <a:schemeClr val="accent3">
              <a:shade val="50000"/>
            </a:schemeClr>
          </a:lnRef>
          <a:fillRef idx="1">
            <a:schemeClr val="accent3"/>
          </a:fillRef>
          <a:effectRef idx="0">
            <a:schemeClr val="accent3"/>
          </a:effectRef>
          <a:fontRef idx="none"/>
        </p:style>
        <p:txBody>
          <a:bodyPr lIns="594360" tIns="91440" rIns="91440" bIns="91440" anchor="ctr"/>
          <a:lstStyle>
            <a:lvl1pPr>
              <a:defRPr lang="en-US" sz="1400" b="0" kern="1200" dirty="0" smtClean="0">
                <a:gradFill>
                  <a:gsLst>
                    <a:gs pos="0">
                      <a:schemeClr val="bg1"/>
                    </a:gs>
                    <a:gs pos="100000">
                      <a:schemeClr val="bg1"/>
                    </a:gs>
                  </a:gsLst>
                  <a:lin ang="16200000" scaled="0"/>
                </a:gradFill>
                <a:latin typeface="+mn-lt"/>
                <a:ea typeface="+mn-ea"/>
                <a:cs typeface="+mn-cs"/>
              </a:defRPr>
            </a:lvl1pPr>
            <a:lvl2pPr>
              <a:defRPr sz="1600"/>
            </a:lvl2pPr>
            <a:lvl3pPr>
              <a:defRPr sz="1600"/>
            </a:lvl3pPr>
            <a:lvl4pPr>
              <a:defRPr sz="1600"/>
            </a:lvl4pPr>
            <a:lvl5pPr>
              <a:defRPr sz="1600"/>
            </a:lvl5pPr>
          </a:lstStyle>
          <a:p>
            <a:pPr marL="0" lvl="0" indent="0" algn="l" defTabSz="914225" rtl="0" eaLnBrk="1" latinLnBrk="0" hangingPunct="1">
              <a:lnSpc>
                <a:spcPct val="110000"/>
              </a:lnSpc>
              <a:spcBef>
                <a:spcPts val="600"/>
              </a:spcBef>
              <a:buFont typeface="Arial" pitchFamily="34" charset="0"/>
              <a:buNone/>
            </a:pPr>
            <a:r>
              <a:rPr lang="en-US" dirty="0"/>
              <a:t>Click to edit Master text styles</a:t>
            </a:r>
          </a:p>
        </p:txBody>
      </p:sp>
      <p:sp>
        <p:nvSpPr>
          <p:cNvPr id="3" name="Footer Placeholder 2"/>
          <p:cNvSpPr>
            <a:spLocks noGrp="1"/>
          </p:cNvSpPr>
          <p:nvPr>
            <p:ph type="ftr" sz="quarter" idx="15"/>
          </p:nvPr>
        </p:nvSpPr>
        <p:spPr>
          <a:xfrm>
            <a:off x="4267200" y="6406042"/>
            <a:ext cx="3657600" cy="365125"/>
          </a:xfrm>
          <a:prstGeom prst="rect">
            <a:avLst/>
          </a:prstGeom>
        </p:spPr>
        <p:txBody>
          <a:bodyPr/>
          <a:lstStyle/>
          <a:p>
            <a:pPr defTabSz="914400" eaLnBrk="1" fontAlgn="auto" hangingPunct="1">
              <a:spcBef>
                <a:spcPts val="0"/>
              </a:spcBef>
              <a:spcAft>
                <a:spcPts val="0"/>
              </a:spcAft>
            </a:pPr>
            <a:r>
              <a:rPr lang="en-US">
                <a:solidFill>
                  <a:srgbClr val="000000">
                    <a:lumMod val="75000"/>
                    <a:lumOff val="25000"/>
                  </a:srgbClr>
                </a:solidFill>
                <a:latin typeface="Segoe UI"/>
              </a:rPr>
              <a:t>Microsoft Confidential—For Internal Use Only</a:t>
            </a:r>
            <a:endParaRPr lang="en-US" dirty="0">
              <a:solidFill>
                <a:srgbClr val="000000">
                  <a:lumMod val="75000"/>
                  <a:lumOff val="25000"/>
                </a:srgbClr>
              </a:solidFill>
              <a:latin typeface="Segoe UI"/>
            </a:endParaRPr>
          </a:p>
        </p:txBody>
      </p:sp>
      <p:sp>
        <p:nvSpPr>
          <p:cNvPr id="4" name="Slide Number Placeholder 3"/>
          <p:cNvSpPr>
            <a:spLocks noGrp="1"/>
          </p:cNvSpPr>
          <p:nvPr>
            <p:ph type="sldNum" sz="quarter" idx="16"/>
          </p:nvPr>
        </p:nvSpPr>
        <p:spPr>
          <a:xfrm>
            <a:off x="609600" y="6406042"/>
            <a:ext cx="508000" cy="365125"/>
          </a:xfrm>
          <a:prstGeom prst="rect">
            <a:avLst/>
          </a:prstGeom>
        </p:spPr>
        <p:txBody>
          <a:bodyPr/>
          <a:lstStyle/>
          <a:p>
            <a:pPr defTabSz="914400" eaLnBrk="1" fontAlgn="auto" hangingPunct="1">
              <a:spcBef>
                <a:spcPts val="0"/>
              </a:spcBef>
              <a:spcAft>
                <a:spcPts val="0"/>
              </a:spcAft>
            </a:pPr>
            <a:fld id="{1A026502-11EF-4F01-A5BA-022B1A37D027}" type="slidenum">
              <a:rPr lang="en-US" smtClean="0">
                <a:solidFill>
                  <a:srgbClr val="00AEEF"/>
                </a:solidFill>
                <a:latin typeface="Segoe UI"/>
              </a:rPr>
              <a:pPr defTabSz="914400" eaLnBrk="1" fontAlgn="auto" hangingPunct="1">
                <a:spcBef>
                  <a:spcPts val="0"/>
                </a:spcBef>
                <a:spcAft>
                  <a:spcPts val="0"/>
                </a:spcAft>
              </a:pPr>
              <a:t>‹#›</a:t>
            </a:fld>
            <a:endParaRPr lang="en-US">
              <a:solidFill>
                <a:srgbClr val="00AEEF"/>
              </a:solidFill>
              <a:latin typeface="Segoe UI"/>
            </a:endParaRPr>
          </a:p>
        </p:txBody>
      </p:sp>
      <p:sp>
        <p:nvSpPr>
          <p:cNvPr id="9" name="Freeform 81"/>
          <p:cNvSpPr>
            <a:spLocks noEditPoints="1"/>
          </p:cNvSpPr>
          <p:nvPr userDrawn="1"/>
        </p:nvSpPr>
        <p:spPr bwMode="black">
          <a:xfrm>
            <a:off x="11429175" y="65089"/>
            <a:ext cx="690033" cy="315912"/>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82293" tIns="41147" rIns="82293" bIns="41147" numCol="1" anchor="t" anchorCtr="0" compatLnSpc="1">
            <a:prstTxWarp prst="textNoShape">
              <a:avLst/>
            </a:prstTxWarp>
          </a:bodyPr>
          <a:lstStyle/>
          <a:p>
            <a:pPr defTabSz="914225" eaLnBrk="1" fontAlgn="auto" hangingPunct="1">
              <a:spcBef>
                <a:spcPts val="0"/>
              </a:spcBef>
              <a:spcAft>
                <a:spcPts val="0"/>
              </a:spcAft>
            </a:pPr>
            <a:endParaRPr lang="en-US" sz="1600">
              <a:solidFill>
                <a:srgbClr val="000000"/>
              </a:solidFill>
              <a:latin typeface="Segoe UI"/>
            </a:endParaRPr>
          </a:p>
        </p:txBody>
      </p:sp>
    </p:spTree>
    <p:extLst>
      <p:ext uri="{BB962C8B-B14F-4D97-AF65-F5344CB8AC3E}">
        <p14:creationId xmlns:p14="http://schemas.microsoft.com/office/powerpoint/2010/main" val="348164758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Rectang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8128000" y="6248400"/>
            <a:ext cx="3556000" cy="365125"/>
          </a:xfrm>
          <a:prstGeom prst="rect">
            <a:avLst/>
          </a:prstGeom>
        </p:spPr>
        <p:txBody>
          <a:bodyPr lIns="124358" tIns="62179" rIns="124358" bIns="62179"/>
          <a:lstStyle/>
          <a:p>
            <a:pPr defTabSz="914400" eaLnBrk="1" fontAlgn="auto" hangingPunct="1">
              <a:spcBef>
                <a:spcPts val="0"/>
              </a:spcBef>
              <a:spcAft>
                <a:spcPts val="0"/>
              </a:spcAft>
            </a:pPr>
            <a:fld id="{91FD4F68-8D18-47D2-AD11-CEDAD438B4C3}" type="datetime1">
              <a:rPr lang="en-US" smtClean="0">
                <a:solidFill>
                  <a:srgbClr val="FFFFFF"/>
                </a:solidFill>
                <a:latin typeface="Segoe UI"/>
              </a:rPr>
              <a:pPr defTabSz="914400" eaLnBrk="1" fontAlgn="auto" hangingPunct="1">
                <a:spcBef>
                  <a:spcPts val="0"/>
                </a:spcBef>
                <a:spcAft>
                  <a:spcPts val="0"/>
                </a:spcAft>
              </a:pPr>
              <a:t>11/5/2017</a:t>
            </a:fld>
            <a:endParaRPr lang="en-US">
              <a:solidFill>
                <a:srgbClr val="FFFFFF"/>
              </a:solidFill>
              <a:latin typeface="Segoe UI"/>
            </a:endParaRPr>
          </a:p>
        </p:txBody>
      </p:sp>
      <p:sp>
        <p:nvSpPr>
          <p:cNvPr id="4" name="Footer Placeholder 3"/>
          <p:cNvSpPr>
            <a:spLocks noGrp="1"/>
          </p:cNvSpPr>
          <p:nvPr>
            <p:ph type="ftr" sz="quarter" idx="11"/>
          </p:nvPr>
        </p:nvSpPr>
        <p:spPr>
          <a:xfrm>
            <a:off x="812803" y="6248207"/>
            <a:ext cx="7228110" cy="365125"/>
          </a:xfrm>
          <a:prstGeom prst="rect">
            <a:avLst/>
          </a:prstGeom>
        </p:spPr>
        <p:txBody>
          <a:bodyPr lIns="124358" tIns="62179" rIns="124358" bIns="62179"/>
          <a:lstStyle/>
          <a:p>
            <a:pPr defTabSz="914400" eaLnBrk="1" fontAlgn="auto" hangingPunct="1">
              <a:spcBef>
                <a:spcPts val="0"/>
              </a:spcBef>
              <a:spcAft>
                <a:spcPts val="0"/>
              </a:spcAft>
            </a:pPr>
            <a:endParaRPr lang="en-US">
              <a:solidFill>
                <a:srgbClr val="FFFFFF"/>
              </a:solidFill>
              <a:latin typeface="Segoe UI"/>
            </a:endParaRPr>
          </a:p>
        </p:txBody>
      </p:sp>
      <p:sp>
        <p:nvSpPr>
          <p:cNvPr id="5" name="Slide Number Placeholder 4"/>
          <p:cNvSpPr>
            <a:spLocks noGrp="1"/>
          </p:cNvSpPr>
          <p:nvPr>
            <p:ph type="sldNum" sz="quarter" idx="12"/>
          </p:nvPr>
        </p:nvSpPr>
        <p:spPr>
          <a:xfrm>
            <a:off x="0" y="1498010"/>
            <a:ext cx="711200" cy="244476"/>
          </a:xfrm>
          <a:prstGeom prst="rect">
            <a:avLst/>
          </a:prstGeom>
        </p:spPr>
        <p:txBody>
          <a:bodyPr lIns="124358" tIns="62179" rIns="124358" bIns="62179"/>
          <a:lstStyle/>
          <a:p>
            <a:pPr algn="ctr" defTabSz="914400" eaLnBrk="1" fontAlgn="auto" hangingPunct="1">
              <a:spcBef>
                <a:spcPts val="0"/>
              </a:spcBef>
              <a:spcAft>
                <a:spcPts val="0"/>
              </a:spcAft>
            </a:pPr>
            <a:fld id="{8F82E0A0-C266-4798-8C8F-B9F91E9DA37E}" type="slidenum">
              <a:rPr lang="en-US" sz="1863" b="1" smtClean="0">
                <a:solidFill>
                  <a:srgbClr val="FFFFFF"/>
                </a:solidFill>
                <a:latin typeface="Segoe UI"/>
              </a:rPr>
              <a:pPr algn="ctr" defTabSz="914400" eaLnBrk="1" fontAlgn="auto" hangingPunct="1">
                <a:spcBef>
                  <a:spcPts val="0"/>
                </a:spcBef>
                <a:spcAft>
                  <a:spcPts val="0"/>
                </a:spcAft>
              </a:pPr>
              <a:t>‹#›</a:t>
            </a:fld>
            <a:endParaRPr lang="en-US">
              <a:solidFill>
                <a:srgbClr val="FFFFFF"/>
              </a:solidFill>
              <a:latin typeface="Segoe UI"/>
            </a:endParaRPr>
          </a:p>
        </p:txBody>
      </p:sp>
      <p:sp>
        <p:nvSpPr>
          <p:cNvPr id="7" name="Rectangle 6"/>
          <p:cNvSpPr>
            <a:spLocks noGrp="1"/>
          </p:cNvSpPr>
          <p:nvPr>
            <p:ph sz="quarter" idx="13"/>
          </p:nvPr>
        </p:nvSpPr>
        <p:spPr>
          <a:xfrm>
            <a:off x="812800" y="1803401"/>
            <a:ext cx="10871200" cy="20565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51143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206937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Basic 1">
    <p:spTree>
      <p:nvGrpSpPr>
        <p:cNvPr id="1" name=""/>
        <p:cNvGrpSpPr/>
        <p:nvPr/>
      </p:nvGrpSpPr>
      <p:grpSpPr>
        <a:xfrm>
          <a:off x="0" y="0"/>
          <a:ext cx="0" cy="0"/>
          <a:chOff x="0" y="0"/>
          <a:chExt cx="0" cy="0"/>
        </a:xfrm>
      </p:grpSpPr>
      <p:sp>
        <p:nvSpPr>
          <p:cNvPr id="11" name="Rectangle 10"/>
          <p:cNvSpPr/>
          <p:nvPr userDrawn="1"/>
        </p:nvSpPr>
        <p:spPr bwMode="auto">
          <a:xfrm>
            <a:off x="0" y="0"/>
            <a:ext cx="12192000" cy="1144588"/>
          </a:xfrm>
          <a:prstGeom prst="rect">
            <a:avLst/>
          </a:prstGeom>
          <a:solidFill>
            <a:srgbClr val="8C8F8E"/>
          </a:solidFill>
          <a:ln w="12700">
            <a:noFill/>
            <a:round/>
            <a:headEnd/>
            <a:tailEnd/>
          </a:ln>
        </p:spPr>
        <p:txBody>
          <a:bodyPr wrap="none" rtlCol="0" anchor="ctr"/>
          <a:lstStyle/>
          <a:p>
            <a:pPr algn="ctr" defTabSz="914400" eaLnBrk="1" fontAlgn="auto" hangingPunct="1">
              <a:spcBef>
                <a:spcPts val="0"/>
              </a:spcBef>
              <a:spcAft>
                <a:spcPts val="0"/>
              </a:spcAft>
            </a:pPr>
            <a:endParaRPr lang="en-US" sz="1168">
              <a:solidFill>
                <a:srgbClr val="FFFFFF"/>
              </a:solidFill>
              <a:latin typeface="Segoe UI"/>
            </a:endParaRPr>
          </a:p>
        </p:txBody>
      </p:sp>
      <p:sp>
        <p:nvSpPr>
          <p:cNvPr id="2" name="Title 1"/>
          <p:cNvSpPr>
            <a:spLocks noGrp="1"/>
          </p:cNvSpPr>
          <p:nvPr>
            <p:ph type="title"/>
          </p:nvPr>
        </p:nvSpPr>
        <p:spPr/>
        <p:txBody>
          <a:bodyPr/>
          <a:lstStyle>
            <a:lvl1pPr>
              <a:defRPr sz="2920">
                <a:solidFill>
                  <a:schemeClr val="bg1"/>
                </a:solidFill>
              </a:defRPr>
            </a:lvl1pPr>
          </a:lstStyle>
          <a:p>
            <a:r>
              <a:rPr lang="en-US" dirty="0"/>
              <a:t>Click to edit Master title style</a:t>
            </a:r>
          </a:p>
        </p:txBody>
      </p:sp>
      <p:pic>
        <p:nvPicPr>
          <p:cNvPr id="19" name="Picture 18" descr="Logo_no_bug_1-25W_72dpi_overlay.png"/>
          <p:cNvPicPr>
            <a:picLocks noChangeAspect="1"/>
          </p:cNvPicPr>
          <p:nvPr userDrawn="1"/>
        </p:nvPicPr>
        <p:blipFill>
          <a:blip r:embed="rId2" cstate="print">
            <a:alphaModFix amt="50000"/>
          </a:blip>
          <a:srcRect r="837" b="5143"/>
          <a:stretch>
            <a:fillRect/>
          </a:stretch>
        </p:blipFill>
        <p:spPr>
          <a:xfrm>
            <a:off x="10668000" y="6693410"/>
            <a:ext cx="1444074" cy="168655"/>
          </a:xfrm>
          <a:prstGeom prst="rect">
            <a:avLst/>
          </a:prstGeom>
        </p:spPr>
      </p:pic>
      <p:sp>
        <p:nvSpPr>
          <p:cNvPr id="9" name="Rectangle 7"/>
          <p:cNvSpPr>
            <a:spLocks noGrp="1" noChangeArrowheads="1"/>
          </p:cNvSpPr>
          <p:nvPr>
            <p:ph type="sldNum" sz="quarter" idx="4"/>
          </p:nvPr>
        </p:nvSpPr>
        <p:spPr>
          <a:xfrm>
            <a:off x="11463867" y="6426200"/>
            <a:ext cx="609600" cy="228600"/>
          </a:xfrm>
          <a:prstGeom prst="rect">
            <a:avLst/>
          </a:prstGeom>
          <a:ln/>
        </p:spPr>
        <p:txBody>
          <a:bodyPr vert="horz" wrap="square" lIns="91440" tIns="45720" rIns="91440" bIns="45720" numCol="1" anchor="t" anchorCtr="0" compatLnSpc="1">
            <a:prstTxWarp prst="textNoShape">
              <a:avLst/>
            </a:prstTxWarp>
          </a:bodyPr>
          <a:lstStyle>
            <a:lvl1pPr algn="r">
              <a:defRPr sz="779">
                <a:solidFill>
                  <a:srgbClr val="8C8F8E"/>
                </a:solidFill>
              </a:defRPr>
            </a:lvl1pPr>
          </a:lstStyle>
          <a:p>
            <a:pPr defTabSz="914400" eaLnBrk="1" fontAlgn="auto" hangingPunct="1">
              <a:spcBef>
                <a:spcPts val="0"/>
              </a:spcBef>
              <a:spcAft>
                <a:spcPts val="0"/>
              </a:spcAft>
            </a:pPr>
            <a:fld id="{7CFF977E-B140-BF41-A684-2BF7AC5C4D26}" type="slidenum">
              <a:rPr lang="en-US" smtClean="0">
                <a:latin typeface="Segoe UI"/>
              </a:rPr>
              <a:pPr defTabSz="914400" eaLnBrk="1" fontAlgn="auto" hangingPunct="1">
                <a:spcBef>
                  <a:spcPts val="0"/>
                </a:spcBef>
                <a:spcAft>
                  <a:spcPts val="0"/>
                </a:spcAft>
              </a:pPr>
              <a:t>‹#›</a:t>
            </a:fld>
            <a:r>
              <a:rPr lang="en-US">
                <a:latin typeface="Segoe UI"/>
              </a:rPr>
              <a:t> </a:t>
            </a:r>
            <a:endParaRPr lang="en-US" dirty="0">
              <a:latin typeface="Segoe UI"/>
            </a:endParaRPr>
          </a:p>
        </p:txBody>
      </p:sp>
      <p:sp>
        <p:nvSpPr>
          <p:cNvPr id="13" name="Content Placeholder 12"/>
          <p:cNvSpPr>
            <a:spLocks noGrp="1"/>
          </p:cNvSpPr>
          <p:nvPr>
            <p:ph sz="quarter" idx="10"/>
          </p:nvPr>
        </p:nvSpPr>
        <p:spPr/>
        <p:txBody>
          <a:bodyPr/>
          <a:lstStyle>
            <a:lvl1pPr marL="0" indent="0">
              <a:buNone/>
              <a:defRPr/>
            </a:lvl1pPr>
            <a:lvl2pPr marL="338380" indent="-276576">
              <a:defRPr/>
            </a:lvl2pPr>
            <a:lvl3pPr marL="614955" indent="-219406" defTabSz="889986">
              <a:defRPr/>
            </a:lvl3pPr>
            <a:lvl4pPr marL="888441" indent="-220952">
              <a:defRPr/>
            </a:lvl4pPr>
            <a:lvl5pPr marL="1172742" indent="-220952">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654514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Text content, larg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FFFFFF"/>
          </a:solidFill>
        </p:spPr>
        <p:txBody>
          <a:bodyPr rIns="91440">
            <a:normAutofit/>
          </a:bodyPr>
          <a:lstStyle>
            <a:lvl1pPr>
              <a:defRPr sz="2667" baseline="0">
                <a:solidFill>
                  <a:schemeClr val="bg1"/>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a:xfrm>
            <a:off x="9042400" y="6356351"/>
            <a:ext cx="2844800" cy="365125"/>
          </a:xfrm>
          <a:prstGeom prst="rect">
            <a:avLst/>
          </a:prstGeom>
        </p:spPr>
        <p:txBody>
          <a:bodyPr/>
          <a:lstStyle>
            <a:lvl1pPr>
              <a:defRPr>
                <a:solidFill>
                  <a:schemeClr val="tx1"/>
                </a:solidFill>
                <a:latin typeface="+mn-lt"/>
              </a:defRPr>
            </a:lvl1pPr>
          </a:lstStyle>
          <a:p>
            <a:pPr defTabSz="914400" eaLnBrk="1" fontAlgn="auto" hangingPunct="1">
              <a:spcBef>
                <a:spcPts val="0"/>
              </a:spcBef>
              <a:spcAft>
                <a:spcPts val="0"/>
              </a:spcAft>
            </a:pPr>
            <a:fld id="{74A398B2-5A34-1A4A-811E-F4027282568C}" type="slidenum">
              <a:rPr lang="en-US" smtClean="0">
                <a:solidFill>
                  <a:srgbClr val="FFFFFF"/>
                </a:solidFill>
              </a:rPr>
              <a:pPr defTabSz="914400" eaLnBrk="1" fontAlgn="auto" hangingPunct="1">
                <a:spcBef>
                  <a:spcPts val="0"/>
                </a:spcBef>
                <a:spcAft>
                  <a:spcPts val="0"/>
                </a:spcAft>
              </a:pPr>
              <a:t>‹#›</a:t>
            </a:fld>
            <a:endParaRPr lang="en-US">
              <a:solidFill>
                <a:srgbClr val="FFFFFF"/>
              </a:solidFill>
            </a:endParaRPr>
          </a:p>
        </p:txBody>
      </p:sp>
      <p:sp>
        <p:nvSpPr>
          <p:cNvPr id="14" name="Content Placeholder 13"/>
          <p:cNvSpPr>
            <a:spLocks noGrp="1"/>
          </p:cNvSpPr>
          <p:nvPr>
            <p:ph sz="quarter" idx="13" hasCustomPrompt="1"/>
          </p:nvPr>
        </p:nvSpPr>
        <p:spPr>
          <a:xfrm>
            <a:off x="3657600" y="1219200"/>
            <a:ext cx="8229600" cy="784830"/>
          </a:xfrm>
          <a:prstGeom prst="rect">
            <a:avLst/>
          </a:prstGeom>
        </p:spPr>
        <p:txBody>
          <a:bodyPr vert="horz" lIns="182880" tIns="137160"/>
          <a:lstStyle>
            <a:lvl1pPr marL="0" indent="0">
              <a:spcBef>
                <a:spcPts val="400"/>
              </a:spcBef>
              <a:buFontTx/>
              <a:buNone/>
              <a:defRPr sz="4000" baseline="0">
                <a:solidFill>
                  <a:schemeClr val="tx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55458888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slide, image background">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443263"/>
          </a:xfrm>
          <a:prstGeom prst="rect">
            <a:avLst/>
          </a:prstGeom>
        </p:spPr>
        <p:txBody>
          <a:bodyPr vert="horz"/>
          <a:lstStyle>
            <a:lvl1pPr>
              <a:buFontTx/>
              <a:buNone/>
              <a:defRPr sz="1867">
                <a:solidFill>
                  <a:srgbClr val="000000"/>
                </a:solidFill>
                <a:latin typeface="+mn-lt"/>
              </a:defRPr>
            </a:lvl1pPr>
          </a:lstStyle>
          <a:p>
            <a:r>
              <a:rPr lang="en-US" dirty="0"/>
              <a:t>Drag picture to placeholder or click icon to add</a:t>
            </a:r>
          </a:p>
        </p:txBody>
      </p:sp>
      <p:sp>
        <p:nvSpPr>
          <p:cNvPr id="17" name="Title 16"/>
          <p:cNvSpPr>
            <a:spLocks noGrp="1"/>
          </p:cNvSpPr>
          <p:nvPr>
            <p:ph type="title" hasCustomPrompt="1"/>
          </p:nvPr>
        </p:nvSpPr>
        <p:spPr>
          <a:xfrm>
            <a:off x="0" y="1219200"/>
            <a:ext cx="4876800" cy="2438400"/>
          </a:xfrm>
          <a:prstGeom prst="rect">
            <a:avLst/>
          </a:prstGeom>
          <a:solidFill>
            <a:schemeClr val="accent1">
              <a:alpha val="94000"/>
            </a:schemeClr>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dirty="0"/>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accent3">
              <a:alpha val="89000"/>
            </a:schemeClr>
          </a:solidFill>
        </p:spPr>
        <p:txBody>
          <a:bodyPr vert="horz" lIns="182880" tIns="137160">
            <a:normAutofit/>
          </a:bodyPr>
          <a:lstStyle>
            <a:lvl1pPr marL="0" indent="0">
              <a:lnSpc>
                <a:spcPct val="100000"/>
              </a:lnSpc>
              <a:buFontTx/>
              <a:buNone/>
              <a:defRPr sz="1867" baseline="0">
                <a:solidFill>
                  <a:schemeClr val="tx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dirty="0"/>
              <a:t>Click to edit slide content</a:t>
            </a:r>
          </a:p>
        </p:txBody>
      </p:sp>
      <p:sp>
        <p:nvSpPr>
          <p:cNvPr id="3" name="Picture Placeholder 2"/>
          <p:cNvSpPr>
            <a:spLocks noGrp="1"/>
          </p:cNvSpPr>
          <p:nvPr>
            <p:ph type="pic" sz="quarter" idx="17"/>
          </p:nvPr>
        </p:nvSpPr>
        <p:spPr>
          <a:xfrm>
            <a:off x="101600" y="24384"/>
            <a:ext cx="1524000" cy="673582"/>
          </a:xfrm>
        </p:spPr>
        <p:txBody>
          <a:bodyPr/>
          <a:lstStyle/>
          <a:p>
            <a:endParaRPr lang="en-US"/>
          </a:p>
        </p:txBody>
      </p:sp>
    </p:spTree>
    <p:extLst>
      <p:ext uri="{BB962C8B-B14F-4D97-AF65-F5344CB8AC3E}">
        <p14:creationId xmlns:p14="http://schemas.microsoft.com/office/powerpoint/2010/main" val="259117602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 Column">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785460"/>
            <a:ext cx="11678423" cy="4482760"/>
          </a:xfrm>
        </p:spPr>
        <p:txBody>
          <a:bodyPr vert="horz" wrap="square" lIns="146304" tIns="91440" rIns="146304" bIns="91440" rtlCol="0">
            <a:norm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endParaRPr lang="en-US" dirty="0"/>
          </a:p>
        </p:txBody>
      </p:sp>
      <p:sp>
        <p:nvSpPr>
          <p:cNvPr id="7" name="Text Placeholder 8"/>
          <p:cNvSpPr>
            <a:spLocks noGrp="1"/>
          </p:cNvSpPr>
          <p:nvPr>
            <p:ph type="body" sz="quarter" idx="13" hasCustomPrompt="1"/>
          </p:nvPr>
        </p:nvSpPr>
        <p:spPr>
          <a:xfrm>
            <a:off x="269239" y="6445524"/>
            <a:ext cx="8067823" cy="262540"/>
          </a:xfrm>
        </p:spPr>
        <p:txBody>
          <a:bodyPr lIns="182880" tIns="64008" rIns="182880" bIns="64008" anchor="b"/>
          <a:lstStyle>
            <a:lvl1pPr marL="0" marR="0" indent="0" algn="l" defTabSz="672243" rtl="0" eaLnBrk="1" fontAlgn="auto" latinLnBrk="0" hangingPunct="1">
              <a:lnSpc>
                <a:spcPct val="90000"/>
              </a:lnSpc>
              <a:spcBef>
                <a:spcPct val="20000"/>
              </a:spcBef>
              <a:spcAft>
                <a:spcPts val="0"/>
              </a:spcAft>
              <a:buClrTx/>
              <a:buSzPct val="90000"/>
              <a:buFont typeface="Arial" pitchFamily="34" charset="0"/>
              <a:buNone/>
              <a:tabLst/>
              <a:defRPr sz="980">
                <a:solidFill>
                  <a:schemeClr val="tx1"/>
                </a:solidFill>
              </a:defRPr>
            </a:lvl1pPr>
          </a:lstStyle>
          <a:p>
            <a:pPr marL="0" marR="0" lvl="0" indent="0" algn="l" defTabSz="672243" rtl="0" eaLnBrk="1" fontAlgn="auto" latinLnBrk="0" hangingPunct="1">
              <a:lnSpc>
                <a:spcPct val="90000"/>
              </a:lnSpc>
              <a:spcBef>
                <a:spcPct val="20000"/>
              </a:spcBef>
              <a:spcAft>
                <a:spcPts val="0"/>
              </a:spcAft>
              <a:buClrTx/>
              <a:buSzPct val="90000"/>
              <a:buFont typeface="Arial" pitchFamily="34" charset="0"/>
              <a:buNone/>
              <a:tabLst/>
              <a:defRPr/>
            </a:pPr>
            <a:r>
              <a:rPr kumimoji="0" lang="en-US" sz="980" b="0" i="0" u="none" strike="noStrike" kern="1200" cap="none" spc="0" normalizeH="0" baseline="0" noProof="0" dirty="0">
                <a:ln>
                  <a:noFill/>
                </a:ln>
                <a:solidFill>
                  <a:srgbClr val="505050"/>
                </a:solidFill>
                <a:effectLst/>
                <a:uLnTx/>
                <a:uFillTx/>
                <a:latin typeface="+mn-lt"/>
                <a:ea typeface="+mn-ea"/>
                <a:cs typeface="Arial" pitchFamily="34" charset="0"/>
              </a:rPr>
              <a:t>Source/Footnote:</a:t>
            </a:r>
          </a:p>
        </p:txBody>
      </p:sp>
    </p:spTree>
    <p:extLst>
      <p:ext uri="{BB962C8B-B14F-4D97-AF65-F5344CB8AC3E}">
        <p14:creationId xmlns:p14="http://schemas.microsoft.com/office/powerpoint/2010/main" val="1919020615"/>
      </p:ext>
    </p:extLst>
  </p:cSld>
  <p:clrMapOvr>
    <a:masterClrMapping/>
  </p:clrMapOvr>
  <p:transition>
    <p:fade/>
  </p:transition>
  <p:hf sldNum="0" hdr="0" dt="0"/>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cSld name="2.7 Blank">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
            <a:ext cx="12192000" cy="146207"/>
          </a:xfrm>
          <a:prstGeom prst="rect">
            <a:avLst/>
          </a:prstGeom>
        </p:spPr>
      </p:pic>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63" y="6419381"/>
            <a:ext cx="12192000" cy="438620"/>
          </a:xfrm>
          <a:prstGeom prst="rect">
            <a:avLst/>
          </a:prstGeom>
        </p:spPr>
      </p:pic>
      <p:sp>
        <p:nvSpPr>
          <p:cNvPr id="23" name="Slide Number Placeholder 5"/>
          <p:cNvSpPr>
            <a:spLocks noGrp="1"/>
          </p:cNvSpPr>
          <p:nvPr>
            <p:ph type="sldNum" sz="quarter" idx="12"/>
          </p:nvPr>
        </p:nvSpPr>
        <p:spPr>
          <a:xfrm>
            <a:off x="0" y="6476304"/>
            <a:ext cx="812800" cy="365125"/>
          </a:xfrm>
          <a:prstGeom prst="rect">
            <a:avLst/>
          </a:prstGeom>
        </p:spPr>
        <p:txBody>
          <a:bodyPr anchor="ctr" anchorCtr="0"/>
          <a:lstStyle>
            <a:lvl1pPr algn="ctr">
              <a:defRPr sz="1200">
                <a:solidFill>
                  <a:schemeClr val="bg1"/>
                </a:solidFill>
              </a:defRPr>
            </a:lvl1pPr>
          </a:lstStyle>
          <a:p>
            <a:pPr defTabSz="914400" eaLnBrk="1" fontAlgn="auto" hangingPunct="1">
              <a:spcBef>
                <a:spcPts val="0"/>
              </a:spcBef>
              <a:spcAft>
                <a:spcPts val="0"/>
              </a:spcAft>
            </a:pPr>
            <a:fld id="{026CCAEB-CB17-44EB-A892-4553F1D666B6}" type="slidenum">
              <a:rPr lang="en-US" smtClean="0">
                <a:solidFill>
                  <a:prstClr val="white"/>
                </a:solidFill>
                <a:latin typeface="Segoe UI"/>
              </a:rPr>
              <a:pPr defTabSz="914400" eaLnBrk="1" fontAlgn="auto" hangingPunct="1">
                <a:spcBef>
                  <a:spcPts val="0"/>
                </a:spcBef>
                <a:spcAft>
                  <a:spcPts val="0"/>
                </a:spcAft>
              </a:pPr>
              <a:t>‹#›</a:t>
            </a:fld>
            <a:endParaRPr lang="en-US" dirty="0">
              <a:solidFill>
                <a:prstClr val="white"/>
              </a:solidFill>
              <a:latin typeface="Segoe UI"/>
            </a:endParaRPr>
          </a:p>
        </p:txBody>
      </p:sp>
      <p:sp>
        <p:nvSpPr>
          <p:cNvPr id="24" name="Footer Placeholder 4"/>
          <p:cNvSpPr>
            <a:spLocks noGrp="1"/>
          </p:cNvSpPr>
          <p:nvPr>
            <p:ph type="ftr" sz="quarter" idx="11"/>
          </p:nvPr>
        </p:nvSpPr>
        <p:spPr>
          <a:xfrm>
            <a:off x="3535680" y="6476301"/>
            <a:ext cx="4876800" cy="365760"/>
          </a:xfrm>
          <a:prstGeom prst="rect">
            <a:avLst/>
          </a:prstGeom>
        </p:spPr>
        <p:txBody>
          <a:bodyPr anchor="ctr" anchorCtr="0"/>
          <a:lstStyle>
            <a:lvl1pPr algn="ctr">
              <a:defRPr>
                <a:solidFill>
                  <a:schemeClr val="bg1"/>
                </a:solidFill>
              </a:defRPr>
            </a:lvl1pPr>
          </a:lstStyle>
          <a:p>
            <a:pPr defTabSz="914400" eaLnBrk="1" fontAlgn="auto" hangingPunct="1">
              <a:spcBef>
                <a:spcPts val="0"/>
              </a:spcBef>
              <a:spcAft>
                <a:spcPts val="0"/>
              </a:spcAft>
            </a:pPr>
            <a:r>
              <a:rPr lang="en-US" dirty="0">
                <a:solidFill>
                  <a:prstClr val="white"/>
                </a:solidFill>
                <a:latin typeface="Segoe UI"/>
              </a:rPr>
              <a:t>Microsoft Confidential</a:t>
            </a:r>
          </a:p>
        </p:txBody>
      </p:sp>
      <p:sp>
        <p:nvSpPr>
          <p:cNvPr id="8" name="Date Placeholder 3"/>
          <p:cNvSpPr>
            <a:spLocks noGrp="1"/>
          </p:cNvSpPr>
          <p:nvPr>
            <p:ph type="dt" sz="half" idx="10"/>
          </p:nvPr>
        </p:nvSpPr>
        <p:spPr>
          <a:xfrm>
            <a:off x="1828800" y="6476304"/>
            <a:ext cx="1117600" cy="365125"/>
          </a:xfrm>
          <a:prstGeom prst="rect">
            <a:avLst/>
          </a:prstGeom>
        </p:spPr>
        <p:txBody>
          <a:bodyPr anchor="ctr" anchorCtr="0"/>
          <a:lstStyle>
            <a:lvl1pPr>
              <a:defRPr>
                <a:solidFill>
                  <a:schemeClr val="bg1"/>
                </a:solidFill>
              </a:defRPr>
            </a:lvl1pPr>
          </a:lstStyle>
          <a:p>
            <a:pPr defTabSz="914400" eaLnBrk="1" fontAlgn="auto" hangingPunct="1">
              <a:spcBef>
                <a:spcPts val="0"/>
              </a:spcBef>
              <a:spcAft>
                <a:spcPts val="0"/>
              </a:spcAft>
            </a:pPr>
            <a:endParaRPr lang="en-US" dirty="0">
              <a:solidFill>
                <a:prstClr val="white"/>
              </a:solidFill>
              <a:latin typeface="Segoe UI"/>
            </a:endParaRPr>
          </a:p>
        </p:txBody>
      </p:sp>
      <p:pic>
        <p:nvPicPr>
          <p:cNvPr id="10" name="Picture 9"/>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598420" y="6544607"/>
            <a:ext cx="2430683" cy="166268"/>
          </a:xfrm>
          <a:prstGeom prst="rect">
            <a:avLst/>
          </a:prstGeom>
        </p:spPr>
      </p:pic>
    </p:spTree>
    <p:extLst>
      <p:ext uri="{BB962C8B-B14F-4D97-AF65-F5344CB8AC3E}">
        <p14:creationId xmlns:p14="http://schemas.microsoft.com/office/powerpoint/2010/main" val="1982082803"/>
      </p:ext>
    </p:extLst>
  </p:cSld>
  <p:clrMapOvr>
    <a:masterClrMapping/>
  </p:clrMapOv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3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854938" y="2698307"/>
            <a:ext cx="7171399" cy="564835"/>
          </a:xfrm>
        </p:spPr>
        <p:txBody>
          <a:bodyPr anchor="ctr"/>
          <a:lstStyle>
            <a:lvl1pPr marL="0" indent="0">
              <a:spcBef>
                <a:spcPts val="588"/>
              </a:spcBef>
              <a:spcAft>
                <a:spcPts val="588"/>
              </a:spcAft>
              <a:buNone/>
              <a:defRPr sz="2745">
                <a:solidFill>
                  <a:schemeClr val="accent6"/>
                </a:solidFill>
              </a:defRPr>
            </a:lvl1pPr>
            <a:lvl2pPr marL="0" indent="0">
              <a:buFontTx/>
              <a:buNone/>
              <a:defRPr sz="1765">
                <a:solidFill>
                  <a:schemeClr val="accent1"/>
                </a:solidFill>
              </a:defRPr>
            </a:lvl2pPr>
            <a:lvl3pPr marL="224097" indent="0">
              <a:buNone/>
              <a:defRPr sz="1372"/>
            </a:lvl3pPr>
            <a:lvl4pPr marL="448193" indent="0">
              <a:buNone/>
              <a:defRPr sz="1176"/>
            </a:lvl4pPr>
            <a:lvl5pPr marL="672290" indent="0">
              <a:buNone/>
              <a:defRPr sz="1176"/>
            </a:lvl5pPr>
          </a:lstStyle>
          <a:p>
            <a:pPr lvl="0"/>
            <a:r>
              <a:rPr lang="en-US" dirty="0"/>
              <a:t>Click to edit Master text styles</a:t>
            </a:r>
          </a:p>
        </p:txBody>
      </p:sp>
    </p:spTree>
    <p:extLst>
      <p:ext uri="{BB962C8B-B14F-4D97-AF65-F5344CB8AC3E}">
        <p14:creationId xmlns:p14="http://schemas.microsoft.com/office/powerpoint/2010/main" val="4154896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63" presetClass="path" presetSubtype="0" decel="100000" fill="hold" grpId="1" nodeType="withEffect">
                                  <p:stCondLst>
                                    <p:cond delay="0"/>
                                  </p:stCondLst>
                                  <p:childTnLst>
                                    <p:animMotion origin="layout" path="M -4.22007E-6 -4.5892E-6 L 0.05349 -4.5892E-6 " pathEditMode="relative" rAng="0" ptsTypes="AA">
                                      <p:cBhvr>
                                        <p:cTn id="9" dur="500" fill="hold"/>
                                        <p:tgtEl>
                                          <p:spTgt spid="6">
                                            <p:txEl>
                                              <p:pRg st="0" end="0"/>
                                            </p:txEl>
                                          </p:spTgt>
                                        </p:tgtEl>
                                        <p:attrNameLst>
                                          <p:attrName>ppt_x</p:attrName>
                                          <p:attrName>ppt_y</p:attrName>
                                        </p:attrNameLst>
                                      </p:cBhvr>
                                      <p:rCtr x="266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6" grpId="1" build="p" bldLvl="2">
        <p:tmplLst>
          <p:tmpl lvl="1">
            <p:tnLst>
              <p:par>
                <p:cTn presetID="63" presetClass="path" presetSubtype="0" decel="100000" fill="hold" nodeType="withEffect">
                  <p:stCondLst>
                    <p:cond delay="0"/>
                  </p:stCondLst>
                  <p:childTnLst>
                    <p:animMotion origin="layout" path="M -4.22007E-6 -4.5892E-6 L 0.05349 -4.5892E-6 " pathEditMode="relative" rAng="0" ptsTypes="AA">
                      <p:cBhvr>
                        <p:cTn dur="500" fill="hold"/>
                        <p:tgtEl>
                          <p:spTgt spid="6"/>
                        </p:tgtEl>
                        <p:attrNameLst>
                          <p:attrName>ppt_x</p:attrName>
                          <p:attrName>ppt_y</p:attrName>
                        </p:attrNameLst>
                      </p:cBhvr>
                      <p:rCtr x="2668" y="0"/>
                    </p:animMotion>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tx1"/>
        </a:solidFill>
        <a:effectLst/>
      </p:bgPr>
    </p:bg>
    <p:spTree>
      <p:nvGrpSpPr>
        <p:cNvPr id="1" name=""/>
        <p:cNvGrpSpPr/>
        <p:nvPr/>
      </p:nvGrpSpPr>
      <p:grpSpPr>
        <a:xfrm>
          <a:off x="0" y="0"/>
          <a:ext cx="0" cy="0"/>
          <a:chOff x="0" y="0"/>
          <a:chExt cx="0" cy="0"/>
        </a:xfrm>
      </p:grpSpPr>
      <p:sp>
        <p:nvSpPr>
          <p:cNvPr id="3" name="TextBox 6"/>
          <p:cNvSpPr txBox="1">
            <a:spLocks noChangeArrowheads="1"/>
          </p:cNvSpPr>
          <p:nvPr userDrawn="1"/>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4"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5" name="Slide Number Placeholder 3"/>
          <p:cNvSpPr>
            <a:spLocks noGrp="1"/>
          </p:cNvSpPr>
          <p:nvPr>
            <p:ph type="sldNum" sz="quarter" idx="19"/>
          </p:nvPr>
        </p:nvSpPr>
        <p:spPr>
          <a:xfrm>
            <a:off x="9353550" y="6492875"/>
            <a:ext cx="2844800" cy="365125"/>
          </a:xfrm>
        </p:spPr>
        <p:txBody>
          <a:bodyPr/>
          <a:lstStyle>
            <a:lvl1pPr>
              <a:defRPr smtClean="0">
                <a:solidFill>
                  <a:srgbClr val="3F3F3F"/>
                </a:solidFill>
                <a:latin typeface="+mn-lt"/>
              </a:defRPr>
            </a:lvl1pPr>
          </a:lstStyle>
          <a:p>
            <a:pPr>
              <a:defRPr/>
            </a:pPr>
            <a:fld id="{3D1B5734-3614-4DC6-A13F-4700EA017BC8}" type="slidenum">
              <a:rPr lang="en-US"/>
              <a:pPr>
                <a:defRPr/>
              </a:pPr>
              <a:t>‹#›</a:t>
            </a:fld>
            <a:endParaRPr lang="en-US"/>
          </a:p>
        </p:txBody>
      </p:sp>
    </p:spTree>
    <p:extLst>
      <p:ext uri="{BB962C8B-B14F-4D97-AF65-F5344CB8AC3E}">
        <p14:creationId xmlns:p14="http://schemas.microsoft.com/office/powerpoint/2010/main" val="46812876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249572850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Them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90569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09329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1" y="-312"/>
            <a:ext cx="12206629" cy="6858623"/>
          </a:xfrm>
          <a:prstGeom prst="rect">
            <a:avLst/>
          </a:prstGeom>
        </p:spPr>
      </p:pic>
    </p:spTree>
    <p:extLst>
      <p:ext uri="{BB962C8B-B14F-4D97-AF65-F5344CB8AC3E}">
        <p14:creationId xmlns:p14="http://schemas.microsoft.com/office/powerpoint/2010/main" val="3315929275"/>
      </p:ext>
    </p:extLst>
  </p:cSld>
  <p:clrMapOvr>
    <a:masterClrMapping/>
  </p:clrMapOvr>
  <p:transition spd="med">
    <p:wipe dir="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_Blank">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Tree>
    <p:extLst>
      <p:ext uri="{BB962C8B-B14F-4D97-AF65-F5344CB8AC3E}">
        <p14:creationId xmlns:p14="http://schemas.microsoft.com/office/powerpoint/2010/main" val="40571168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dirty="0"/>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pic>
        <p:nvPicPr>
          <p:cNvPr id="8" name="Picture 7"/>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89895990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dirty="0"/>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388219854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5" name="Picture 4"/>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608647383"/>
      </p:ext>
    </p:extLst>
  </p:cSld>
  <p:clrMapOvr>
    <a:masterClrMapping/>
  </p:clrMapOvr>
  <p:transition spd="med">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00205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bg1"/>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
        <p:nvSpPr>
          <p:cNvPr id="8"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800"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2034856437"/>
      </p:ext>
    </p:extLst>
  </p:cSld>
  <p:clrMapOvr>
    <a:masterClrMapping/>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15237"/>
          <a:stretch/>
        </p:blipFill>
        <p:spPr>
          <a:xfrm flipH="1">
            <a:off x="0" y="-36095"/>
            <a:ext cx="12192000" cy="6894095"/>
          </a:xfrm>
          <a:prstGeom prst="rect">
            <a:avLst/>
          </a:prstGeom>
        </p:spPr>
      </p:pic>
    </p:spTree>
    <p:extLst>
      <p:ext uri="{BB962C8B-B14F-4D97-AF65-F5344CB8AC3E}">
        <p14:creationId xmlns:p14="http://schemas.microsoft.com/office/powerpoint/2010/main" val="3156527144"/>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slideLayout" Target="../slideLayouts/slideLayout84.xml"/><Relationship Id="rId47" Type="http://schemas.openxmlformats.org/officeDocument/2006/relationships/slideLayout" Target="../slideLayouts/slideLayout89.xml"/><Relationship Id="rId50" Type="http://schemas.openxmlformats.org/officeDocument/2006/relationships/slideLayout" Target="../slideLayouts/slideLayout92.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46" Type="http://schemas.openxmlformats.org/officeDocument/2006/relationships/slideLayout" Target="../slideLayouts/slideLayout88.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41" Type="http://schemas.openxmlformats.org/officeDocument/2006/relationships/slideLayout" Target="../slideLayouts/slideLayout83.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45" Type="http://schemas.openxmlformats.org/officeDocument/2006/relationships/slideLayout" Target="../slideLayouts/slideLayout87.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49" Type="http://schemas.openxmlformats.org/officeDocument/2006/relationships/slideLayout" Target="../slideLayouts/slideLayout91.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4" Type="http://schemas.openxmlformats.org/officeDocument/2006/relationships/slideLayout" Target="../slideLayouts/slideLayout86.xml"/><Relationship Id="rId52" Type="http://schemas.openxmlformats.org/officeDocument/2006/relationships/image" Target="../media/image1.png"/><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slideLayout" Target="../slideLayouts/slideLayout85.xml"/><Relationship Id="rId48" Type="http://schemas.openxmlformats.org/officeDocument/2006/relationships/slideLayout" Target="../slideLayouts/slideLayout90.xml"/><Relationship Id="rId8" Type="http://schemas.openxmlformats.org/officeDocument/2006/relationships/slideLayout" Target="../slideLayouts/slideLayout50.xml"/><Relationship Id="rId5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theme" Target="../theme/theme4.xml"/><Relationship Id="rId18" Type="http://schemas.openxmlformats.org/officeDocument/2006/relationships/image" Target="../media/image16.png"/><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image" Target="../media/image15.emf"/><Relationship Id="rId2" Type="http://schemas.openxmlformats.org/officeDocument/2006/relationships/slideLayout" Target="../slideLayouts/slideLayout94.xml"/><Relationship Id="rId16" Type="http://schemas.openxmlformats.org/officeDocument/2006/relationships/oleObject" Target="../embeddings/oleObject1.bin"/><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tags" Target="../tags/tag1.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0" y="6356350"/>
            <a:ext cx="2844800" cy="365125"/>
          </a:xfrm>
          <a:prstGeom prst="rect">
            <a:avLst/>
          </a:prstGeom>
        </p:spPr>
        <p:txBody>
          <a:bodyPr vert="horz" lIns="182880" tIns="45720" rIns="182880" bIns="45720" rtlCol="0" anchor="ctr"/>
          <a:lstStyle>
            <a:lvl1pPr algn="l" eaLnBrk="1" fontAlgn="auto" hangingPunct="1">
              <a:spcBef>
                <a:spcPts val="0"/>
              </a:spcBef>
              <a:spcAft>
                <a:spcPts val="0"/>
              </a:spcAft>
              <a:defRPr sz="800" smtClean="0">
                <a:solidFill>
                  <a:schemeClr val="tx1">
                    <a:tint val="75000"/>
                  </a:schemeClr>
                </a:solidFill>
                <a:latin typeface="+mn-lt"/>
                <a:cs typeface="Segoe Pro Light"/>
              </a:defRPr>
            </a:lvl1pPr>
          </a:lstStyle>
          <a:p>
            <a:pPr>
              <a:defRPr/>
            </a:pPr>
            <a:endParaRPr lang="en-US" dirty="0"/>
          </a:p>
        </p:txBody>
      </p:sp>
      <p:sp>
        <p:nvSpPr>
          <p:cNvPr id="6" name="Slide Number Placeholder 5"/>
          <p:cNvSpPr>
            <a:spLocks noGrp="1"/>
          </p:cNvSpPr>
          <p:nvPr>
            <p:ph type="sldNum" sz="quarter" idx="4"/>
          </p:nvPr>
        </p:nvSpPr>
        <p:spPr>
          <a:xfrm>
            <a:off x="9353550" y="6356350"/>
            <a:ext cx="2844800" cy="365125"/>
          </a:xfrm>
          <a:prstGeom prst="rect">
            <a:avLst/>
          </a:prstGeom>
        </p:spPr>
        <p:txBody>
          <a:bodyPr vert="horz" lIns="182880" tIns="45720" rIns="182880" bIns="45720" rtlCol="0" anchor="ctr"/>
          <a:lstStyle>
            <a:lvl1pPr algn="r" eaLnBrk="1" fontAlgn="auto" hangingPunct="1">
              <a:spcBef>
                <a:spcPts val="0"/>
              </a:spcBef>
              <a:spcAft>
                <a:spcPts val="0"/>
              </a:spcAft>
              <a:defRPr sz="800" smtClean="0">
                <a:solidFill>
                  <a:schemeClr val="tx1">
                    <a:tint val="75000"/>
                  </a:schemeClr>
                </a:solidFill>
                <a:latin typeface="+mn-lt"/>
                <a:cs typeface="Segoe Pro Light"/>
              </a:defRPr>
            </a:lvl1pPr>
          </a:lstStyle>
          <a:p>
            <a:pPr>
              <a:defRPr/>
            </a:pPr>
            <a:fld id="{1550753C-F660-41DD-B1A8-7B783284F390}" type="slidenum">
              <a:rPr lang="en-US"/>
              <a:pPr>
                <a:defRPr/>
              </a:pPr>
              <a:t>‹#›</a:t>
            </a:fld>
            <a:endParaRPr lang="en-US" dirty="0"/>
          </a:p>
        </p:txBody>
      </p:sp>
    </p:spTree>
  </p:cSld>
  <p:clrMap bg1="dk1" tx1="lt1" bg2="dk2" tx2="lt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 id="2147483870" r:id="rId20"/>
    <p:sldLayoutId id="2147483871" r:id="rId21"/>
    <p:sldLayoutId id="2147483872" r:id="rId22"/>
    <p:sldLayoutId id="2147483873" r:id="rId23"/>
    <p:sldLayoutId id="2147483874" r:id="rId24"/>
    <p:sldLayoutId id="2147483875" r:id="rId25"/>
    <p:sldLayoutId id="2147483876" r:id="rId26"/>
    <p:sldLayoutId id="2147483877" r:id="rId27"/>
    <p:sldLayoutId id="2147483878" r:id="rId28"/>
    <p:sldLayoutId id="2147483879" r:id="rId29"/>
  </p:sldLayoutIdLst>
  <p:hf hdr="0" ftr="0" dt="0"/>
  <p:txStyles>
    <p:titleStyle>
      <a:lvl1pPr algn="ctr" rtl="0" fontAlgn="base">
        <a:spcBef>
          <a:spcPct val="0"/>
        </a:spcBef>
        <a:spcAft>
          <a:spcPct val="0"/>
        </a:spcAft>
        <a:defRPr sz="2000">
          <a:solidFill>
            <a:schemeClr val="tx1"/>
          </a:solidFill>
          <a:latin typeface="+mn-lt"/>
          <a:ea typeface="Segoe Pro Light"/>
          <a:cs typeface="Segoe Pro Light"/>
        </a:defRPr>
      </a:lvl1pPr>
      <a:lvl2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5pPr>
      <a:lvl6pPr marL="4572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6pPr>
      <a:lvl7pPr marL="9144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7pPr>
      <a:lvl8pPr marL="13716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8pPr>
      <a:lvl9pPr marL="18288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fontAlgn="base">
        <a:lnSpc>
          <a:spcPct val="120000"/>
        </a:lnSpc>
        <a:spcBef>
          <a:spcPct val="20000"/>
        </a:spcBef>
        <a:spcAft>
          <a:spcPct val="0"/>
        </a:spcAft>
        <a:defRPr sz="1400">
          <a:solidFill>
            <a:srgbClr val="FFFFFF"/>
          </a:solidFill>
          <a:latin typeface="+mn-lt"/>
          <a:ea typeface="Segoe Pro Light"/>
          <a:cs typeface="Segoe Pro Light"/>
        </a:defRPr>
      </a:lvl1pPr>
      <a:lvl2pPr algn="l" rtl="0" fontAlgn="base">
        <a:lnSpc>
          <a:spcPct val="120000"/>
        </a:lnSpc>
        <a:spcBef>
          <a:spcPct val="20000"/>
        </a:spcBef>
        <a:spcAft>
          <a:spcPct val="0"/>
        </a:spcAft>
        <a:defRPr sz="1400">
          <a:solidFill>
            <a:srgbClr val="FFFFFF"/>
          </a:solidFill>
          <a:latin typeface="+mn-lt"/>
          <a:ea typeface="Segoe Pro Light"/>
          <a:cs typeface="Segoe Pro Light"/>
        </a:defRPr>
      </a:lvl2pPr>
      <a:lvl3pPr algn="l" rtl="0" fontAlgn="base">
        <a:lnSpc>
          <a:spcPct val="120000"/>
        </a:lnSpc>
        <a:spcBef>
          <a:spcPct val="20000"/>
        </a:spcBef>
        <a:spcAft>
          <a:spcPct val="0"/>
        </a:spcAft>
        <a:defRPr sz="1400">
          <a:solidFill>
            <a:srgbClr val="FFFFFF"/>
          </a:solidFill>
          <a:latin typeface="+mn-lt"/>
          <a:ea typeface="Segoe Pro Light"/>
          <a:cs typeface="Segoe Pro Light"/>
        </a:defRPr>
      </a:lvl3pPr>
      <a:lvl4pPr algn="l" rtl="0" fontAlgn="base">
        <a:lnSpc>
          <a:spcPct val="120000"/>
        </a:lnSpc>
        <a:spcBef>
          <a:spcPct val="20000"/>
        </a:spcBef>
        <a:spcAft>
          <a:spcPct val="0"/>
        </a:spcAft>
        <a:defRPr sz="1400">
          <a:solidFill>
            <a:srgbClr val="FFFFFF"/>
          </a:solidFill>
          <a:latin typeface="+mn-lt"/>
          <a:ea typeface="Segoe Pro Light"/>
          <a:cs typeface="Segoe Pro Light"/>
        </a:defRPr>
      </a:lvl4pPr>
      <a:lvl5pPr algn="l" rtl="0" fontAlgn="base">
        <a:lnSpc>
          <a:spcPct val="120000"/>
        </a:lnSpc>
        <a:spcBef>
          <a:spcPct val="20000"/>
        </a:spcBef>
        <a:spcAft>
          <a:spcPct val="0"/>
        </a:spcAft>
        <a:defRPr sz="1400">
          <a:solidFill>
            <a:srgbClr val="FFFFFF"/>
          </a:solidFill>
          <a:latin typeface="+mn-lt"/>
          <a:ea typeface="Segoe Pro Light"/>
          <a:cs typeface="Segoe Pro Light"/>
        </a:defRPr>
      </a:lvl5pPr>
      <a:lvl6pPr marL="457200" algn="l" rtl="0" fontAlgn="base">
        <a:lnSpc>
          <a:spcPct val="120000"/>
        </a:lnSpc>
        <a:spcBef>
          <a:spcPct val="20000"/>
        </a:spcBef>
        <a:spcAft>
          <a:spcPct val="0"/>
        </a:spcAft>
        <a:defRPr sz="1400">
          <a:solidFill>
            <a:srgbClr val="FFFFFF"/>
          </a:solidFill>
          <a:latin typeface="+mn-lt"/>
          <a:ea typeface="Segoe Pro Light"/>
          <a:cs typeface="Segoe Pro Light"/>
        </a:defRPr>
      </a:lvl6pPr>
      <a:lvl7pPr marL="914400" algn="l" rtl="0" fontAlgn="base">
        <a:lnSpc>
          <a:spcPct val="120000"/>
        </a:lnSpc>
        <a:spcBef>
          <a:spcPct val="20000"/>
        </a:spcBef>
        <a:spcAft>
          <a:spcPct val="0"/>
        </a:spcAft>
        <a:defRPr sz="1400">
          <a:solidFill>
            <a:srgbClr val="FFFFFF"/>
          </a:solidFill>
          <a:latin typeface="+mn-lt"/>
          <a:ea typeface="Segoe Pro Light"/>
          <a:cs typeface="Segoe Pro Light"/>
        </a:defRPr>
      </a:lvl7pPr>
      <a:lvl8pPr marL="1371600" algn="l" rtl="0" fontAlgn="base">
        <a:lnSpc>
          <a:spcPct val="120000"/>
        </a:lnSpc>
        <a:spcBef>
          <a:spcPct val="20000"/>
        </a:spcBef>
        <a:spcAft>
          <a:spcPct val="0"/>
        </a:spcAft>
        <a:defRPr sz="1400">
          <a:solidFill>
            <a:srgbClr val="FFFFFF"/>
          </a:solidFill>
          <a:latin typeface="+mn-lt"/>
          <a:ea typeface="Segoe Pro Light"/>
          <a:cs typeface="Segoe Pro Light"/>
        </a:defRPr>
      </a:lvl8pPr>
      <a:lvl9pPr marL="1828800" algn="l" rtl="0" fontAlgn="base">
        <a:lnSpc>
          <a:spcPct val="120000"/>
        </a:lnSpc>
        <a:spcBef>
          <a:spcPct val="20000"/>
        </a:spcBef>
        <a:spcAft>
          <a:spcPct val="0"/>
        </a:spcAft>
        <a:defRPr sz="1400">
          <a:solidFill>
            <a:srgbClr val="FFFFFF"/>
          </a:solidFill>
          <a:latin typeface="+mn-lt"/>
          <a:ea typeface="Segoe Pro Light"/>
          <a:cs typeface="Segoe Pro Light"/>
        </a:defRPr>
      </a:lvl9pPr>
    </p:bodyStyle>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eaLnBrk="1" fontAlgn="auto" hangingPunct="1">
              <a:spcBef>
                <a:spcPts val="0"/>
              </a:spcBef>
              <a:spcAft>
                <a:spcPts val="0"/>
              </a:spcAft>
            </a:pPr>
            <a:fld id="{2549156F-DDCF-40A8-935F-C4BA21A59E62}" type="datetimeFigureOut">
              <a:rPr lang="en-US" smtClean="0">
                <a:solidFill>
                  <a:prstClr val="black">
                    <a:tint val="75000"/>
                  </a:prstClr>
                </a:solidFill>
                <a:latin typeface="Calibri" panose="020F0502020204030204"/>
              </a:rPr>
              <a:pPr defTabSz="914400" eaLnBrk="1" fontAlgn="auto" hangingPunct="1">
                <a:spcBef>
                  <a:spcPts val="0"/>
                </a:spcBef>
                <a:spcAft>
                  <a:spcPts val="0"/>
                </a:spcAft>
              </a:pPr>
              <a:t>11/5/2017</a:t>
            </a:fld>
            <a:endParaRPr lang="en-US">
              <a:solidFill>
                <a:prstClr val="black">
                  <a:tint val="75000"/>
                </a:prstClr>
              </a:solidFill>
              <a:latin typeface="Calibri" panose="020F0502020204030204"/>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eaLnBrk="1" fontAlgn="auto" hangingPunct="1">
              <a:spcBef>
                <a:spcPts val="0"/>
              </a:spcBef>
              <a:spcAft>
                <a:spcPts val="0"/>
              </a:spcAft>
            </a:pPr>
            <a:endParaRPr lang="en-US">
              <a:solidFill>
                <a:prstClr val="black">
                  <a:tint val="75000"/>
                </a:prstClr>
              </a:solidFill>
              <a:latin typeface="Calibri" panose="020F0502020204030204"/>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eaLnBrk="1" fontAlgn="auto" hangingPunct="1">
              <a:spcBef>
                <a:spcPts val="0"/>
              </a:spcBef>
              <a:spcAft>
                <a:spcPts val="0"/>
              </a:spcAft>
            </a:pPr>
            <a:fld id="{11C0F982-576B-4C53-B9CE-E3EBE8D44DA3}" type="slidenum">
              <a:rPr lang="en-US" smtClean="0">
                <a:solidFill>
                  <a:prstClr val="black">
                    <a:tint val="75000"/>
                  </a:prstClr>
                </a:solidFill>
                <a:latin typeface="Calibri" panose="020F0502020204030204"/>
              </a:rPr>
              <a:pPr defTabSz="914400" eaLnBrk="1" fontAlgn="auto" hangingPunct="1">
                <a:spcBef>
                  <a:spcPts val="0"/>
                </a:spcBef>
                <a:spcAft>
                  <a:spcPts val="0"/>
                </a:spcAft>
              </a:pPr>
              <a:t>‹#›</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1669691151"/>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958" r:id="rId12"/>
    <p:sldLayoutId id="2147483959"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8455" y="291102"/>
            <a:ext cx="11475214"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358455" y="1187645"/>
            <a:ext cx="11475214"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rot="5400000">
            <a:off x="10375847" y="1839506"/>
            <a:ext cx="4214127" cy="535118"/>
          </a:xfrm>
          <a:prstGeom prst="rect">
            <a:avLst/>
          </a:prstGeom>
        </p:spPr>
      </p:pic>
    </p:spTree>
    <p:extLst>
      <p:ext uri="{BB962C8B-B14F-4D97-AF65-F5344CB8AC3E}">
        <p14:creationId xmlns:p14="http://schemas.microsoft.com/office/powerpoint/2010/main" val="3088876220"/>
      </p:ext>
    </p:extLst>
  </p:cSld>
  <p:clrMap bg1="dk1" tx1="lt1" bg2="dk2" tx2="lt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 id="2147483921" r:id="rId16"/>
    <p:sldLayoutId id="2147483922" r:id="rId17"/>
    <p:sldLayoutId id="2147483923" r:id="rId18"/>
    <p:sldLayoutId id="2147483924" r:id="rId19"/>
    <p:sldLayoutId id="2147483925" r:id="rId20"/>
    <p:sldLayoutId id="2147483926" r:id="rId21"/>
    <p:sldLayoutId id="2147483927" r:id="rId22"/>
    <p:sldLayoutId id="2147483928" r:id="rId23"/>
    <p:sldLayoutId id="2147483929" r:id="rId24"/>
    <p:sldLayoutId id="2147483930" r:id="rId25"/>
    <p:sldLayoutId id="2147483931" r:id="rId26"/>
    <p:sldLayoutId id="2147483932" r:id="rId27"/>
    <p:sldLayoutId id="2147483933" r:id="rId28"/>
    <p:sldLayoutId id="2147483934" r:id="rId29"/>
    <p:sldLayoutId id="2147483935" r:id="rId30"/>
    <p:sldLayoutId id="2147483936" r:id="rId31"/>
    <p:sldLayoutId id="2147483937" r:id="rId32"/>
    <p:sldLayoutId id="2147483938" r:id="rId33"/>
    <p:sldLayoutId id="2147483939" r:id="rId34"/>
    <p:sldLayoutId id="2147483940" r:id="rId35"/>
    <p:sldLayoutId id="2147483942" r:id="rId36"/>
    <p:sldLayoutId id="2147483943" r:id="rId37"/>
    <p:sldLayoutId id="2147483944" r:id="rId38"/>
    <p:sldLayoutId id="2147483945" r:id="rId39"/>
    <p:sldLayoutId id="2147483946" r:id="rId40"/>
    <p:sldLayoutId id="2147483947" r:id="rId41"/>
    <p:sldLayoutId id="2147483948" r:id="rId42"/>
    <p:sldLayoutId id="2147483949" r:id="rId43"/>
    <p:sldLayoutId id="2147483950" r:id="rId44"/>
    <p:sldLayoutId id="2147483951" r:id="rId45"/>
    <p:sldLayoutId id="2147483952" r:id="rId46"/>
    <p:sldLayoutId id="2147483953" r:id="rId47"/>
    <p:sldLayoutId id="2147483954" r:id="rId48"/>
    <p:sldLayoutId id="2147483955" r:id="rId49"/>
    <p:sldLayoutId id="2147483956" r:id="rId50"/>
  </p:sldLayoutIdLst>
  <p:transition>
    <p:fade/>
  </p:transition>
  <p:txStyles>
    <p:title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213" marR="0" indent="-336213" algn="l" defTabSz="914554" rtl="0" eaLnBrk="1" fontAlgn="auto" latinLnBrk="0" hangingPunct="1">
        <a:lnSpc>
          <a:spcPct val="90000"/>
        </a:lnSpc>
        <a:spcBef>
          <a:spcPct val="20000"/>
        </a:spcBef>
        <a:spcAft>
          <a:spcPts val="0"/>
        </a:spcAft>
        <a:buClrTx/>
        <a:buSzPct val="90000"/>
        <a:buFont typeface="Arial" pitchFamily="34" charset="0"/>
        <a:buChar char="•"/>
        <a:tabLst/>
        <a:defRPr sz="3530" kern="1200" spc="0" baseline="0">
          <a:gradFill>
            <a:gsLst>
              <a:gs pos="1250">
                <a:schemeClr val="tx1"/>
              </a:gs>
              <a:gs pos="100000">
                <a:schemeClr val="tx1"/>
              </a:gs>
            </a:gsLst>
            <a:lin ang="5400000" scaled="0"/>
          </a:gradFill>
          <a:latin typeface="+mj-lt"/>
          <a:ea typeface="+mn-ea"/>
          <a:cs typeface="+mn-cs"/>
        </a:defRPr>
      </a:lvl1pPr>
      <a:lvl2pPr marL="572808" marR="0" indent="-236595" algn="l" defTabSz="914554"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498" marR="0" indent="-224142" algn="l" defTabSz="914554"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640" marR="0" indent="-224142" algn="l" defTabSz="91455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783" marR="0" indent="-224142" algn="l" defTabSz="91455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5022"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299"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576"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854"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554" rtl="0" eaLnBrk="1" latinLnBrk="0" hangingPunct="1">
        <a:defRPr sz="1765" kern="1200">
          <a:solidFill>
            <a:schemeClr val="tx1"/>
          </a:solidFill>
          <a:latin typeface="+mn-lt"/>
          <a:ea typeface="+mn-ea"/>
          <a:cs typeface="+mn-cs"/>
        </a:defRPr>
      </a:lvl1pPr>
      <a:lvl2pPr marL="457277" algn="l" defTabSz="914554" rtl="0" eaLnBrk="1" latinLnBrk="0" hangingPunct="1">
        <a:defRPr sz="1765" kern="1200">
          <a:solidFill>
            <a:schemeClr val="tx1"/>
          </a:solidFill>
          <a:latin typeface="+mn-lt"/>
          <a:ea typeface="+mn-ea"/>
          <a:cs typeface="+mn-cs"/>
        </a:defRPr>
      </a:lvl2pPr>
      <a:lvl3pPr marL="914554" algn="l" defTabSz="914554" rtl="0" eaLnBrk="1" latinLnBrk="0" hangingPunct="1">
        <a:defRPr sz="1765" kern="1200">
          <a:solidFill>
            <a:schemeClr val="tx1"/>
          </a:solidFill>
          <a:latin typeface="+mn-lt"/>
          <a:ea typeface="+mn-ea"/>
          <a:cs typeface="+mn-cs"/>
        </a:defRPr>
      </a:lvl3pPr>
      <a:lvl4pPr marL="1371830" algn="l" defTabSz="914554" rtl="0" eaLnBrk="1" latinLnBrk="0" hangingPunct="1">
        <a:defRPr sz="1765" kern="1200">
          <a:solidFill>
            <a:schemeClr val="tx1"/>
          </a:solidFill>
          <a:latin typeface="+mn-lt"/>
          <a:ea typeface="+mn-ea"/>
          <a:cs typeface="+mn-cs"/>
        </a:defRPr>
      </a:lvl4pPr>
      <a:lvl5pPr marL="1829107" algn="l" defTabSz="914554" rtl="0" eaLnBrk="1" latinLnBrk="0" hangingPunct="1">
        <a:defRPr sz="1765" kern="1200">
          <a:solidFill>
            <a:schemeClr val="tx1"/>
          </a:solidFill>
          <a:latin typeface="+mn-lt"/>
          <a:ea typeface="+mn-ea"/>
          <a:cs typeface="+mn-cs"/>
        </a:defRPr>
      </a:lvl5pPr>
      <a:lvl6pPr marL="2286385" algn="l" defTabSz="914554" rtl="0" eaLnBrk="1" latinLnBrk="0" hangingPunct="1">
        <a:defRPr sz="1765" kern="1200">
          <a:solidFill>
            <a:schemeClr val="tx1"/>
          </a:solidFill>
          <a:latin typeface="+mn-lt"/>
          <a:ea typeface="+mn-ea"/>
          <a:cs typeface="+mn-cs"/>
        </a:defRPr>
      </a:lvl6pPr>
      <a:lvl7pPr marL="2743661" algn="l" defTabSz="914554" rtl="0" eaLnBrk="1" latinLnBrk="0" hangingPunct="1">
        <a:defRPr sz="1765" kern="1200">
          <a:solidFill>
            <a:schemeClr val="tx1"/>
          </a:solidFill>
          <a:latin typeface="+mn-lt"/>
          <a:ea typeface="+mn-ea"/>
          <a:cs typeface="+mn-cs"/>
        </a:defRPr>
      </a:lvl7pPr>
      <a:lvl8pPr marL="3200937" algn="l" defTabSz="914554" rtl="0" eaLnBrk="1" latinLnBrk="0" hangingPunct="1">
        <a:defRPr sz="1765" kern="1200">
          <a:solidFill>
            <a:schemeClr val="tx1"/>
          </a:solidFill>
          <a:latin typeface="+mn-lt"/>
          <a:ea typeface="+mn-ea"/>
          <a:cs typeface="+mn-cs"/>
        </a:defRPr>
      </a:lvl8pPr>
      <a:lvl9pPr marL="3658215" algn="l" defTabSz="914554"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5702">
          <p15:clr>
            <a:srgbClr val="5ACBF0"/>
          </p15:clr>
        </p15:guide>
        <p15:guide id="4" pos="749">
          <p15:clr>
            <a:srgbClr val="5ACBF0"/>
          </p15:clr>
        </p15:guide>
        <p15:guide id="5" pos="1325">
          <p15:clr>
            <a:srgbClr val="5ACBF0"/>
          </p15:clr>
        </p15:guide>
        <p15:guide id="6" pos="1901">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2477">
          <p15:clr>
            <a:srgbClr val="5ACBF0"/>
          </p15:clr>
        </p15:guide>
        <p15:guide id="13" orient="horz" pos="763">
          <p15:clr>
            <a:srgbClr val="5ACBF0"/>
          </p15:clr>
        </p15:guide>
        <p15:guide id="14" orient="horz" pos="1339">
          <p15:clr>
            <a:srgbClr val="5ACBF0"/>
          </p15:clr>
        </p15:guide>
        <p15:guide id="15" orient="horz" pos="1915">
          <p15:clr>
            <a:srgbClr val="5ACBF0"/>
          </p15:clr>
        </p15:guide>
        <p15:guide id="16" orient="horz" pos="2491">
          <p15:clr>
            <a:srgbClr val="5ACBF0"/>
          </p15:clr>
        </p15:guide>
        <p15:guide id="17" orient="horz" pos="3067">
          <p15:clr>
            <a:srgbClr val="5ACBF0"/>
          </p15:clr>
        </p15:guide>
        <p15:guide id="18" orient="horz" pos="3643">
          <p15:clr>
            <a:srgbClr val="5ACBF0"/>
          </p15:clr>
        </p15:guide>
        <p15:guide id="19" orient="horz" pos="4219">
          <p15:clr>
            <a:srgbClr val="5ACBF0"/>
          </p15:clr>
        </p15:guide>
        <p15:guide id="20" pos="288">
          <p15:clr>
            <a:srgbClr val="C35EA4"/>
          </p15:clr>
        </p15:guide>
        <p15:guide id="21" pos="5587">
          <p15:clr>
            <a:srgbClr val="C35EA4"/>
          </p15:clr>
        </p15:guide>
        <p15:guide id="22" orient="horz" pos="302">
          <p15:clr>
            <a:srgbClr val="C35EA4"/>
          </p15:clr>
        </p15:guide>
        <p15:guide id="23"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00" name="think-cell Slide" r:id="rId16" imgW="377" imgH="377" progId="TCLayout.ActiveDocument.1">
                  <p:embed/>
                </p:oleObj>
              </mc:Choice>
              <mc:Fallback>
                <p:oleObj name="think-cell Slide" r:id="rId16" imgW="377" imgH="377" progId="TCLayout.ActiveDocument.1">
                  <p:embed/>
                  <p:pic>
                    <p:nvPicPr>
                      <p:cNvPr id="4" name="Object 3" hidden="1"/>
                      <p:cNvPicPr/>
                      <p:nvPr/>
                    </p:nvPicPr>
                    <p:blipFill>
                      <a:blip r:embed="rId17"/>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4166197" y="6604621"/>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dirty="0"/>
          </a:p>
        </p:txBody>
      </p:sp>
      <p:sp>
        <p:nvSpPr>
          <p:cNvPr id="5"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39156560"/>
      </p:ext>
    </p:extLst>
  </p:cSld>
  <p:clrMap bg1="lt1" tx1="dk1" bg2="lt2" tx2="dk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 id="2147483972" r:id="rId12"/>
  </p:sldLayoutIdLst>
  <p:transition>
    <p:fade/>
  </p:transition>
  <p:hf hdr="0" ftr="0" dt="0"/>
  <p:txStyles>
    <p:title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2">
          <p15:clr>
            <a:srgbClr val="C35EA4"/>
          </p15:clr>
        </p15:guide>
        <p15:guide id="2" orient="horz" pos="795">
          <p15:clr>
            <a:srgbClr val="C35EA4"/>
          </p15:clr>
        </p15:guide>
        <p15:guide id="3" orient="horz" pos="4075">
          <p15:clr>
            <a:srgbClr val="C35EA4"/>
          </p15:clr>
        </p15:guide>
        <p15:guide id="4" orient="horz" pos="752">
          <p15:clr>
            <a:srgbClr val="C35EA4"/>
          </p15:clr>
        </p15:guide>
        <p15:guide id="5" pos="274">
          <p15:clr>
            <a:srgbClr val="C35EA4"/>
          </p15:clr>
        </p15:guide>
        <p15:guide id="6" pos="7406">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6.xml"/><Relationship Id="rId1" Type="http://schemas.openxmlformats.org/officeDocument/2006/relationships/tags" Target="../tags/tag2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35.xml"/><Relationship Id="rId4" Type="http://schemas.openxmlformats.org/officeDocument/2006/relationships/image" Target="../media/image39.png"/></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42.xml"/></Relationships>
</file>

<file path=ppt/slides/_rels/slide15.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15.xml"/><Relationship Id="rId1" Type="http://schemas.openxmlformats.org/officeDocument/2006/relationships/slideLayout" Target="../slideLayouts/slideLayout97.xml"/><Relationship Id="rId5" Type="http://schemas.openxmlformats.org/officeDocument/2006/relationships/image" Target="../media/image40.png"/><Relationship Id="rId4" Type="http://schemas.openxmlformats.org/officeDocument/2006/relationships/image" Target="../media/image42.emf"/></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97.xml"/></Relationships>
</file>

<file path=ppt/slides/_rels/slide17.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45.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44.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image" Target="../media/image43.png"/><Relationship Id="rId5" Type="http://schemas.openxmlformats.org/officeDocument/2006/relationships/tags" Target="../tags/tag32.xml"/><Relationship Id="rId10" Type="http://schemas.openxmlformats.org/officeDocument/2006/relationships/notesSlide" Target="../notesSlides/notesSlide17.xml"/><Relationship Id="rId4" Type="http://schemas.openxmlformats.org/officeDocument/2006/relationships/tags" Target="../tags/tag31.xml"/><Relationship Id="rId9" Type="http://schemas.openxmlformats.org/officeDocument/2006/relationships/slideLayout" Target="../slideLayouts/slideLayout35.xml"/><Relationship Id="rId14" Type="http://schemas.openxmlformats.org/officeDocument/2006/relationships/image" Target="../media/image46.jpeg"/></Relationships>
</file>

<file path=ppt/slides/_rels/slide1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26.png"/><Relationship Id="rId7" Type="http://schemas.openxmlformats.org/officeDocument/2006/relationships/image" Target="../media/image50.png"/><Relationship Id="rId2" Type="http://schemas.openxmlformats.org/officeDocument/2006/relationships/notesSlide" Target="../notesSlides/notesSlide18.xml"/><Relationship Id="rId1" Type="http://schemas.openxmlformats.org/officeDocument/2006/relationships/slideLayout" Target="../slideLayouts/slideLayout35.xml"/><Relationship Id="rId6" Type="http://schemas.openxmlformats.org/officeDocument/2006/relationships/image" Target="../media/image49.jpeg"/><Relationship Id="rId5" Type="http://schemas.openxmlformats.org/officeDocument/2006/relationships/image" Target="../media/image48.png"/><Relationship Id="rId4" Type="http://schemas.openxmlformats.org/officeDocument/2006/relationships/image" Target="../media/image47.png"/><Relationship Id="rId9" Type="http://schemas.openxmlformats.org/officeDocument/2006/relationships/image" Target="../media/image40.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3" Type="http://schemas.openxmlformats.org/officeDocument/2006/relationships/hyperlink" Target="http://www.microsoft.com/about/legal/permissions/"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1.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1.xml"/><Relationship Id="rId1" Type="http://schemas.openxmlformats.org/officeDocument/2006/relationships/vmlDrawing" Target="../drawings/vmlDrawing2.vml"/><Relationship Id="rId5" Type="http://schemas.openxmlformats.org/officeDocument/2006/relationships/image" Target="../media/image52.emf"/><Relationship Id="rId4" Type="http://schemas.openxmlformats.org/officeDocument/2006/relationships/oleObject" Target="../embeddings/oleObject2.bin"/></Relationships>
</file>

<file path=ppt/slides/_rels/slide22.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60.png"/><Relationship Id="rId3" Type="http://schemas.openxmlformats.org/officeDocument/2006/relationships/image" Target="../media/image53.png"/><Relationship Id="rId7" Type="http://schemas.openxmlformats.org/officeDocument/2006/relationships/image" Target="../media/image55.png"/><Relationship Id="rId12" Type="http://schemas.openxmlformats.org/officeDocument/2006/relationships/image" Target="../media/image59.png"/><Relationship Id="rId2" Type="http://schemas.openxmlformats.org/officeDocument/2006/relationships/notesSlide" Target="../notesSlides/notesSlide22.xml"/><Relationship Id="rId1" Type="http://schemas.openxmlformats.org/officeDocument/2006/relationships/slideLayout" Target="../slideLayouts/slideLayout35.xml"/><Relationship Id="rId6" Type="http://schemas.openxmlformats.org/officeDocument/2006/relationships/image" Target="../media/image37.png"/><Relationship Id="rId11" Type="http://schemas.openxmlformats.org/officeDocument/2006/relationships/image" Target="../media/image58.png"/><Relationship Id="rId5" Type="http://schemas.openxmlformats.org/officeDocument/2006/relationships/image" Target="../media/image54.png"/><Relationship Id="rId15" Type="http://schemas.openxmlformats.org/officeDocument/2006/relationships/image" Target="../media/image62.png"/><Relationship Id="rId10" Type="http://schemas.openxmlformats.org/officeDocument/2006/relationships/image" Target="../media/image57.png"/><Relationship Id="rId4" Type="http://schemas.openxmlformats.org/officeDocument/2006/relationships/image" Target="../media/image38.png"/><Relationship Id="rId9" Type="http://schemas.openxmlformats.org/officeDocument/2006/relationships/image" Target="../media/image56.png"/><Relationship Id="rId14" Type="http://schemas.openxmlformats.org/officeDocument/2006/relationships/image" Target="../media/image61.png"/></Relationships>
</file>

<file path=ppt/slides/_rels/slide23.xml.rels><?xml version="1.0" encoding="UTF-8" standalone="yes"?>
<Relationships xmlns="http://schemas.openxmlformats.org/package/2006/relationships"><Relationship Id="rId3" Type="http://schemas.openxmlformats.org/officeDocument/2006/relationships/image" Target="../media/image63.jpeg"/><Relationship Id="rId7" Type="http://schemas.openxmlformats.org/officeDocument/2006/relationships/image" Target="../media/image67.png"/><Relationship Id="rId2" Type="http://schemas.openxmlformats.org/officeDocument/2006/relationships/notesSlide" Target="../notesSlides/notesSlide23.xml"/><Relationship Id="rId1" Type="http://schemas.openxmlformats.org/officeDocument/2006/relationships/slideLayout" Target="../slideLayouts/slideLayout31.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jp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5.xml"/></Relationships>
</file>

<file path=ppt/slides/_rels/slide2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5.xml"/><Relationship Id="rId1" Type="http://schemas.openxmlformats.org/officeDocument/2006/relationships/slideLayout" Target="../slideLayouts/slideLayout35.xml"/><Relationship Id="rId4" Type="http://schemas.openxmlformats.org/officeDocument/2006/relationships/image" Target="../media/image69.png"/></Relationships>
</file>

<file path=ppt/slides/_rels/slide2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6.xml"/><Relationship Id="rId1" Type="http://schemas.openxmlformats.org/officeDocument/2006/relationships/slideLayout" Target="../slideLayouts/slideLayout3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notesSlide" Target="../notesSlides/notesSlide28.xml"/><Relationship Id="rId1" Type="http://schemas.openxmlformats.org/officeDocument/2006/relationships/slideLayout" Target="../slideLayouts/slideLayout31.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29.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notesSlide" Target="../notesSlides/notesSlide29.xml"/><Relationship Id="rId1" Type="http://schemas.openxmlformats.org/officeDocument/2006/relationships/slideLayout" Target="../slideLayouts/slideLayout31.xml"/><Relationship Id="rId6" Type="http://schemas.openxmlformats.org/officeDocument/2006/relationships/image" Target="../media/image79.png"/><Relationship Id="rId11" Type="http://schemas.openxmlformats.org/officeDocument/2006/relationships/image" Target="../media/image84.png"/><Relationship Id="rId5" Type="http://schemas.openxmlformats.org/officeDocument/2006/relationships/image" Target="../media/image78.png"/><Relationship Id="rId10" Type="http://schemas.openxmlformats.org/officeDocument/2006/relationships/image" Target="../media/image83.png"/><Relationship Id="rId4" Type="http://schemas.openxmlformats.org/officeDocument/2006/relationships/image" Target="../media/image77.png"/><Relationship Id="rId9" Type="http://schemas.openxmlformats.org/officeDocument/2006/relationships/image" Target="../media/image8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notesSlide" Target="../notesSlides/notesSlide4.xml"/><Relationship Id="rId4" Type="http://schemas.openxmlformats.org/officeDocument/2006/relationships/tags" Target="../tags/tag5.xml"/><Relationship Id="rId9"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35.xml"/><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28.png"/><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27.png"/><Relationship Id="rId2" Type="http://schemas.openxmlformats.org/officeDocument/2006/relationships/tags" Target="../tags/tag11.xml"/><Relationship Id="rId16" Type="http://schemas.openxmlformats.org/officeDocument/2006/relationships/image" Target="../media/image31.png"/><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26.png"/><Relationship Id="rId5" Type="http://schemas.openxmlformats.org/officeDocument/2006/relationships/tags" Target="../tags/tag14.xml"/><Relationship Id="rId15" Type="http://schemas.openxmlformats.org/officeDocument/2006/relationships/image" Target="../media/image30.png"/><Relationship Id="rId10" Type="http://schemas.openxmlformats.org/officeDocument/2006/relationships/notesSlide" Target="../notesSlides/notesSlide6.xml"/><Relationship Id="rId4" Type="http://schemas.openxmlformats.org/officeDocument/2006/relationships/tags" Target="../tags/tag13.xml"/><Relationship Id="rId9" Type="http://schemas.openxmlformats.org/officeDocument/2006/relationships/slideLayout" Target="../slideLayouts/slideLayout42.xml"/><Relationship Id="rId14" Type="http://schemas.openxmlformats.org/officeDocument/2006/relationships/image" Target="../media/image29.png"/></Relationships>
</file>

<file path=ppt/slides/_rels/slide7.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image" Target="../media/image28.png"/><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image" Target="../media/image27.png"/><Relationship Id="rId2" Type="http://schemas.openxmlformats.org/officeDocument/2006/relationships/tags" Target="../tags/tag19.xml"/><Relationship Id="rId16" Type="http://schemas.openxmlformats.org/officeDocument/2006/relationships/image" Target="../media/image31.png"/><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image" Target="../media/image26.png"/><Relationship Id="rId5" Type="http://schemas.openxmlformats.org/officeDocument/2006/relationships/tags" Target="../tags/tag22.xml"/><Relationship Id="rId15" Type="http://schemas.openxmlformats.org/officeDocument/2006/relationships/image" Target="../media/image30.png"/><Relationship Id="rId10" Type="http://schemas.openxmlformats.org/officeDocument/2006/relationships/notesSlide" Target="../notesSlides/notesSlide7.xml"/><Relationship Id="rId4" Type="http://schemas.openxmlformats.org/officeDocument/2006/relationships/tags" Target="../tags/tag21.xml"/><Relationship Id="rId9" Type="http://schemas.openxmlformats.org/officeDocument/2006/relationships/slideLayout" Target="../slideLayouts/slideLayout42.xml"/><Relationship Id="rId14" Type="http://schemas.openxmlformats.org/officeDocument/2006/relationships/image" Target="../media/image29.png"/></Relationships>
</file>

<file path=ppt/slides/_rels/slide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42.xml"/><Relationship Id="rId6" Type="http://schemas.openxmlformats.org/officeDocument/2006/relationships/image" Target="../media/image35.emf"/><Relationship Id="rId5" Type="http://schemas.openxmlformats.org/officeDocument/2006/relationships/image" Target="../media/image34.png"/><Relationship Id="rId10" Type="http://schemas.openxmlformats.org/officeDocument/2006/relationships/image" Target="../media/image25.png"/><Relationship Id="rId4" Type="http://schemas.openxmlformats.org/officeDocument/2006/relationships/image" Target="../media/image33.png"/><Relationship Id="rId9" Type="http://schemas.openxmlformats.org/officeDocument/2006/relationships/image" Target="../media/image38.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6.xml"/><Relationship Id="rId1" Type="http://schemas.openxmlformats.org/officeDocument/2006/relationships/tags" Target="../tags/tag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ext Placeholder 4"/>
          <p:cNvSpPr>
            <a:spLocks noGrp="1"/>
          </p:cNvSpPr>
          <p:nvPr>
            <p:ph type="body" sz="quarter" idx="13"/>
          </p:nvPr>
        </p:nvSpPr>
        <p:spPr>
          <a:xfrm>
            <a:off x="0" y="1143000"/>
            <a:ext cx="6950075" cy="2286000"/>
          </a:xfrm>
          <a:solidFill>
            <a:schemeClr val="accent1">
              <a:alpha val="90195"/>
            </a:schemeClr>
          </a:solidFill>
        </p:spPr>
        <p:txBody>
          <a:bodyPr/>
          <a:lstStyle/>
          <a:p>
            <a:pPr>
              <a:spcBef>
                <a:spcPct val="0"/>
              </a:spcBef>
            </a:pPr>
            <a:r>
              <a:rPr lang="en-US" sz="4800" dirty="0">
                <a:solidFill>
                  <a:schemeClr val="tx1"/>
                </a:solidFill>
              </a:rPr>
              <a:t>Introduction to Cloud Business Analytics</a:t>
            </a:r>
            <a:endParaRPr lang="en-US" sz="4800" dirty="0"/>
          </a:p>
        </p:txBody>
      </p:sp>
      <p:sp>
        <p:nvSpPr>
          <p:cNvPr id="2" name="Slide Number Placeholder 1"/>
          <p:cNvSpPr>
            <a:spLocks noGrp="1"/>
          </p:cNvSpPr>
          <p:nvPr>
            <p:ph type="sldNum" sz="quarter" idx="19"/>
          </p:nvPr>
        </p:nvSpPr>
        <p:spPr/>
        <p:txBody>
          <a:bodyPr/>
          <a:lstStyle/>
          <a:p>
            <a:pPr>
              <a:defRPr/>
            </a:pPr>
            <a:fld id="{3D1B5734-3614-4DC6-A13F-4700EA017BC8}" type="slidenum">
              <a:rPr lang="en-US" smtClean="0"/>
              <a:pPr>
                <a:defRPr/>
              </a:pPr>
              <a:t>1</a:t>
            </a:fld>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1"/>
            </p:custDataLst>
          </p:nvPr>
        </p:nvSpPr>
        <p:spPr bwMode="auto">
          <a:xfrm>
            <a:off x="533400" y="2084362"/>
            <a:ext cx="11429739" cy="40597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8179" tIns="92119" rIns="138179" bIns="92119" numCol="1" spcCol="0" rtlCol="0" fromWordArt="0" anchor="ctr" anchorCtr="0" forceAA="0" compatLnSpc="1">
            <a:prstTxWarp prst="textNoShape">
              <a:avLst/>
            </a:prstTxWarp>
            <a:noAutofit/>
          </a:bodyPr>
          <a:lstStyle/>
          <a:p>
            <a:pPr>
              <a:defRPr/>
            </a:pPr>
            <a:r>
              <a:rPr lang="en-US" sz="2333" b="1" dirty="0">
                <a:solidFill>
                  <a:schemeClr val="tx1"/>
                </a:solidFill>
                <a:cs typeface="Segoe UI" panose="020B0502040204020203" pitchFamily="34" charset="0"/>
              </a:rPr>
              <a:t>FULLY MANAGED AND SUPPORTED</a:t>
            </a:r>
            <a:r>
              <a:rPr lang="en-US" sz="2333" dirty="0">
                <a:solidFill>
                  <a:schemeClr val="tx1"/>
                </a:solidFill>
                <a:cs typeface="Segoe UI" panose="020B0502040204020203" pitchFamily="34" charset="0"/>
              </a:rPr>
              <a:t> Hadoop, Spark, </a:t>
            </a:r>
            <a:r>
              <a:rPr lang="en-US" sz="2333" dirty="0" err="1">
                <a:solidFill>
                  <a:schemeClr val="tx1"/>
                </a:solidFill>
                <a:cs typeface="Segoe UI" panose="020B0502040204020203" pitchFamily="34" charset="0"/>
              </a:rPr>
              <a:t>HBase</a:t>
            </a:r>
            <a:r>
              <a:rPr lang="en-US" sz="2333" dirty="0">
                <a:solidFill>
                  <a:schemeClr val="tx1"/>
                </a:solidFill>
                <a:cs typeface="Segoe UI" panose="020B0502040204020203" pitchFamily="34" charset="0"/>
              </a:rPr>
              <a:t> and Storm</a:t>
            </a:r>
          </a:p>
          <a:p>
            <a:pPr>
              <a:defRPr/>
            </a:pPr>
            <a:endParaRPr lang="en-US" sz="2333" dirty="0">
              <a:solidFill>
                <a:schemeClr val="tx1"/>
              </a:solidFill>
              <a:cs typeface="Segoe UI" panose="020B0502040204020203" pitchFamily="34" charset="0"/>
            </a:endParaRPr>
          </a:p>
          <a:p>
            <a:pPr>
              <a:defRPr/>
            </a:pPr>
            <a:r>
              <a:rPr lang="en-US" sz="2333" dirty="0">
                <a:solidFill>
                  <a:schemeClr val="tx1"/>
                </a:solidFill>
                <a:cs typeface="Segoe UI" panose="020B0502040204020203" pitchFamily="34" charset="0"/>
              </a:rPr>
              <a:t>Available on </a:t>
            </a:r>
            <a:r>
              <a:rPr lang="en-US" sz="2333" b="1" dirty="0">
                <a:solidFill>
                  <a:schemeClr val="tx1"/>
                </a:solidFill>
                <a:cs typeface="Segoe UI" panose="020B0502040204020203" pitchFamily="34" charset="0"/>
              </a:rPr>
              <a:t>LINUX</a:t>
            </a:r>
            <a:r>
              <a:rPr lang="en-US" sz="2333" dirty="0">
                <a:solidFill>
                  <a:schemeClr val="tx1"/>
                </a:solidFill>
                <a:cs typeface="Segoe UI" panose="020B0502040204020203" pitchFamily="34" charset="0"/>
              </a:rPr>
              <a:t> and </a:t>
            </a:r>
            <a:r>
              <a:rPr lang="en-US" sz="2333" b="1" dirty="0">
                <a:solidFill>
                  <a:schemeClr val="tx1"/>
                </a:solidFill>
                <a:cs typeface="Segoe UI" panose="020B0502040204020203" pitchFamily="34" charset="0"/>
              </a:rPr>
              <a:t>WINDOWS</a:t>
            </a:r>
          </a:p>
          <a:p>
            <a:pPr>
              <a:defRPr/>
            </a:pPr>
            <a:endParaRPr lang="en-US" sz="2333" b="1" dirty="0">
              <a:solidFill>
                <a:schemeClr val="tx1"/>
              </a:solidFill>
              <a:cs typeface="Segoe UI" panose="020B0502040204020203" pitchFamily="34" charset="0"/>
            </a:endParaRPr>
          </a:p>
          <a:p>
            <a:pPr>
              <a:defRPr/>
            </a:pPr>
            <a:r>
              <a:rPr lang="en-US" sz="2333" dirty="0">
                <a:solidFill>
                  <a:schemeClr val="tx1"/>
                </a:solidFill>
                <a:cs typeface="Segoe UI" panose="020B0502040204020203" pitchFamily="34" charset="0"/>
              </a:rPr>
              <a:t>Works on </a:t>
            </a:r>
            <a:r>
              <a:rPr lang="en-US" sz="2333" b="1" dirty="0">
                <a:solidFill>
                  <a:schemeClr val="tx1"/>
                </a:solidFill>
                <a:cs typeface="Segoe UI" panose="020B0502040204020203" pitchFamily="34" charset="0"/>
              </a:rPr>
              <a:t>AZURE STORAGE</a:t>
            </a:r>
            <a:r>
              <a:rPr lang="en-US" sz="2333" dirty="0">
                <a:solidFill>
                  <a:schemeClr val="tx1"/>
                </a:solidFill>
                <a:cs typeface="Segoe UI" panose="020B0502040204020203" pitchFamily="34" charset="0"/>
              </a:rPr>
              <a:t> or </a:t>
            </a:r>
            <a:r>
              <a:rPr lang="en-US" sz="2333" b="1" dirty="0">
                <a:solidFill>
                  <a:schemeClr val="tx1"/>
                </a:solidFill>
                <a:cs typeface="Segoe UI" panose="020B0502040204020203" pitchFamily="34" charset="0"/>
              </a:rPr>
              <a:t>DATA LAKE STORE</a:t>
            </a:r>
          </a:p>
          <a:p>
            <a:pPr>
              <a:defRPr/>
            </a:pPr>
            <a:endParaRPr lang="en-US" sz="2333" dirty="0">
              <a:solidFill>
                <a:schemeClr val="tx1"/>
              </a:solidFill>
              <a:cs typeface="Segoe UI" panose="020B0502040204020203" pitchFamily="34" charset="0"/>
            </a:endParaRPr>
          </a:p>
          <a:p>
            <a:pPr>
              <a:defRPr/>
            </a:pPr>
            <a:r>
              <a:rPr lang="en-US" sz="2333" b="1" dirty="0">
                <a:solidFill>
                  <a:schemeClr val="tx1"/>
                </a:solidFill>
                <a:cs typeface="Segoe UI" panose="020B0502040204020203" pitchFamily="34" charset="0"/>
              </a:rPr>
              <a:t>100% OPEN SOURCE </a:t>
            </a:r>
            <a:r>
              <a:rPr lang="en-US" sz="2333" dirty="0">
                <a:solidFill>
                  <a:schemeClr val="tx1"/>
                </a:solidFill>
                <a:cs typeface="Segoe UI" panose="020B0502040204020203" pitchFamily="34" charset="0"/>
              </a:rPr>
              <a:t>Apache Hadoop (HDP 2.3)</a:t>
            </a:r>
          </a:p>
          <a:p>
            <a:pPr>
              <a:defRPr/>
            </a:pPr>
            <a:endParaRPr lang="en-US" sz="2333" dirty="0">
              <a:solidFill>
                <a:schemeClr val="tx1"/>
              </a:solidFill>
              <a:cs typeface="Segoe UI" panose="020B0502040204020203" pitchFamily="34" charset="0"/>
            </a:endParaRPr>
          </a:p>
          <a:p>
            <a:pPr>
              <a:defRPr/>
            </a:pPr>
            <a:r>
              <a:rPr lang="en-US" sz="2333" dirty="0">
                <a:solidFill>
                  <a:schemeClr val="tx1"/>
                </a:solidFill>
                <a:cs typeface="Segoe UI" panose="020B0502040204020203" pitchFamily="34" charset="0"/>
              </a:rPr>
              <a:t>Clusters up and </a:t>
            </a:r>
            <a:r>
              <a:rPr lang="en-US" sz="2333" b="1" dirty="0">
                <a:solidFill>
                  <a:schemeClr val="tx1"/>
                </a:solidFill>
                <a:cs typeface="Segoe UI" panose="020B0502040204020203" pitchFamily="34" charset="0"/>
              </a:rPr>
              <a:t>RUNNING IN MINUTES</a:t>
            </a:r>
          </a:p>
          <a:p>
            <a:pPr>
              <a:defRPr/>
            </a:pPr>
            <a:endParaRPr lang="en-US" sz="2333" b="1" dirty="0">
              <a:solidFill>
                <a:schemeClr val="tx1"/>
              </a:solidFill>
              <a:cs typeface="Segoe UI" panose="020B0502040204020203" pitchFamily="34" charset="0"/>
            </a:endParaRPr>
          </a:p>
          <a:p>
            <a:pPr>
              <a:defRPr/>
            </a:pPr>
            <a:r>
              <a:rPr lang="en-US" sz="2333" dirty="0">
                <a:solidFill>
                  <a:schemeClr val="tx1"/>
                </a:solidFill>
                <a:cs typeface="Segoe UI" panose="020B0502040204020203" pitchFamily="34" charset="0"/>
              </a:rPr>
              <a:t>Use familiar </a:t>
            </a:r>
            <a:r>
              <a:rPr lang="en-US" sz="2333" b="1" dirty="0">
                <a:solidFill>
                  <a:schemeClr val="tx1"/>
                </a:solidFill>
                <a:cs typeface="Segoe UI" panose="020B0502040204020203" pitchFamily="34" charset="0"/>
              </a:rPr>
              <a:t>BI TOOLS FOR ANALYSIS</a:t>
            </a:r>
            <a:r>
              <a:rPr lang="en-US" sz="2333" dirty="0">
                <a:solidFill>
                  <a:schemeClr val="tx1"/>
                </a:solidFill>
                <a:cs typeface="Segoe UI" panose="020B0502040204020203" pitchFamily="34" charset="0"/>
              </a:rPr>
              <a:t> like Excel</a:t>
            </a:r>
            <a:endParaRPr lang="en-US" sz="2333" b="1" dirty="0">
              <a:solidFill>
                <a:schemeClr val="tx1"/>
              </a:solidFill>
              <a:cs typeface="Segoe UI" panose="020B0502040204020203" pitchFamily="34" charset="0"/>
            </a:endParaRPr>
          </a:p>
        </p:txBody>
      </p:sp>
      <p:sp>
        <p:nvSpPr>
          <p:cNvPr id="15" name="Title 1"/>
          <p:cNvSpPr txBox="1">
            <a:spLocks/>
          </p:cNvSpPr>
          <p:nvPr/>
        </p:nvSpPr>
        <p:spPr>
          <a:xfrm>
            <a:off x="533400" y="451248"/>
            <a:ext cx="4442069" cy="1148951"/>
          </a:xfrm>
          <a:prstGeom prst="rect">
            <a:avLst/>
          </a:prstGeom>
        </p:spPr>
        <p:txBody>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a:defRPr/>
            </a:pPr>
            <a:r>
              <a:rPr lang="en-US" sz="4999" spc="-124" dirty="0">
                <a:solidFill>
                  <a:srgbClr val="0070C0"/>
                </a:solidFill>
              </a:rPr>
              <a:t>Azure HDInsight</a:t>
            </a:r>
          </a:p>
          <a:p>
            <a:pPr>
              <a:defRPr/>
            </a:pPr>
            <a:r>
              <a:rPr lang="en-US" sz="2400" spc="-124" dirty="0"/>
              <a:t>Hadoop as a Service on Azure</a:t>
            </a:r>
          </a:p>
        </p:txBody>
      </p:sp>
      <p:grpSp>
        <p:nvGrpSpPr>
          <p:cNvPr id="8" name="Group 7"/>
          <p:cNvGrpSpPr/>
          <p:nvPr/>
        </p:nvGrpSpPr>
        <p:grpSpPr>
          <a:xfrm>
            <a:off x="10520975" y="143665"/>
            <a:ext cx="1539173" cy="1118975"/>
            <a:chOff x="3365500" y="4116388"/>
            <a:chExt cx="1570037" cy="1141413"/>
          </a:xfrm>
          <a:solidFill>
            <a:srgbClr val="00B0F0"/>
          </a:solidFill>
        </p:grpSpPr>
        <p:sp>
          <p:nvSpPr>
            <p:cNvPr id="9" name="Freeform 49"/>
            <p:cNvSpPr>
              <a:spLocks noEditPoints="1"/>
            </p:cNvSpPr>
            <p:nvPr/>
          </p:nvSpPr>
          <p:spPr bwMode="auto">
            <a:xfrm>
              <a:off x="3365500" y="4116388"/>
              <a:ext cx="1570037" cy="1141413"/>
            </a:xfrm>
            <a:custGeom>
              <a:avLst/>
              <a:gdLst>
                <a:gd name="T0" fmla="*/ 6137 w 14832"/>
                <a:gd name="T1" fmla="*/ 8965 h 10783"/>
                <a:gd name="T2" fmla="*/ 5781 w 14832"/>
                <a:gd name="T3" fmla="*/ 8730 h 10783"/>
                <a:gd name="T4" fmla="*/ 4083 w 14832"/>
                <a:gd name="T5" fmla="*/ 8216 h 10783"/>
                <a:gd name="T6" fmla="*/ 3755 w 14832"/>
                <a:gd name="T7" fmla="*/ 9972 h 10783"/>
                <a:gd name="T8" fmla="*/ 2687 w 14832"/>
                <a:gd name="T9" fmla="*/ 10607 h 10783"/>
                <a:gd name="T10" fmla="*/ 2102 w 14832"/>
                <a:gd name="T11" fmla="*/ 9104 h 10783"/>
                <a:gd name="T12" fmla="*/ 1235 w 14832"/>
                <a:gd name="T13" fmla="*/ 7273 h 10783"/>
                <a:gd name="T14" fmla="*/ 1127 w 14832"/>
                <a:gd name="T15" fmla="*/ 5308 h 10783"/>
                <a:gd name="T16" fmla="*/ 149 w 14832"/>
                <a:gd name="T17" fmla="*/ 4605 h 10783"/>
                <a:gd name="T18" fmla="*/ 474 w 14832"/>
                <a:gd name="T19" fmla="*/ 3575 h 10783"/>
                <a:gd name="T20" fmla="*/ 555 w 14832"/>
                <a:gd name="T21" fmla="*/ 4279 h 10783"/>
                <a:gd name="T22" fmla="*/ 802 w 14832"/>
                <a:gd name="T23" fmla="*/ 4830 h 10783"/>
                <a:gd name="T24" fmla="*/ 3031 w 14832"/>
                <a:gd name="T25" fmla="*/ 2802 h 10783"/>
                <a:gd name="T26" fmla="*/ 4406 w 14832"/>
                <a:gd name="T27" fmla="*/ 2558 h 10783"/>
                <a:gd name="T28" fmla="*/ 3081 w 14832"/>
                <a:gd name="T29" fmla="*/ 4642 h 10783"/>
                <a:gd name="T30" fmla="*/ 3562 w 14832"/>
                <a:gd name="T31" fmla="*/ 6571 h 10783"/>
                <a:gd name="T32" fmla="*/ 5629 w 14832"/>
                <a:gd name="T33" fmla="*/ 7092 h 10783"/>
                <a:gd name="T34" fmla="*/ 7380 w 14832"/>
                <a:gd name="T35" fmla="*/ 6723 h 10783"/>
                <a:gd name="T36" fmla="*/ 7361 w 14832"/>
                <a:gd name="T37" fmla="*/ 3984 h 10783"/>
                <a:gd name="T38" fmla="*/ 7094 w 14832"/>
                <a:gd name="T39" fmla="*/ 4285 h 10783"/>
                <a:gd name="T40" fmla="*/ 6987 w 14832"/>
                <a:gd name="T41" fmla="*/ 6290 h 10783"/>
                <a:gd name="T42" fmla="*/ 4952 w 14832"/>
                <a:gd name="T43" fmla="*/ 6982 h 10783"/>
                <a:gd name="T44" fmla="*/ 4056 w 14832"/>
                <a:gd name="T45" fmla="*/ 5494 h 10783"/>
                <a:gd name="T46" fmla="*/ 3995 w 14832"/>
                <a:gd name="T47" fmla="*/ 3516 h 10783"/>
                <a:gd name="T48" fmla="*/ 7034 w 14832"/>
                <a:gd name="T49" fmla="*/ 1324 h 10783"/>
                <a:gd name="T50" fmla="*/ 6734 w 14832"/>
                <a:gd name="T51" fmla="*/ 796 h 10783"/>
                <a:gd name="T52" fmla="*/ 9460 w 14832"/>
                <a:gd name="T53" fmla="*/ 64 h 10783"/>
                <a:gd name="T54" fmla="*/ 10600 w 14832"/>
                <a:gd name="T55" fmla="*/ 1459 h 10783"/>
                <a:gd name="T56" fmla="*/ 11843 w 14832"/>
                <a:gd name="T57" fmla="*/ 2300 h 10783"/>
                <a:gd name="T58" fmla="*/ 11532 w 14832"/>
                <a:gd name="T59" fmla="*/ 2526 h 10783"/>
                <a:gd name="T60" fmla="*/ 11978 w 14832"/>
                <a:gd name="T61" fmla="*/ 2994 h 10783"/>
                <a:gd name="T62" fmla="*/ 12447 w 14832"/>
                <a:gd name="T63" fmla="*/ 3355 h 10783"/>
                <a:gd name="T64" fmla="*/ 12276 w 14832"/>
                <a:gd name="T65" fmla="*/ 4544 h 10783"/>
                <a:gd name="T66" fmla="*/ 12767 w 14832"/>
                <a:gd name="T67" fmla="*/ 2092 h 10783"/>
                <a:gd name="T68" fmla="*/ 13588 w 14832"/>
                <a:gd name="T69" fmla="*/ 903 h 10783"/>
                <a:gd name="T70" fmla="*/ 14461 w 14832"/>
                <a:gd name="T71" fmla="*/ 947 h 10783"/>
                <a:gd name="T72" fmla="*/ 14687 w 14832"/>
                <a:gd name="T73" fmla="*/ 4434 h 10783"/>
                <a:gd name="T74" fmla="*/ 12655 w 14832"/>
                <a:gd name="T75" fmla="*/ 6662 h 10783"/>
                <a:gd name="T76" fmla="*/ 10066 w 14832"/>
                <a:gd name="T77" fmla="*/ 5712 h 10783"/>
                <a:gd name="T78" fmla="*/ 9782 w 14832"/>
                <a:gd name="T79" fmla="*/ 6353 h 10783"/>
                <a:gd name="T80" fmla="*/ 11061 w 14832"/>
                <a:gd name="T81" fmla="*/ 6977 h 10783"/>
                <a:gd name="T82" fmla="*/ 10590 w 14832"/>
                <a:gd name="T83" fmla="*/ 7698 h 10783"/>
                <a:gd name="T84" fmla="*/ 8473 w 14832"/>
                <a:gd name="T85" fmla="*/ 6622 h 10783"/>
                <a:gd name="T86" fmla="*/ 8937 w 14832"/>
                <a:gd name="T87" fmla="*/ 7279 h 10783"/>
                <a:gd name="T88" fmla="*/ 8191 w 14832"/>
                <a:gd name="T89" fmla="*/ 9163 h 10783"/>
                <a:gd name="T90" fmla="*/ 6136 w 14832"/>
                <a:gd name="T91" fmla="*/ 10756 h 10783"/>
                <a:gd name="T92" fmla="*/ 10735 w 14832"/>
                <a:gd name="T93" fmla="*/ 3102 h 10783"/>
                <a:gd name="T94" fmla="*/ 10340 w 14832"/>
                <a:gd name="T95" fmla="*/ 3073 h 10783"/>
                <a:gd name="T96" fmla="*/ 10320 w 14832"/>
                <a:gd name="T97" fmla="*/ 2657 h 10783"/>
                <a:gd name="T98" fmla="*/ 9155 w 14832"/>
                <a:gd name="T99" fmla="*/ 3323 h 10783"/>
                <a:gd name="T100" fmla="*/ 9337 w 14832"/>
                <a:gd name="T101" fmla="*/ 3385 h 10783"/>
                <a:gd name="T102" fmla="*/ 9442 w 14832"/>
                <a:gd name="T103" fmla="*/ 4031 h 10783"/>
                <a:gd name="T104" fmla="*/ 6076 w 14832"/>
                <a:gd name="T105" fmla="*/ 2490 h 10783"/>
                <a:gd name="T106" fmla="*/ 6189 w 14832"/>
                <a:gd name="T107" fmla="*/ 3093 h 10783"/>
                <a:gd name="T108" fmla="*/ 7467 w 14832"/>
                <a:gd name="T109" fmla="*/ 1842 h 10783"/>
                <a:gd name="T110" fmla="*/ 6249 w 14832"/>
                <a:gd name="T111" fmla="*/ 2025 h 10783"/>
                <a:gd name="T112" fmla="*/ 5392 w 14832"/>
                <a:gd name="T113" fmla="*/ 3950 h 10783"/>
                <a:gd name="T114" fmla="*/ 9358 w 14832"/>
                <a:gd name="T115" fmla="*/ 1916 h 10783"/>
                <a:gd name="T116" fmla="*/ 8711 w 14832"/>
                <a:gd name="T117" fmla="*/ 1875 h 10783"/>
                <a:gd name="T118" fmla="*/ 8633 w 14832"/>
                <a:gd name="T119" fmla="*/ 2505 h 10783"/>
                <a:gd name="T120" fmla="*/ 13968 w 14832"/>
                <a:gd name="T121" fmla="*/ 680 h 10783"/>
                <a:gd name="T122" fmla="*/ 12994 w 14832"/>
                <a:gd name="T123" fmla="*/ 1432 h 10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32" h="10783">
                  <a:moveTo>
                    <a:pt x="5570" y="10190"/>
                  </a:moveTo>
                  <a:lnTo>
                    <a:pt x="5549" y="10163"/>
                  </a:lnTo>
                  <a:lnTo>
                    <a:pt x="5529" y="10136"/>
                  </a:lnTo>
                  <a:lnTo>
                    <a:pt x="5510" y="10110"/>
                  </a:lnTo>
                  <a:lnTo>
                    <a:pt x="5491" y="10084"/>
                  </a:lnTo>
                  <a:lnTo>
                    <a:pt x="5458" y="10035"/>
                  </a:lnTo>
                  <a:lnTo>
                    <a:pt x="5429" y="9987"/>
                  </a:lnTo>
                  <a:lnTo>
                    <a:pt x="5403" y="9943"/>
                  </a:lnTo>
                  <a:lnTo>
                    <a:pt x="5381" y="9901"/>
                  </a:lnTo>
                  <a:lnTo>
                    <a:pt x="5363" y="9860"/>
                  </a:lnTo>
                  <a:lnTo>
                    <a:pt x="5347" y="9822"/>
                  </a:lnTo>
                  <a:lnTo>
                    <a:pt x="5335" y="9784"/>
                  </a:lnTo>
                  <a:lnTo>
                    <a:pt x="5327" y="9749"/>
                  </a:lnTo>
                  <a:lnTo>
                    <a:pt x="5321" y="9716"/>
                  </a:lnTo>
                  <a:lnTo>
                    <a:pt x="5317" y="9686"/>
                  </a:lnTo>
                  <a:lnTo>
                    <a:pt x="5316" y="9656"/>
                  </a:lnTo>
                  <a:lnTo>
                    <a:pt x="5319" y="9627"/>
                  </a:lnTo>
                  <a:lnTo>
                    <a:pt x="5323" y="9600"/>
                  </a:lnTo>
                  <a:lnTo>
                    <a:pt x="5329" y="9575"/>
                  </a:lnTo>
                  <a:lnTo>
                    <a:pt x="5337" y="9551"/>
                  </a:lnTo>
                  <a:lnTo>
                    <a:pt x="5347" y="9528"/>
                  </a:lnTo>
                  <a:lnTo>
                    <a:pt x="5360" y="9505"/>
                  </a:lnTo>
                  <a:lnTo>
                    <a:pt x="5373" y="9485"/>
                  </a:lnTo>
                  <a:lnTo>
                    <a:pt x="5388" y="9465"/>
                  </a:lnTo>
                  <a:lnTo>
                    <a:pt x="5404" y="9447"/>
                  </a:lnTo>
                  <a:lnTo>
                    <a:pt x="5421" y="9428"/>
                  </a:lnTo>
                  <a:lnTo>
                    <a:pt x="5439" y="9411"/>
                  </a:lnTo>
                  <a:lnTo>
                    <a:pt x="5479" y="9378"/>
                  </a:lnTo>
                  <a:lnTo>
                    <a:pt x="5519" y="9346"/>
                  </a:lnTo>
                  <a:lnTo>
                    <a:pt x="5561" y="9316"/>
                  </a:lnTo>
                  <a:lnTo>
                    <a:pt x="5602" y="9287"/>
                  </a:lnTo>
                  <a:lnTo>
                    <a:pt x="5685" y="9242"/>
                  </a:lnTo>
                  <a:lnTo>
                    <a:pt x="5769" y="9198"/>
                  </a:lnTo>
                  <a:lnTo>
                    <a:pt x="5809" y="9178"/>
                  </a:lnTo>
                  <a:lnTo>
                    <a:pt x="5849" y="9158"/>
                  </a:lnTo>
                  <a:lnTo>
                    <a:pt x="5888" y="9139"/>
                  </a:lnTo>
                  <a:lnTo>
                    <a:pt x="5926" y="9119"/>
                  </a:lnTo>
                  <a:lnTo>
                    <a:pt x="5961" y="9101"/>
                  </a:lnTo>
                  <a:lnTo>
                    <a:pt x="5995" y="9082"/>
                  </a:lnTo>
                  <a:lnTo>
                    <a:pt x="6026" y="9063"/>
                  </a:lnTo>
                  <a:lnTo>
                    <a:pt x="6054" y="9046"/>
                  </a:lnTo>
                  <a:lnTo>
                    <a:pt x="6078" y="9027"/>
                  </a:lnTo>
                  <a:lnTo>
                    <a:pt x="6100" y="9010"/>
                  </a:lnTo>
                  <a:lnTo>
                    <a:pt x="6119" y="8992"/>
                  </a:lnTo>
                  <a:lnTo>
                    <a:pt x="6126" y="8984"/>
                  </a:lnTo>
                  <a:lnTo>
                    <a:pt x="6132" y="8975"/>
                  </a:lnTo>
                  <a:lnTo>
                    <a:pt x="6137" y="8965"/>
                  </a:lnTo>
                  <a:lnTo>
                    <a:pt x="6142" y="8952"/>
                  </a:lnTo>
                  <a:lnTo>
                    <a:pt x="6147" y="8937"/>
                  </a:lnTo>
                  <a:lnTo>
                    <a:pt x="6152" y="8919"/>
                  </a:lnTo>
                  <a:lnTo>
                    <a:pt x="6155" y="8901"/>
                  </a:lnTo>
                  <a:lnTo>
                    <a:pt x="6158" y="8879"/>
                  </a:lnTo>
                  <a:lnTo>
                    <a:pt x="6161" y="8855"/>
                  </a:lnTo>
                  <a:lnTo>
                    <a:pt x="6163" y="8832"/>
                  </a:lnTo>
                  <a:lnTo>
                    <a:pt x="6165" y="8805"/>
                  </a:lnTo>
                  <a:lnTo>
                    <a:pt x="6167" y="8778"/>
                  </a:lnTo>
                  <a:lnTo>
                    <a:pt x="6168" y="8749"/>
                  </a:lnTo>
                  <a:lnTo>
                    <a:pt x="6169" y="8720"/>
                  </a:lnTo>
                  <a:lnTo>
                    <a:pt x="6170" y="8660"/>
                  </a:lnTo>
                  <a:lnTo>
                    <a:pt x="6171" y="8597"/>
                  </a:lnTo>
                  <a:lnTo>
                    <a:pt x="6170" y="8534"/>
                  </a:lnTo>
                  <a:lnTo>
                    <a:pt x="6169" y="8472"/>
                  </a:lnTo>
                  <a:lnTo>
                    <a:pt x="6168" y="8413"/>
                  </a:lnTo>
                  <a:lnTo>
                    <a:pt x="6167" y="8385"/>
                  </a:lnTo>
                  <a:lnTo>
                    <a:pt x="6167" y="8357"/>
                  </a:lnTo>
                  <a:lnTo>
                    <a:pt x="6166" y="8331"/>
                  </a:lnTo>
                  <a:lnTo>
                    <a:pt x="6165" y="8306"/>
                  </a:lnTo>
                  <a:lnTo>
                    <a:pt x="6165" y="8283"/>
                  </a:lnTo>
                  <a:lnTo>
                    <a:pt x="6164" y="8262"/>
                  </a:lnTo>
                  <a:lnTo>
                    <a:pt x="6164" y="8241"/>
                  </a:lnTo>
                  <a:lnTo>
                    <a:pt x="6163" y="8224"/>
                  </a:lnTo>
                  <a:lnTo>
                    <a:pt x="6163" y="8210"/>
                  </a:lnTo>
                  <a:lnTo>
                    <a:pt x="6163" y="8196"/>
                  </a:lnTo>
                  <a:lnTo>
                    <a:pt x="6160" y="8220"/>
                  </a:lnTo>
                  <a:lnTo>
                    <a:pt x="6155" y="8245"/>
                  </a:lnTo>
                  <a:lnTo>
                    <a:pt x="6150" y="8270"/>
                  </a:lnTo>
                  <a:lnTo>
                    <a:pt x="6142" y="8296"/>
                  </a:lnTo>
                  <a:lnTo>
                    <a:pt x="6134" y="8322"/>
                  </a:lnTo>
                  <a:lnTo>
                    <a:pt x="6124" y="8349"/>
                  </a:lnTo>
                  <a:lnTo>
                    <a:pt x="6112" y="8376"/>
                  </a:lnTo>
                  <a:lnTo>
                    <a:pt x="6100" y="8403"/>
                  </a:lnTo>
                  <a:lnTo>
                    <a:pt x="6087" y="8431"/>
                  </a:lnTo>
                  <a:lnTo>
                    <a:pt x="6070" y="8459"/>
                  </a:lnTo>
                  <a:lnTo>
                    <a:pt x="6054" y="8486"/>
                  </a:lnTo>
                  <a:lnTo>
                    <a:pt x="6034" y="8512"/>
                  </a:lnTo>
                  <a:lnTo>
                    <a:pt x="6013" y="8539"/>
                  </a:lnTo>
                  <a:lnTo>
                    <a:pt x="5992" y="8566"/>
                  </a:lnTo>
                  <a:lnTo>
                    <a:pt x="5967" y="8592"/>
                  </a:lnTo>
                  <a:lnTo>
                    <a:pt x="5941" y="8616"/>
                  </a:lnTo>
                  <a:lnTo>
                    <a:pt x="5913" y="8641"/>
                  </a:lnTo>
                  <a:lnTo>
                    <a:pt x="5883" y="8665"/>
                  </a:lnTo>
                  <a:lnTo>
                    <a:pt x="5851" y="8687"/>
                  </a:lnTo>
                  <a:lnTo>
                    <a:pt x="5817" y="8709"/>
                  </a:lnTo>
                  <a:lnTo>
                    <a:pt x="5781" y="8730"/>
                  </a:lnTo>
                  <a:lnTo>
                    <a:pt x="5742" y="8748"/>
                  </a:lnTo>
                  <a:lnTo>
                    <a:pt x="5702" y="8767"/>
                  </a:lnTo>
                  <a:lnTo>
                    <a:pt x="5659" y="8783"/>
                  </a:lnTo>
                  <a:lnTo>
                    <a:pt x="5614" y="8798"/>
                  </a:lnTo>
                  <a:lnTo>
                    <a:pt x="5566" y="8811"/>
                  </a:lnTo>
                  <a:lnTo>
                    <a:pt x="5516" y="8822"/>
                  </a:lnTo>
                  <a:lnTo>
                    <a:pt x="5463" y="8833"/>
                  </a:lnTo>
                  <a:lnTo>
                    <a:pt x="5408" y="8840"/>
                  </a:lnTo>
                  <a:lnTo>
                    <a:pt x="5351" y="8846"/>
                  </a:lnTo>
                  <a:lnTo>
                    <a:pt x="5291" y="8849"/>
                  </a:lnTo>
                  <a:lnTo>
                    <a:pt x="5228" y="8850"/>
                  </a:lnTo>
                  <a:lnTo>
                    <a:pt x="5166" y="8850"/>
                  </a:lnTo>
                  <a:lnTo>
                    <a:pt x="5088" y="8846"/>
                  </a:lnTo>
                  <a:lnTo>
                    <a:pt x="5015" y="8839"/>
                  </a:lnTo>
                  <a:lnTo>
                    <a:pt x="4945" y="8829"/>
                  </a:lnTo>
                  <a:lnTo>
                    <a:pt x="4879" y="8815"/>
                  </a:lnTo>
                  <a:lnTo>
                    <a:pt x="4816" y="8801"/>
                  </a:lnTo>
                  <a:lnTo>
                    <a:pt x="4755" y="8783"/>
                  </a:lnTo>
                  <a:lnTo>
                    <a:pt x="4698" y="8764"/>
                  </a:lnTo>
                  <a:lnTo>
                    <a:pt x="4644" y="8743"/>
                  </a:lnTo>
                  <a:lnTo>
                    <a:pt x="4594" y="8719"/>
                  </a:lnTo>
                  <a:lnTo>
                    <a:pt x="4546" y="8696"/>
                  </a:lnTo>
                  <a:lnTo>
                    <a:pt x="4501" y="8670"/>
                  </a:lnTo>
                  <a:lnTo>
                    <a:pt x="4459" y="8643"/>
                  </a:lnTo>
                  <a:lnTo>
                    <a:pt x="4419" y="8614"/>
                  </a:lnTo>
                  <a:lnTo>
                    <a:pt x="4382" y="8587"/>
                  </a:lnTo>
                  <a:lnTo>
                    <a:pt x="4348" y="8557"/>
                  </a:lnTo>
                  <a:lnTo>
                    <a:pt x="4316" y="8527"/>
                  </a:lnTo>
                  <a:lnTo>
                    <a:pt x="4287" y="8497"/>
                  </a:lnTo>
                  <a:lnTo>
                    <a:pt x="4259" y="8467"/>
                  </a:lnTo>
                  <a:lnTo>
                    <a:pt x="4235" y="8436"/>
                  </a:lnTo>
                  <a:lnTo>
                    <a:pt x="4212" y="8407"/>
                  </a:lnTo>
                  <a:lnTo>
                    <a:pt x="4191" y="8377"/>
                  </a:lnTo>
                  <a:lnTo>
                    <a:pt x="4172" y="8349"/>
                  </a:lnTo>
                  <a:lnTo>
                    <a:pt x="4155" y="8321"/>
                  </a:lnTo>
                  <a:lnTo>
                    <a:pt x="4140" y="8294"/>
                  </a:lnTo>
                  <a:lnTo>
                    <a:pt x="4126" y="8267"/>
                  </a:lnTo>
                  <a:lnTo>
                    <a:pt x="4115" y="8244"/>
                  </a:lnTo>
                  <a:lnTo>
                    <a:pt x="4105" y="8220"/>
                  </a:lnTo>
                  <a:lnTo>
                    <a:pt x="4096" y="8198"/>
                  </a:lnTo>
                  <a:lnTo>
                    <a:pt x="4089" y="8179"/>
                  </a:lnTo>
                  <a:lnTo>
                    <a:pt x="4083" y="8161"/>
                  </a:lnTo>
                  <a:lnTo>
                    <a:pt x="4078" y="8147"/>
                  </a:lnTo>
                  <a:lnTo>
                    <a:pt x="4075" y="8133"/>
                  </a:lnTo>
                  <a:lnTo>
                    <a:pt x="4078" y="8158"/>
                  </a:lnTo>
                  <a:lnTo>
                    <a:pt x="4080" y="8186"/>
                  </a:lnTo>
                  <a:lnTo>
                    <a:pt x="4083" y="8216"/>
                  </a:lnTo>
                  <a:lnTo>
                    <a:pt x="4085" y="8248"/>
                  </a:lnTo>
                  <a:lnTo>
                    <a:pt x="4087" y="8283"/>
                  </a:lnTo>
                  <a:lnTo>
                    <a:pt x="4089" y="8319"/>
                  </a:lnTo>
                  <a:lnTo>
                    <a:pt x="4090" y="8357"/>
                  </a:lnTo>
                  <a:lnTo>
                    <a:pt x="4092" y="8397"/>
                  </a:lnTo>
                  <a:lnTo>
                    <a:pt x="4093" y="8438"/>
                  </a:lnTo>
                  <a:lnTo>
                    <a:pt x="4094" y="8479"/>
                  </a:lnTo>
                  <a:lnTo>
                    <a:pt x="4096" y="8567"/>
                  </a:lnTo>
                  <a:lnTo>
                    <a:pt x="4097" y="8656"/>
                  </a:lnTo>
                  <a:lnTo>
                    <a:pt x="4098" y="8745"/>
                  </a:lnTo>
                  <a:lnTo>
                    <a:pt x="4097" y="8834"/>
                  </a:lnTo>
                  <a:lnTo>
                    <a:pt x="4097" y="8877"/>
                  </a:lnTo>
                  <a:lnTo>
                    <a:pt x="4096" y="8919"/>
                  </a:lnTo>
                  <a:lnTo>
                    <a:pt x="4095" y="8960"/>
                  </a:lnTo>
                  <a:lnTo>
                    <a:pt x="4094" y="9001"/>
                  </a:lnTo>
                  <a:lnTo>
                    <a:pt x="4093" y="9039"/>
                  </a:lnTo>
                  <a:lnTo>
                    <a:pt x="4092" y="9076"/>
                  </a:lnTo>
                  <a:lnTo>
                    <a:pt x="4090" y="9111"/>
                  </a:lnTo>
                  <a:lnTo>
                    <a:pt x="4089" y="9144"/>
                  </a:lnTo>
                  <a:lnTo>
                    <a:pt x="4087" y="9175"/>
                  </a:lnTo>
                  <a:lnTo>
                    <a:pt x="4085" y="9202"/>
                  </a:lnTo>
                  <a:lnTo>
                    <a:pt x="4083" y="9228"/>
                  </a:lnTo>
                  <a:lnTo>
                    <a:pt x="4080" y="9251"/>
                  </a:lnTo>
                  <a:lnTo>
                    <a:pt x="4078" y="9270"/>
                  </a:lnTo>
                  <a:lnTo>
                    <a:pt x="4075" y="9287"/>
                  </a:lnTo>
                  <a:lnTo>
                    <a:pt x="4071" y="9299"/>
                  </a:lnTo>
                  <a:lnTo>
                    <a:pt x="4066" y="9315"/>
                  </a:lnTo>
                  <a:lnTo>
                    <a:pt x="4060" y="9331"/>
                  </a:lnTo>
                  <a:lnTo>
                    <a:pt x="4052" y="9350"/>
                  </a:lnTo>
                  <a:lnTo>
                    <a:pt x="4044" y="9370"/>
                  </a:lnTo>
                  <a:lnTo>
                    <a:pt x="4034" y="9392"/>
                  </a:lnTo>
                  <a:lnTo>
                    <a:pt x="4024" y="9415"/>
                  </a:lnTo>
                  <a:lnTo>
                    <a:pt x="4013" y="9439"/>
                  </a:lnTo>
                  <a:lnTo>
                    <a:pt x="4000" y="9464"/>
                  </a:lnTo>
                  <a:lnTo>
                    <a:pt x="3988" y="9491"/>
                  </a:lnTo>
                  <a:lnTo>
                    <a:pt x="3961" y="9546"/>
                  </a:lnTo>
                  <a:lnTo>
                    <a:pt x="3932" y="9602"/>
                  </a:lnTo>
                  <a:lnTo>
                    <a:pt x="3903" y="9661"/>
                  </a:lnTo>
                  <a:lnTo>
                    <a:pt x="3874" y="9720"/>
                  </a:lnTo>
                  <a:lnTo>
                    <a:pt x="3845" y="9776"/>
                  </a:lnTo>
                  <a:lnTo>
                    <a:pt x="3819" y="9831"/>
                  </a:lnTo>
                  <a:lnTo>
                    <a:pt x="3806" y="9858"/>
                  </a:lnTo>
                  <a:lnTo>
                    <a:pt x="3794" y="9883"/>
                  </a:lnTo>
                  <a:lnTo>
                    <a:pt x="3782" y="9907"/>
                  </a:lnTo>
                  <a:lnTo>
                    <a:pt x="3772" y="9930"/>
                  </a:lnTo>
                  <a:lnTo>
                    <a:pt x="3763" y="9951"/>
                  </a:lnTo>
                  <a:lnTo>
                    <a:pt x="3755" y="9972"/>
                  </a:lnTo>
                  <a:lnTo>
                    <a:pt x="3746" y="9990"/>
                  </a:lnTo>
                  <a:lnTo>
                    <a:pt x="3740" y="10007"/>
                  </a:lnTo>
                  <a:lnTo>
                    <a:pt x="3736" y="10022"/>
                  </a:lnTo>
                  <a:lnTo>
                    <a:pt x="3732" y="10035"/>
                  </a:lnTo>
                  <a:lnTo>
                    <a:pt x="3729" y="10047"/>
                  </a:lnTo>
                  <a:lnTo>
                    <a:pt x="3727" y="10061"/>
                  </a:lnTo>
                  <a:lnTo>
                    <a:pt x="3726" y="10075"/>
                  </a:lnTo>
                  <a:lnTo>
                    <a:pt x="3724" y="10091"/>
                  </a:lnTo>
                  <a:lnTo>
                    <a:pt x="3722" y="10125"/>
                  </a:lnTo>
                  <a:lnTo>
                    <a:pt x="3720" y="10163"/>
                  </a:lnTo>
                  <a:lnTo>
                    <a:pt x="3719" y="10203"/>
                  </a:lnTo>
                  <a:lnTo>
                    <a:pt x="3718" y="10244"/>
                  </a:lnTo>
                  <a:lnTo>
                    <a:pt x="3716" y="10287"/>
                  </a:lnTo>
                  <a:lnTo>
                    <a:pt x="3712" y="10331"/>
                  </a:lnTo>
                  <a:lnTo>
                    <a:pt x="3707" y="10375"/>
                  </a:lnTo>
                  <a:lnTo>
                    <a:pt x="3699" y="10418"/>
                  </a:lnTo>
                  <a:lnTo>
                    <a:pt x="3688" y="10459"/>
                  </a:lnTo>
                  <a:lnTo>
                    <a:pt x="3675" y="10499"/>
                  </a:lnTo>
                  <a:lnTo>
                    <a:pt x="3667" y="10519"/>
                  </a:lnTo>
                  <a:lnTo>
                    <a:pt x="3658" y="10536"/>
                  </a:lnTo>
                  <a:lnTo>
                    <a:pt x="3646" y="10554"/>
                  </a:lnTo>
                  <a:lnTo>
                    <a:pt x="3635" y="10571"/>
                  </a:lnTo>
                  <a:lnTo>
                    <a:pt x="3622" y="10587"/>
                  </a:lnTo>
                  <a:lnTo>
                    <a:pt x="3608" y="10601"/>
                  </a:lnTo>
                  <a:lnTo>
                    <a:pt x="3592" y="10615"/>
                  </a:lnTo>
                  <a:lnTo>
                    <a:pt x="3576" y="10627"/>
                  </a:lnTo>
                  <a:lnTo>
                    <a:pt x="3564" y="10633"/>
                  </a:lnTo>
                  <a:lnTo>
                    <a:pt x="3550" y="10638"/>
                  </a:lnTo>
                  <a:lnTo>
                    <a:pt x="3535" y="10645"/>
                  </a:lnTo>
                  <a:lnTo>
                    <a:pt x="3518" y="10650"/>
                  </a:lnTo>
                  <a:lnTo>
                    <a:pt x="3501" y="10655"/>
                  </a:lnTo>
                  <a:lnTo>
                    <a:pt x="3481" y="10660"/>
                  </a:lnTo>
                  <a:lnTo>
                    <a:pt x="3461" y="10665"/>
                  </a:lnTo>
                  <a:lnTo>
                    <a:pt x="3440" y="10669"/>
                  </a:lnTo>
                  <a:lnTo>
                    <a:pt x="3417" y="10673"/>
                  </a:lnTo>
                  <a:lnTo>
                    <a:pt x="3394" y="10678"/>
                  </a:lnTo>
                  <a:lnTo>
                    <a:pt x="3344" y="10684"/>
                  </a:lnTo>
                  <a:lnTo>
                    <a:pt x="3290" y="10688"/>
                  </a:lnTo>
                  <a:lnTo>
                    <a:pt x="3233" y="10689"/>
                  </a:lnTo>
                  <a:lnTo>
                    <a:pt x="3168" y="10688"/>
                  </a:lnTo>
                  <a:lnTo>
                    <a:pt x="3102" y="10684"/>
                  </a:lnTo>
                  <a:lnTo>
                    <a:pt x="3035" y="10676"/>
                  </a:lnTo>
                  <a:lnTo>
                    <a:pt x="2966" y="10667"/>
                  </a:lnTo>
                  <a:lnTo>
                    <a:pt x="2897" y="10656"/>
                  </a:lnTo>
                  <a:lnTo>
                    <a:pt x="2828" y="10641"/>
                  </a:lnTo>
                  <a:lnTo>
                    <a:pt x="2757" y="10626"/>
                  </a:lnTo>
                  <a:lnTo>
                    <a:pt x="2687" y="10607"/>
                  </a:lnTo>
                  <a:lnTo>
                    <a:pt x="2617" y="10588"/>
                  </a:lnTo>
                  <a:lnTo>
                    <a:pt x="2547" y="10566"/>
                  </a:lnTo>
                  <a:lnTo>
                    <a:pt x="2478" y="10544"/>
                  </a:lnTo>
                  <a:lnTo>
                    <a:pt x="2408" y="10519"/>
                  </a:lnTo>
                  <a:lnTo>
                    <a:pt x="2340" y="10493"/>
                  </a:lnTo>
                  <a:lnTo>
                    <a:pt x="2273" y="10466"/>
                  </a:lnTo>
                  <a:lnTo>
                    <a:pt x="2207" y="10438"/>
                  </a:lnTo>
                  <a:lnTo>
                    <a:pt x="2142" y="10409"/>
                  </a:lnTo>
                  <a:lnTo>
                    <a:pt x="2119" y="10398"/>
                  </a:lnTo>
                  <a:lnTo>
                    <a:pt x="2095" y="10389"/>
                  </a:lnTo>
                  <a:lnTo>
                    <a:pt x="2068" y="10380"/>
                  </a:lnTo>
                  <a:lnTo>
                    <a:pt x="2041" y="10371"/>
                  </a:lnTo>
                  <a:lnTo>
                    <a:pt x="1986" y="10350"/>
                  </a:lnTo>
                  <a:lnTo>
                    <a:pt x="1959" y="10340"/>
                  </a:lnTo>
                  <a:lnTo>
                    <a:pt x="1935" y="10328"/>
                  </a:lnTo>
                  <a:lnTo>
                    <a:pt x="1910" y="10315"/>
                  </a:lnTo>
                  <a:lnTo>
                    <a:pt x="1888" y="10302"/>
                  </a:lnTo>
                  <a:lnTo>
                    <a:pt x="1869" y="10286"/>
                  </a:lnTo>
                  <a:lnTo>
                    <a:pt x="1852" y="10270"/>
                  </a:lnTo>
                  <a:lnTo>
                    <a:pt x="1839" y="10251"/>
                  </a:lnTo>
                  <a:lnTo>
                    <a:pt x="1833" y="10242"/>
                  </a:lnTo>
                  <a:lnTo>
                    <a:pt x="1828" y="10230"/>
                  </a:lnTo>
                  <a:lnTo>
                    <a:pt x="1825" y="10220"/>
                  </a:lnTo>
                  <a:lnTo>
                    <a:pt x="1823" y="10208"/>
                  </a:lnTo>
                  <a:lnTo>
                    <a:pt x="1823" y="10195"/>
                  </a:lnTo>
                  <a:lnTo>
                    <a:pt x="1823" y="10183"/>
                  </a:lnTo>
                  <a:lnTo>
                    <a:pt x="1826" y="10147"/>
                  </a:lnTo>
                  <a:lnTo>
                    <a:pt x="1831" y="10109"/>
                  </a:lnTo>
                  <a:lnTo>
                    <a:pt x="1838" y="10069"/>
                  </a:lnTo>
                  <a:lnTo>
                    <a:pt x="1845" y="10027"/>
                  </a:lnTo>
                  <a:lnTo>
                    <a:pt x="1853" y="9983"/>
                  </a:lnTo>
                  <a:lnTo>
                    <a:pt x="1862" y="9938"/>
                  </a:lnTo>
                  <a:lnTo>
                    <a:pt x="1873" y="9892"/>
                  </a:lnTo>
                  <a:lnTo>
                    <a:pt x="1883" y="9844"/>
                  </a:lnTo>
                  <a:lnTo>
                    <a:pt x="1908" y="9748"/>
                  </a:lnTo>
                  <a:lnTo>
                    <a:pt x="1934" y="9651"/>
                  </a:lnTo>
                  <a:lnTo>
                    <a:pt x="1961" y="9553"/>
                  </a:lnTo>
                  <a:lnTo>
                    <a:pt x="1989" y="9458"/>
                  </a:lnTo>
                  <a:lnTo>
                    <a:pt x="2003" y="9412"/>
                  </a:lnTo>
                  <a:lnTo>
                    <a:pt x="2017" y="9366"/>
                  </a:lnTo>
                  <a:lnTo>
                    <a:pt x="2031" y="9323"/>
                  </a:lnTo>
                  <a:lnTo>
                    <a:pt x="2044" y="9281"/>
                  </a:lnTo>
                  <a:lnTo>
                    <a:pt x="2056" y="9241"/>
                  </a:lnTo>
                  <a:lnTo>
                    <a:pt x="2069" y="9202"/>
                  </a:lnTo>
                  <a:lnTo>
                    <a:pt x="2081" y="9167"/>
                  </a:lnTo>
                  <a:lnTo>
                    <a:pt x="2091" y="9133"/>
                  </a:lnTo>
                  <a:lnTo>
                    <a:pt x="2102" y="9104"/>
                  </a:lnTo>
                  <a:lnTo>
                    <a:pt x="2112" y="9076"/>
                  </a:lnTo>
                  <a:lnTo>
                    <a:pt x="2120" y="9051"/>
                  </a:lnTo>
                  <a:lnTo>
                    <a:pt x="2128" y="9029"/>
                  </a:lnTo>
                  <a:lnTo>
                    <a:pt x="2134" y="9012"/>
                  </a:lnTo>
                  <a:lnTo>
                    <a:pt x="2139" y="8999"/>
                  </a:lnTo>
                  <a:lnTo>
                    <a:pt x="2140" y="8993"/>
                  </a:lnTo>
                  <a:lnTo>
                    <a:pt x="2142" y="8988"/>
                  </a:lnTo>
                  <a:lnTo>
                    <a:pt x="2143" y="8985"/>
                  </a:lnTo>
                  <a:lnTo>
                    <a:pt x="2144" y="8983"/>
                  </a:lnTo>
                  <a:lnTo>
                    <a:pt x="2144" y="8982"/>
                  </a:lnTo>
                  <a:lnTo>
                    <a:pt x="2142" y="8980"/>
                  </a:lnTo>
                  <a:lnTo>
                    <a:pt x="2140" y="8977"/>
                  </a:lnTo>
                  <a:lnTo>
                    <a:pt x="2137" y="8972"/>
                  </a:lnTo>
                  <a:lnTo>
                    <a:pt x="2133" y="8966"/>
                  </a:lnTo>
                  <a:lnTo>
                    <a:pt x="2128" y="8957"/>
                  </a:lnTo>
                  <a:lnTo>
                    <a:pt x="2122" y="8949"/>
                  </a:lnTo>
                  <a:lnTo>
                    <a:pt x="2115" y="8939"/>
                  </a:lnTo>
                  <a:lnTo>
                    <a:pt x="2108" y="8926"/>
                  </a:lnTo>
                  <a:lnTo>
                    <a:pt x="2100" y="8914"/>
                  </a:lnTo>
                  <a:lnTo>
                    <a:pt x="2091" y="8901"/>
                  </a:lnTo>
                  <a:lnTo>
                    <a:pt x="2082" y="8885"/>
                  </a:lnTo>
                  <a:lnTo>
                    <a:pt x="2072" y="8869"/>
                  </a:lnTo>
                  <a:lnTo>
                    <a:pt x="2061" y="8851"/>
                  </a:lnTo>
                  <a:lnTo>
                    <a:pt x="2049" y="8834"/>
                  </a:lnTo>
                  <a:lnTo>
                    <a:pt x="2037" y="8814"/>
                  </a:lnTo>
                  <a:lnTo>
                    <a:pt x="2011" y="8772"/>
                  </a:lnTo>
                  <a:lnTo>
                    <a:pt x="1983" y="8727"/>
                  </a:lnTo>
                  <a:lnTo>
                    <a:pt x="1953" y="8677"/>
                  </a:lnTo>
                  <a:lnTo>
                    <a:pt x="1922" y="8624"/>
                  </a:lnTo>
                  <a:lnTo>
                    <a:pt x="1888" y="8568"/>
                  </a:lnTo>
                  <a:lnTo>
                    <a:pt x="1854" y="8509"/>
                  </a:lnTo>
                  <a:lnTo>
                    <a:pt x="1818" y="8447"/>
                  </a:lnTo>
                  <a:lnTo>
                    <a:pt x="1781" y="8384"/>
                  </a:lnTo>
                  <a:lnTo>
                    <a:pt x="1744" y="8317"/>
                  </a:lnTo>
                  <a:lnTo>
                    <a:pt x="1704" y="8248"/>
                  </a:lnTo>
                  <a:lnTo>
                    <a:pt x="1666" y="8178"/>
                  </a:lnTo>
                  <a:lnTo>
                    <a:pt x="1627" y="8106"/>
                  </a:lnTo>
                  <a:lnTo>
                    <a:pt x="1588" y="8032"/>
                  </a:lnTo>
                  <a:lnTo>
                    <a:pt x="1548" y="7958"/>
                  </a:lnTo>
                  <a:lnTo>
                    <a:pt x="1472" y="7807"/>
                  </a:lnTo>
                  <a:lnTo>
                    <a:pt x="1435" y="7730"/>
                  </a:lnTo>
                  <a:lnTo>
                    <a:pt x="1398" y="7653"/>
                  </a:lnTo>
                  <a:lnTo>
                    <a:pt x="1363" y="7576"/>
                  </a:lnTo>
                  <a:lnTo>
                    <a:pt x="1329" y="7500"/>
                  </a:lnTo>
                  <a:lnTo>
                    <a:pt x="1296" y="7423"/>
                  </a:lnTo>
                  <a:lnTo>
                    <a:pt x="1265" y="7347"/>
                  </a:lnTo>
                  <a:lnTo>
                    <a:pt x="1235" y="7273"/>
                  </a:lnTo>
                  <a:lnTo>
                    <a:pt x="1208" y="7199"/>
                  </a:lnTo>
                  <a:lnTo>
                    <a:pt x="1183" y="7125"/>
                  </a:lnTo>
                  <a:lnTo>
                    <a:pt x="1161" y="7050"/>
                  </a:lnTo>
                  <a:lnTo>
                    <a:pt x="1142" y="6972"/>
                  </a:lnTo>
                  <a:lnTo>
                    <a:pt x="1124" y="6893"/>
                  </a:lnTo>
                  <a:lnTo>
                    <a:pt x="1110" y="6814"/>
                  </a:lnTo>
                  <a:lnTo>
                    <a:pt x="1097" y="6735"/>
                  </a:lnTo>
                  <a:lnTo>
                    <a:pt x="1088" y="6653"/>
                  </a:lnTo>
                  <a:lnTo>
                    <a:pt x="1080" y="6573"/>
                  </a:lnTo>
                  <a:lnTo>
                    <a:pt x="1074" y="6492"/>
                  </a:lnTo>
                  <a:lnTo>
                    <a:pt x="1068" y="6412"/>
                  </a:lnTo>
                  <a:lnTo>
                    <a:pt x="1066" y="6333"/>
                  </a:lnTo>
                  <a:lnTo>
                    <a:pt x="1064" y="6255"/>
                  </a:lnTo>
                  <a:lnTo>
                    <a:pt x="1064" y="6177"/>
                  </a:lnTo>
                  <a:lnTo>
                    <a:pt x="1065" y="6102"/>
                  </a:lnTo>
                  <a:lnTo>
                    <a:pt x="1067" y="6028"/>
                  </a:lnTo>
                  <a:lnTo>
                    <a:pt x="1072" y="5956"/>
                  </a:lnTo>
                  <a:lnTo>
                    <a:pt x="1075" y="5887"/>
                  </a:lnTo>
                  <a:lnTo>
                    <a:pt x="1080" y="5819"/>
                  </a:lnTo>
                  <a:lnTo>
                    <a:pt x="1085" y="5755"/>
                  </a:lnTo>
                  <a:lnTo>
                    <a:pt x="1091" y="5694"/>
                  </a:lnTo>
                  <a:lnTo>
                    <a:pt x="1096" y="5635"/>
                  </a:lnTo>
                  <a:lnTo>
                    <a:pt x="1103" y="5582"/>
                  </a:lnTo>
                  <a:lnTo>
                    <a:pt x="1106" y="5556"/>
                  </a:lnTo>
                  <a:lnTo>
                    <a:pt x="1109" y="5531"/>
                  </a:lnTo>
                  <a:lnTo>
                    <a:pt x="1112" y="5508"/>
                  </a:lnTo>
                  <a:lnTo>
                    <a:pt x="1115" y="5485"/>
                  </a:lnTo>
                  <a:lnTo>
                    <a:pt x="1118" y="5463"/>
                  </a:lnTo>
                  <a:lnTo>
                    <a:pt x="1121" y="5443"/>
                  </a:lnTo>
                  <a:lnTo>
                    <a:pt x="1124" y="5424"/>
                  </a:lnTo>
                  <a:lnTo>
                    <a:pt x="1126" y="5407"/>
                  </a:lnTo>
                  <a:lnTo>
                    <a:pt x="1129" y="5389"/>
                  </a:lnTo>
                  <a:lnTo>
                    <a:pt x="1131" y="5374"/>
                  </a:lnTo>
                  <a:lnTo>
                    <a:pt x="1133" y="5360"/>
                  </a:lnTo>
                  <a:lnTo>
                    <a:pt x="1136" y="5347"/>
                  </a:lnTo>
                  <a:lnTo>
                    <a:pt x="1138" y="5336"/>
                  </a:lnTo>
                  <a:lnTo>
                    <a:pt x="1140" y="5326"/>
                  </a:lnTo>
                  <a:lnTo>
                    <a:pt x="1141" y="5317"/>
                  </a:lnTo>
                  <a:lnTo>
                    <a:pt x="1143" y="5310"/>
                  </a:lnTo>
                  <a:lnTo>
                    <a:pt x="1144" y="5305"/>
                  </a:lnTo>
                  <a:lnTo>
                    <a:pt x="1144" y="5301"/>
                  </a:lnTo>
                  <a:lnTo>
                    <a:pt x="1145" y="5299"/>
                  </a:lnTo>
                  <a:lnTo>
                    <a:pt x="1145" y="5298"/>
                  </a:lnTo>
                  <a:lnTo>
                    <a:pt x="1144" y="5299"/>
                  </a:lnTo>
                  <a:lnTo>
                    <a:pt x="1141" y="5301"/>
                  </a:lnTo>
                  <a:lnTo>
                    <a:pt x="1136" y="5304"/>
                  </a:lnTo>
                  <a:lnTo>
                    <a:pt x="1127" y="5308"/>
                  </a:lnTo>
                  <a:lnTo>
                    <a:pt x="1118" y="5312"/>
                  </a:lnTo>
                  <a:lnTo>
                    <a:pt x="1106" y="5317"/>
                  </a:lnTo>
                  <a:lnTo>
                    <a:pt x="1091" y="5323"/>
                  </a:lnTo>
                  <a:lnTo>
                    <a:pt x="1075" y="5330"/>
                  </a:lnTo>
                  <a:lnTo>
                    <a:pt x="1056" y="5335"/>
                  </a:lnTo>
                  <a:lnTo>
                    <a:pt x="1035" y="5341"/>
                  </a:lnTo>
                  <a:lnTo>
                    <a:pt x="1013" y="5346"/>
                  </a:lnTo>
                  <a:lnTo>
                    <a:pt x="988" y="5351"/>
                  </a:lnTo>
                  <a:lnTo>
                    <a:pt x="960" y="5354"/>
                  </a:lnTo>
                  <a:lnTo>
                    <a:pt x="931" y="5357"/>
                  </a:lnTo>
                  <a:lnTo>
                    <a:pt x="899" y="5359"/>
                  </a:lnTo>
                  <a:lnTo>
                    <a:pt x="865" y="5360"/>
                  </a:lnTo>
                  <a:lnTo>
                    <a:pt x="829" y="5359"/>
                  </a:lnTo>
                  <a:lnTo>
                    <a:pt x="789" y="5355"/>
                  </a:lnTo>
                  <a:lnTo>
                    <a:pt x="746" y="5349"/>
                  </a:lnTo>
                  <a:lnTo>
                    <a:pt x="701" y="5341"/>
                  </a:lnTo>
                  <a:lnTo>
                    <a:pt x="652" y="5332"/>
                  </a:lnTo>
                  <a:lnTo>
                    <a:pt x="602" y="5320"/>
                  </a:lnTo>
                  <a:lnTo>
                    <a:pt x="547" y="5309"/>
                  </a:lnTo>
                  <a:lnTo>
                    <a:pt x="490" y="5298"/>
                  </a:lnTo>
                  <a:lnTo>
                    <a:pt x="459" y="5282"/>
                  </a:lnTo>
                  <a:lnTo>
                    <a:pt x="430" y="5264"/>
                  </a:lnTo>
                  <a:lnTo>
                    <a:pt x="403" y="5244"/>
                  </a:lnTo>
                  <a:lnTo>
                    <a:pt x="377" y="5222"/>
                  </a:lnTo>
                  <a:lnTo>
                    <a:pt x="353" y="5199"/>
                  </a:lnTo>
                  <a:lnTo>
                    <a:pt x="331" y="5174"/>
                  </a:lnTo>
                  <a:lnTo>
                    <a:pt x="311" y="5147"/>
                  </a:lnTo>
                  <a:lnTo>
                    <a:pt x="292" y="5120"/>
                  </a:lnTo>
                  <a:lnTo>
                    <a:pt x="275" y="5092"/>
                  </a:lnTo>
                  <a:lnTo>
                    <a:pt x="259" y="5063"/>
                  </a:lnTo>
                  <a:lnTo>
                    <a:pt x="245" y="5033"/>
                  </a:lnTo>
                  <a:lnTo>
                    <a:pt x="231" y="5002"/>
                  </a:lnTo>
                  <a:lnTo>
                    <a:pt x="220" y="4972"/>
                  </a:lnTo>
                  <a:lnTo>
                    <a:pt x="209" y="4941"/>
                  </a:lnTo>
                  <a:lnTo>
                    <a:pt x="199" y="4911"/>
                  </a:lnTo>
                  <a:lnTo>
                    <a:pt x="191" y="4880"/>
                  </a:lnTo>
                  <a:lnTo>
                    <a:pt x="177" y="4822"/>
                  </a:lnTo>
                  <a:lnTo>
                    <a:pt x="170" y="4794"/>
                  </a:lnTo>
                  <a:lnTo>
                    <a:pt x="166" y="4766"/>
                  </a:lnTo>
                  <a:lnTo>
                    <a:pt x="162" y="4740"/>
                  </a:lnTo>
                  <a:lnTo>
                    <a:pt x="158" y="4716"/>
                  </a:lnTo>
                  <a:lnTo>
                    <a:pt x="155" y="4692"/>
                  </a:lnTo>
                  <a:lnTo>
                    <a:pt x="153" y="4671"/>
                  </a:lnTo>
                  <a:lnTo>
                    <a:pt x="152" y="4651"/>
                  </a:lnTo>
                  <a:lnTo>
                    <a:pt x="150" y="4633"/>
                  </a:lnTo>
                  <a:lnTo>
                    <a:pt x="149" y="4618"/>
                  </a:lnTo>
                  <a:lnTo>
                    <a:pt x="149" y="4605"/>
                  </a:lnTo>
                  <a:lnTo>
                    <a:pt x="148" y="4595"/>
                  </a:lnTo>
                  <a:lnTo>
                    <a:pt x="148" y="4587"/>
                  </a:lnTo>
                  <a:lnTo>
                    <a:pt x="148" y="4583"/>
                  </a:lnTo>
                  <a:lnTo>
                    <a:pt x="148" y="4581"/>
                  </a:lnTo>
                  <a:lnTo>
                    <a:pt x="147" y="4581"/>
                  </a:lnTo>
                  <a:lnTo>
                    <a:pt x="146" y="4580"/>
                  </a:lnTo>
                  <a:lnTo>
                    <a:pt x="142" y="4578"/>
                  </a:lnTo>
                  <a:lnTo>
                    <a:pt x="138" y="4575"/>
                  </a:lnTo>
                  <a:lnTo>
                    <a:pt x="128" y="4567"/>
                  </a:lnTo>
                  <a:lnTo>
                    <a:pt x="115" y="4556"/>
                  </a:lnTo>
                  <a:lnTo>
                    <a:pt x="100" y="4542"/>
                  </a:lnTo>
                  <a:lnTo>
                    <a:pt x="84" y="4523"/>
                  </a:lnTo>
                  <a:lnTo>
                    <a:pt x="67" y="4501"/>
                  </a:lnTo>
                  <a:lnTo>
                    <a:pt x="51" y="4476"/>
                  </a:lnTo>
                  <a:lnTo>
                    <a:pt x="42" y="4461"/>
                  </a:lnTo>
                  <a:lnTo>
                    <a:pt x="35" y="4446"/>
                  </a:lnTo>
                  <a:lnTo>
                    <a:pt x="28" y="4429"/>
                  </a:lnTo>
                  <a:lnTo>
                    <a:pt x="22" y="4412"/>
                  </a:lnTo>
                  <a:lnTo>
                    <a:pt x="15" y="4393"/>
                  </a:lnTo>
                  <a:lnTo>
                    <a:pt x="11" y="4374"/>
                  </a:lnTo>
                  <a:lnTo>
                    <a:pt x="7" y="4353"/>
                  </a:lnTo>
                  <a:lnTo>
                    <a:pt x="3" y="4330"/>
                  </a:lnTo>
                  <a:lnTo>
                    <a:pt x="1" y="4308"/>
                  </a:lnTo>
                  <a:lnTo>
                    <a:pt x="0" y="4284"/>
                  </a:lnTo>
                  <a:lnTo>
                    <a:pt x="1" y="4258"/>
                  </a:lnTo>
                  <a:lnTo>
                    <a:pt x="2" y="4231"/>
                  </a:lnTo>
                  <a:lnTo>
                    <a:pt x="5" y="4204"/>
                  </a:lnTo>
                  <a:lnTo>
                    <a:pt x="9" y="4175"/>
                  </a:lnTo>
                  <a:lnTo>
                    <a:pt x="15" y="4145"/>
                  </a:lnTo>
                  <a:lnTo>
                    <a:pt x="24" y="4113"/>
                  </a:lnTo>
                  <a:lnTo>
                    <a:pt x="34" y="4081"/>
                  </a:lnTo>
                  <a:lnTo>
                    <a:pt x="46" y="4049"/>
                  </a:lnTo>
                  <a:lnTo>
                    <a:pt x="61" y="4018"/>
                  </a:lnTo>
                  <a:lnTo>
                    <a:pt x="77" y="3986"/>
                  </a:lnTo>
                  <a:lnTo>
                    <a:pt x="96" y="3956"/>
                  </a:lnTo>
                  <a:lnTo>
                    <a:pt x="116" y="3926"/>
                  </a:lnTo>
                  <a:lnTo>
                    <a:pt x="137" y="3896"/>
                  </a:lnTo>
                  <a:lnTo>
                    <a:pt x="160" y="3867"/>
                  </a:lnTo>
                  <a:lnTo>
                    <a:pt x="185" y="3838"/>
                  </a:lnTo>
                  <a:lnTo>
                    <a:pt x="210" y="3810"/>
                  </a:lnTo>
                  <a:lnTo>
                    <a:pt x="261" y="3756"/>
                  </a:lnTo>
                  <a:lnTo>
                    <a:pt x="316" y="3705"/>
                  </a:lnTo>
                  <a:lnTo>
                    <a:pt x="370" y="3658"/>
                  </a:lnTo>
                  <a:lnTo>
                    <a:pt x="396" y="3636"/>
                  </a:lnTo>
                  <a:lnTo>
                    <a:pt x="423" y="3615"/>
                  </a:lnTo>
                  <a:lnTo>
                    <a:pt x="449" y="3595"/>
                  </a:lnTo>
                  <a:lnTo>
                    <a:pt x="474" y="3575"/>
                  </a:lnTo>
                  <a:lnTo>
                    <a:pt x="498" y="3558"/>
                  </a:lnTo>
                  <a:lnTo>
                    <a:pt x="520" y="3541"/>
                  </a:lnTo>
                  <a:lnTo>
                    <a:pt x="542" y="3527"/>
                  </a:lnTo>
                  <a:lnTo>
                    <a:pt x="562" y="3514"/>
                  </a:lnTo>
                  <a:lnTo>
                    <a:pt x="580" y="3501"/>
                  </a:lnTo>
                  <a:lnTo>
                    <a:pt x="597" y="3490"/>
                  </a:lnTo>
                  <a:lnTo>
                    <a:pt x="611" y="3481"/>
                  </a:lnTo>
                  <a:lnTo>
                    <a:pt x="624" y="3473"/>
                  </a:lnTo>
                  <a:lnTo>
                    <a:pt x="633" y="3467"/>
                  </a:lnTo>
                  <a:lnTo>
                    <a:pt x="640" y="3463"/>
                  </a:lnTo>
                  <a:lnTo>
                    <a:pt x="645" y="3460"/>
                  </a:lnTo>
                  <a:lnTo>
                    <a:pt x="646" y="3459"/>
                  </a:lnTo>
                  <a:lnTo>
                    <a:pt x="646" y="3460"/>
                  </a:lnTo>
                  <a:lnTo>
                    <a:pt x="645" y="3462"/>
                  </a:lnTo>
                  <a:lnTo>
                    <a:pt x="643" y="3466"/>
                  </a:lnTo>
                  <a:lnTo>
                    <a:pt x="641" y="3472"/>
                  </a:lnTo>
                  <a:lnTo>
                    <a:pt x="638" y="3480"/>
                  </a:lnTo>
                  <a:lnTo>
                    <a:pt x="635" y="3488"/>
                  </a:lnTo>
                  <a:lnTo>
                    <a:pt x="632" y="3498"/>
                  </a:lnTo>
                  <a:lnTo>
                    <a:pt x="628" y="3510"/>
                  </a:lnTo>
                  <a:lnTo>
                    <a:pt x="624" y="3524"/>
                  </a:lnTo>
                  <a:lnTo>
                    <a:pt x="618" y="3538"/>
                  </a:lnTo>
                  <a:lnTo>
                    <a:pt x="613" y="3555"/>
                  </a:lnTo>
                  <a:lnTo>
                    <a:pt x="609" y="3572"/>
                  </a:lnTo>
                  <a:lnTo>
                    <a:pt x="604" y="3592"/>
                  </a:lnTo>
                  <a:lnTo>
                    <a:pt x="599" y="3612"/>
                  </a:lnTo>
                  <a:lnTo>
                    <a:pt x="594" y="3634"/>
                  </a:lnTo>
                  <a:lnTo>
                    <a:pt x="588" y="3658"/>
                  </a:lnTo>
                  <a:lnTo>
                    <a:pt x="583" y="3682"/>
                  </a:lnTo>
                  <a:lnTo>
                    <a:pt x="578" y="3708"/>
                  </a:lnTo>
                  <a:lnTo>
                    <a:pt x="574" y="3736"/>
                  </a:lnTo>
                  <a:lnTo>
                    <a:pt x="569" y="3765"/>
                  </a:lnTo>
                  <a:lnTo>
                    <a:pt x="565" y="3795"/>
                  </a:lnTo>
                  <a:lnTo>
                    <a:pt x="562" y="3826"/>
                  </a:lnTo>
                  <a:lnTo>
                    <a:pt x="557" y="3859"/>
                  </a:lnTo>
                  <a:lnTo>
                    <a:pt x="554" y="3893"/>
                  </a:lnTo>
                  <a:lnTo>
                    <a:pt x="552" y="3928"/>
                  </a:lnTo>
                  <a:lnTo>
                    <a:pt x="550" y="3964"/>
                  </a:lnTo>
                  <a:lnTo>
                    <a:pt x="549" y="4002"/>
                  </a:lnTo>
                  <a:lnTo>
                    <a:pt x="548" y="4040"/>
                  </a:lnTo>
                  <a:lnTo>
                    <a:pt x="548" y="4080"/>
                  </a:lnTo>
                  <a:lnTo>
                    <a:pt x="549" y="4121"/>
                  </a:lnTo>
                  <a:lnTo>
                    <a:pt x="551" y="4164"/>
                  </a:lnTo>
                  <a:lnTo>
                    <a:pt x="553" y="4207"/>
                  </a:lnTo>
                  <a:lnTo>
                    <a:pt x="555" y="4233"/>
                  </a:lnTo>
                  <a:lnTo>
                    <a:pt x="556" y="4256"/>
                  </a:lnTo>
                  <a:lnTo>
                    <a:pt x="555" y="4279"/>
                  </a:lnTo>
                  <a:lnTo>
                    <a:pt x="553" y="4301"/>
                  </a:lnTo>
                  <a:lnTo>
                    <a:pt x="549" y="4321"/>
                  </a:lnTo>
                  <a:lnTo>
                    <a:pt x="545" y="4340"/>
                  </a:lnTo>
                  <a:lnTo>
                    <a:pt x="539" y="4357"/>
                  </a:lnTo>
                  <a:lnTo>
                    <a:pt x="533" y="4374"/>
                  </a:lnTo>
                  <a:lnTo>
                    <a:pt x="524" y="4389"/>
                  </a:lnTo>
                  <a:lnTo>
                    <a:pt x="516" y="4404"/>
                  </a:lnTo>
                  <a:lnTo>
                    <a:pt x="507" y="4417"/>
                  </a:lnTo>
                  <a:lnTo>
                    <a:pt x="498" y="4428"/>
                  </a:lnTo>
                  <a:lnTo>
                    <a:pt x="477" y="4450"/>
                  </a:lnTo>
                  <a:lnTo>
                    <a:pt x="455" y="4468"/>
                  </a:lnTo>
                  <a:lnTo>
                    <a:pt x="434" y="4483"/>
                  </a:lnTo>
                  <a:lnTo>
                    <a:pt x="412" y="4494"/>
                  </a:lnTo>
                  <a:lnTo>
                    <a:pt x="391" y="4503"/>
                  </a:lnTo>
                  <a:lnTo>
                    <a:pt x="373" y="4510"/>
                  </a:lnTo>
                  <a:lnTo>
                    <a:pt x="357" y="4514"/>
                  </a:lnTo>
                  <a:lnTo>
                    <a:pt x="351" y="4516"/>
                  </a:lnTo>
                  <a:lnTo>
                    <a:pt x="345" y="4517"/>
                  </a:lnTo>
                  <a:lnTo>
                    <a:pt x="341" y="4518"/>
                  </a:lnTo>
                  <a:lnTo>
                    <a:pt x="338" y="4519"/>
                  </a:lnTo>
                  <a:lnTo>
                    <a:pt x="336" y="4519"/>
                  </a:lnTo>
                  <a:lnTo>
                    <a:pt x="334" y="4519"/>
                  </a:lnTo>
                  <a:lnTo>
                    <a:pt x="334" y="4520"/>
                  </a:lnTo>
                  <a:lnTo>
                    <a:pt x="336" y="4522"/>
                  </a:lnTo>
                  <a:lnTo>
                    <a:pt x="338" y="4526"/>
                  </a:lnTo>
                  <a:lnTo>
                    <a:pt x="341" y="4532"/>
                  </a:lnTo>
                  <a:lnTo>
                    <a:pt x="344" y="4539"/>
                  </a:lnTo>
                  <a:lnTo>
                    <a:pt x="348" y="4548"/>
                  </a:lnTo>
                  <a:lnTo>
                    <a:pt x="353" y="4557"/>
                  </a:lnTo>
                  <a:lnTo>
                    <a:pt x="358" y="4567"/>
                  </a:lnTo>
                  <a:lnTo>
                    <a:pt x="372" y="4591"/>
                  </a:lnTo>
                  <a:lnTo>
                    <a:pt x="389" y="4618"/>
                  </a:lnTo>
                  <a:lnTo>
                    <a:pt x="409" y="4646"/>
                  </a:lnTo>
                  <a:lnTo>
                    <a:pt x="433" y="4674"/>
                  </a:lnTo>
                  <a:lnTo>
                    <a:pt x="458" y="4703"/>
                  </a:lnTo>
                  <a:lnTo>
                    <a:pt x="488" y="4731"/>
                  </a:lnTo>
                  <a:lnTo>
                    <a:pt x="521" y="4758"/>
                  </a:lnTo>
                  <a:lnTo>
                    <a:pt x="558" y="4782"/>
                  </a:lnTo>
                  <a:lnTo>
                    <a:pt x="578" y="4792"/>
                  </a:lnTo>
                  <a:lnTo>
                    <a:pt x="599" y="4801"/>
                  </a:lnTo>
                  <a:lnTo>
                    <a:pt x="619" y="4809"/>
                  </a:lnTo>
                  <a:lnTo>
                    <a:pt x="642" y="4817"/>
                  </a:lnTo>
                  <a:lnTo>
                    <a:pt x="665" y="4823"/>
                  </a:lnTo>
                  <a:lnTo>
                    <a:pt x="690" y="4827"/>
                  </a:lnTo>
                  <a:lnTo>
                    <a:pt x="714" y="4829"/>
                  </a:lnTo>
                  <a:lnTo>
                    <a:pt x="740" y="4830"/>
                  </a:lnTo>
                  <a:lnTo>
                    <a:pt x="802" y="4830"/>
                  </a:lnTo>
                  <a:lnTo>
                    <a:pt x="831" y="4826"/>
                  </a:lnTo>
                  <a:lnTo>
                    <a:pt x="859" y="4821"/>
                  </a:lnTo>
                  <a:lnTo>
                    <a:pt x="887" y="4812"/>
                  </a:lnTo>
                  <a:lnTo>
                    <a:pt x="914" y="4803"/>
                  </a:lnTo>
                  <a:lnTo>
                    <a:pt x="940" y="4791"/>
                  </a:lnTo>
                  <a:lnTo>
                    <a:pt x="967" y="4777"/>
                  </a:lnTo>
                  <a:lnTo>
                    <a:pt x="993" y="4761"/>
                  </a:lnTo>
                  <a:lnTo>
                    <a:pt x="1020" y="4742"/>
                  </a:lnTo>
                  <a:lnTo>
                    <a:pt x="1048" y="4722"/>
                  </a:lnTo>
                  <a:lnTo>
                    <a:pt x="1076" y="4698"/>
                  </a:lnTo>
                  <a:lnTo>
                    <a:pt x="1104" y="4672"/>
                  </a:lnTo>
                  <a:lnTo>
                    <a:pt x="1133" y="4644"/>
                  </a:lnTo>
                  <a:lnTo>
                    <a:pt x="1163" y="4613"/>
                  </a:lnTo>
                  <a:lnTo>
                    <a:pt x="1194" y="4579"/>
                  </a:lnTo>
                  <a:lnTo>
                    <a:pt x="1227" y="4543"/>
                  </a:lnTo>
                  <a:lnTo>
                    <a:pt x="1262" y="4503"/>
                  </a:lnTo>
                  <a:lnTo>
                    <a:pt x="1298" y="4460"/>
                  </a:lnTo>
                  <a:lnTo>
                    <a:pt x="1336" y="4415"/>
                  </a:lnTo>
                  <a:lnTo>
                    <a:pt x="1375" y="4366"/>
                  </a:lnTo>
                  <a:lnTo>
                    <a:pt x="1417" y="4315"/>
                  </a:lnTo>
                  <a:lnTo>
                    <a:pt x="1461" y="4260"/>
                  </a:lnTo>
                  <a:lnTo>
                    <a:pt x="1507" y="4203"/>
                  </a:lnTo>
                  <a:lnTo>
                    <a:pt x="1557" y="4141"/>
                  </a:lnTo>
                  <a:lnTo>
                    <a:pt x="1608" y="4077"/>
                  </a:lnTo>
                  <a:lnTo>
                    <a:pt x="1663" y="4008"/>
                  </a:lnTo>
                  <a:lnTo>
                    <a:pt x="1721" y="3937"/>
                  </a:lnTo>
                  <a:lnTo>
                    <a:pt x="1783" y="3862"/>
                  </a:lnTo>
                  <a:lnTo>
                    <a:pt x="1847" y="3782"/>
                  </a:lnTo>
                  <a:lnTo>
                    <a:pt x="1915" y="3699"/>
                  </a:lnTo>
                  <a:lnTo>
                    <a:pt x="1987" y="3612"/>
                  </a:lnTo>
                  <a:lnTo>
                    <a:pt x="2063" y="3523"/>
                  </a:lnTo>
                  <a:lnTo>
                    <a:pt x="2102" y="3475"/>
                  </a:lnTo>
                  <a:lnTo>
                    <a:pt x="2142" y="3428"/>
                  </a:lnTo>
                  <a:lnTo>
                    <a:pt x="2176" y="3389"/>
                  </a:lnTo>
                  <a:lnTo>
                    <a:pt x="2212" y="3351"/>
                  </a:lnTo>
                  <a:lnTo>
                    <a:pt x="2249" y="3314"/>
                  </a:lnTo>
                  <a:lnTo>
                    <a:pt x="2288" y="3278"/>
                  </a:lnTo>
                  <a:lnTo>
                    <a:pt x="2328" y="3242"/>
                  </a:lnTo>
                  <a:lnTo>
                    <a:pt x="2369" y="3207"/>
                  </a:lnTo>
                  <a:lnTo>
                    <a:pt x="2410" y="3173"/>
                  </a:lnTo>
                  <a:lnTo>
                    <a:pt x="2454" y="3140"/>
                  </a:lnTo>
                  <a:lnTo>
                    <a:pt x="2543" y="3076"/>
                  </a:lnTo>
                  <a:lnTo>
                    <a:pt x="2636" y="3015"/>
                  </a:lnTo>
                  <a:lnTo>
                    <a:pt x="2732" y="2957"/>
                  </a:lnTo>
                  <a:lnTo>
                    <a:pt x="2830" y="2903"/>
                  </a:lnTo>
                  <a:lnTo>
                    <a:pt x="2930" y="2851"/>
                  </a:lnTo>
                  <a:lnTo>
                    <a:pt x="3031" y="2802"/>
                  </a:lnTo>
                  <a:lnTo>
                    <a:pt x="3133" y="2756"/>
                  </a:lnTo>
                  <a:lnTo>
                    <a:pt x="3236" y="2713"/>
                  </a:lnTo>
                  <a:lnTo>
                    <a:pt x="3340" y="2673"/>
                  </a:lnTo>
                  <a:lnTo>
                    <a:pt x="3442" y="2635"/>
                  </a:lnTo>
                  <a:lnTo>
                    <a:pt x="3543" y="2600"/>
                  </a:lnTo>
                  <a:lnTo>
                    <a:pt x="3642" y="2567"/>
                  </a:lnTo>
                  <a:lnTo>
                    <a:pt x="3740" y="2537"/>
                  </a:lnTo>
                  <a:lnTo>
                    <a:pt x="3834" y="2509"/>
                  </a:lnTo>
                  <a:lnTo>
                    <a:pt x="3926" y="2484"/>
                  </a:lnTo>
                  <a:lnTo>
                    <a:pt x="3970" y="2472"/>
                  </a:lnTo>
                  <a:lnTo>
                    <a:pt x="4015" y="2461"/>
                  </a:lnTo>
                  <a:lnTo>
                    <a:pt x="4057" y="2450"/>
                  </a:lnTo>
                  <a:lnTo>
                    <a:pt x="4098" y="2439"/>
                  </a:lnTo>
                  <a:lnTo>
                    <a:pt x="4139" y="2430"/>
                  </a:lnTo>
                  <a:lnTo>
                    <a:pt x="4178" y="2421"/>
                  </a:lnTo>
                  <a:lnTo>
                    <a:pt x="4215" y="2412"/>
                  </a:lnTo>
                  <a:lnTo>
                    <a:pt x="4252" y="2404"/>
                  </a:lnTo>
                  <a:lnTo>
                    <a:pt x="4287" y="2396"/>
                  </a:lnTo>
                  <a:lnTo>
                    <a:pt x="4320" y="2390"/>
                  </a:lnTo>
                  <a:lnTo>
                    <a:pt x="4352" y="2383"/>
                  </a:lnTo>
                  <a:lnTo>
                    <a:pt x="4383" y="2376"/>
                  </a:lnTo>
                  <a:lnTo>
                    <a:pt x="4411" y="2371"/>
                  </a:lnTo>
                  <a:lnTo>
                    <a:pt x="4438" y="2366"/>
                  </a:lnTo>
                  <a:lnTo>
                    <a:pt x="4464" y="2361"/>
                  </a:lnTo>
                  <a:lnTo>
                    <a:pt x="4486" y="2357"/>
                  </a:lnTo>
                  <a:lnTo>
                    <a:pt x="4508" y="2353"/>
                  </a:lnTo>
                  <a:lnTo>
                    <a:pt x="4528" y="2350"/>
                  </a:lnTo>
                  <a:lnTo>
                    <a:pt x="4545" y="2347"/>
                  </a:lnTo>
                  <a:lnTo>
                    <a:pt x="4561" y="2344"/>
                  </a:lnTo>
                  <a:lnTo>
                    <a:pt x="4573" y="2342"/>
                  </a:lnTo>
                  <a:lnTo>
                    <a:pt x="4585" y="2340"/>
                  </a:lnTo>
                  <a:lnTo>
                    <a:pt x="4593" y="2339"/>
                  </a:lnTo>
                  <a:lnTo>
                    <a:pt x="4599" y="2338"/>
                  </a:lnTo>
                  <a:lnTo>
                    <a:pt x="4603" y="2337"/>
                  </a:lnTo>
                  <a:lnTo>
                    <a:pt x="4604" y="2337"/>
                  </a:lnTo>
                  <a:lnTo>
                    <a:pt x="4602" y="2339"/>
                  </a:lnTo>
                  <a:lnTo>
                    <a:pt x="4598" y="2344"/>
                  </a:lnTo>
                  <a:lnTo>
                    <a:pt x="4590" y="2354"/>
                  </a:lnTo>
                  <a:lnTo>
                    <a:pt x="4578" y="2366"/>
                  </a:lnTo>
                  <a:lnTo>
                    <a:pt x="4565" y="2382"/>
                  </a:lnTo>
                  <a:lnTo>
                    <a:pt x="4548" y="2399"/>
                  </a:lnTo>
                  <a:lnTo>
                    <a:pt x="4530" y="2420"/>
                  </a:lnTo>
                  <a:lnTo>
                    <a:pt x="4508" y="2443"/>
                  </a:lnTo>
                  <a:lnTo>
                    <a:pt x="4485" y="2469"/>
                  </a:lnTo>
                  <a:lnTo>
                    <a:pt x="4461" y="2497"/>
                  </a:lnTo>
                  <a:lnTo>
                    <a:pt x="4434" y="2526"/>
                  </a:lnTo>
                  <a:lnTo>
                    <a:pt x="4406" y="2558"/>
                  </a:lnTo>
                  <a:lnTo>
                    <a:pt x="4376" y="2591"/>
                  </a:lnTo>
                  <a:lnTo>
                    <a:pt x="4345" y="2625"/>
                  </a:lnTo>
                  <a:lnTo>
                    <a:pt x="4314" y="2660"/>
                  </a:lnTo>
                  <a:lnTo>
                    <a:pt x="4281" y="2696"/>
                  </a:lnTo>
                  <a:lnTo>
                    <a:pt x="4215" y="2770"/>
                  </a:lnTo>
                  <a:lnTo>
                    <a:pt x="4147" y="2845"/>
                  </a:lnTo>
                  <a:lnTo>
                    <a:pt x="4079" y="2920"/>
                  </a:lnTo>
                  <a:lnTo>
                    <a:pt x="4014" y="2994"/>
                  </a:lnTo>
                  <a:lnTo>
                    <a:pt x="3982" y="3030"/>
                  </a:lnTo>
                  <a:lnTo>
                    <a:pt x="3951" y="3064"/>
                  </a:lnTo>
                  <a:lnTo>
                    <a:pt x="3921" y="3098"/>
                  </a:lnTo>
                  <a:lnTo>
                    <a:pt x="3892" y="3130"/>
                  </a:lnTo>
                  <a:lnTo>
                    <a:pt x="3865" y="3160"/>
                  </a:lnTo>
                  <a:lnTo>
                    <a:pt x="3840" y="3189"/>
                  </a:lnTo>
                  <a:lnTo>
                    <a:pt x="3816" y="3216"/>
                  </a:lnTo>
                  <a:lnTo>
                    <a:pt x="3795" y="3241"/>
                  </a:lnTo>
                  <a:lnTo>
                    <a:pt x="3776" y="3265"/>
                  </a:lnTo>
                  <a:lnTo>
                    <a:pt x="3756" y="3291"/>
                  </a:lnTo>
                  <a:lnTo>
                    <a:pt x="3733" y="3320"/>
                  </a:lnTo>
                  <a:lnTo>
                    <a:pt x="3709" y="3350"/>
                  </a:lnTo>
                  <a:lnTo>
                    <a:pt x="3683" y="3381"/>
                  </a:lnTo>
                  <a:lnTo>
                    <a:pt x="3656" y="3415"/>
                  </a:lnTo>
                  <a:lnTo>
                    <a:pt x="3629" y="3450"/>
                  </a:lnTo>
                  <a:lnTo>
                    <a:pt x="3599" y="3486"/>
                  </a:lnTo>
                  <a:lnTo>
                    <a:pt x="3570" y="3523"/>
                  </a:lnTo>
                  <a:lnTo>
                    <a:pt x="3539" y="3562"/>
                  </a:lnTo>
                  <a:lnTo>
                    <a:pt x="3508" y="3603"/>
                  </a:lnTo>
                  <a:lnTo>
                    <a:pt x="3477" y="3644"/>
                  </a:lnTo>
                  <a:lnTo>
                    <a:pt x="3446" y="3687"/>
                  </a:lnTo>
                  <a:lnTo>
                    <a:pt x="3415" y="3731"/>
                  </a:lnTo>
                  <a:lnTo>
                    <a:pt x="3354" y="3822"/>
                  </a:lnTo>
                  <a:lnTo>
                    <a:pt x="3295" y="3915"/>
                  </a:lnTo>
                  <a:lnTo>
                    <a:pt x="3268" y="3963"/>
                  </a:lnTo>
                  <a:lnTo>
                    <a:pt x="3241" y="4011"/>
                  </a:lnTo>
                  <a:lnTo>
                    <a:pt x="3216" y="4061"/>
                  </a:lnTo>
                  <a:lnTo>
                    <a:pt x="3192" y="4110"/>
                  </a:lnTo>
                  <a:lnTo>
                    <a:pt x="3170" y="4159"/>
                  </a:lnTo>
                  <a:lnTo>
                    <a:pt x="3150" y="4210"/>
                  </a:lnTo>
                  <a:lnTo>
                    <a:pt x="3132" y="4260"/>
                  </a:lnTo>
                  <a:lnTo>
                    <a:pt x="3116" y="4311"/>
                  </a:lnTo>
                  <a:lnTo>
                    <a:pt x="3102" y="4361"/>
                  </a:lnTo>
                  <a:lnTo>
                    <a:pt x="3092" y="4412"/>
                  </a:lnTo>
                  <a:lnTo>
                    <a:pt x="3084" y="4462"/>
                  </a:lnTo>
                  <a:lnTo>
                    <a:pt x="3078" y="4513"/>
                  </a:lnTo>
                  <a:lnTo>
                    <a:pt x="3076" y="4563"/>
                  </a:lnTo>
                  <a:lnTo>
                    <a:pt x="3077" y="4613"/>
                  </a:lnTo>
                  <a:lnTo>
                    <a:pt x="3081" y="4642"/>
                  </a:lnTo>
                  <a:lnTo>
                    <a:pt x="3087" y="4672"/>
                  </a:lnTo>
                  <a:lnTo>
                    <a:pt x="3094" y="4702"/>
                  </a:lnTo>
                  <a:lnTo>
                    <a:pt x="3103" y="4733"/>
                  </a:lnTo>
                  <a:lnTo>
                    <a:pt x="3113" y="4764"/>
                  </a:lnTo>
                  <a:lnTo>
                    <a:pt x="3125" y="4796"/>
                  </a:lnTo>
                  <a:lnTo>
                    <a:pt x="3138" y="4828"/>
                  </a:lnTo>
                  <a:lnTo>
                    <a:pt x="3153" y="4860"/>
                  </a:lnTo>
                  <a:lnTo>
                    <a:pt x="3168" y="4893"/>
                  </a:lnTo>
                  <a:lnTo>
                    <a:pt x="3186" y="4925"/>
                  </a:lnTo>
                  <a:lnTo>
                    <a:pt x="3203" y="4958"/>
                  </a:lnTo>
                  <a:lnTo>
                    <a:pt x="3223" y="4991"/>
                  </a:lnTo>
                  <a:lnTo>
                    <a:pt x="3263" y="5057"/>
                  </a:lnTo>
                  <a:lnTo>
                    <a:pt x="3308" y="5122"/>
                  </a:lnTo>
                  <a:lnTo>
                    <a:pt x="3354" y="5187"/>
                  </a:lnTo>
                  <a:lnTo>
                    <a:pt x="3402" y="5252"/>
                  </a:lnTo>
                  <a:lnTo>
                    <a:pt x="3452" y="5316"/>
                  </a:lnTo>
                  <a:lnTo>
                    <a:pt x="3503" y="5379"/>
                  </a:lnTo>
                  <a:lnTo>
                    <a:pt x="3553" y="5440"/>
                  </a:lnTo>
                  <a:lnTo>
                    <a:pt x="3604" y="5498"/>
                  </a:lnTo>
                  <a:lnTo>
                    <a:pt x="3653" y="5555"/>
                  </a:lnTo>
                  <a:lnTo>
                    <a:pt x="3701" y="5610"/>
                  </a:lnTo>
                  <a:lnTo>
                    <a:pt x="3729" y="5645"/>
                  </a:lnTo>
                  <a:lnTo>
                    <a:pt x="3754" y="5678"/>
                  </a:lnTo>
                  <a:lnTo>
                    <a:pt x="3776" y="5711"/>
                  </a:lnTo>
                  <a:lnTo>
                    <a:pt x="3796" y="5742"/>
                  </a:lnTo>
                  <a:lnTo>
                    <a:pt x="3813" y="5771"/>
                  </a:lnTo>
                  <a:lnTo>
                    <a:pt x="3829" y="5800"/>
                  </a:lnTo>
                  <a:lnTo>
                    <a:pt x="3841" y="5826"/>
                  </a:lnTo>
                  <a:lnTo>
                    <a:pt x="3853" y="5851"/>
                  </a:lnTo>
                  <a:lnTo>
                    <a:pt x="3862" y="5872"/>
                  </a:lnTo>
                  <a:lnTo>
                    <a:pt x="3870" y="5893"/>
                  </a:lnTo>
                  <a:lnTo>
                    <a:pt x="3875" y="5909"/>
                  </a:lnTo>
                  <a:lnTo>
                    <a:pt x="3881" y="5925"/>
                  </a:lnTo>
                  <a:lnTo>
                    <a:pt x="3884" y="5936"/>
                  </a:lnTo>
                  <a:lnTo>
                    <a:pt x="3886" y="5944"/>
                  </a:lnTo>
                  <a:lnTo>
                    <a:pt x="3888" y="5950"/>
                  </a:lnTo>
                  <a:lnTo>
                    <a:pt x="3888" y="5952"/>
                  </a:lnTo>
                  <a:lnTo>
                    <a:pt x="3514" y="6513"/>
                  </a:lnTo>
                  <a:lnTo>
                    <a:pt x="3515" y="6514"/>
                  </a:lnTo>
                  <a:lnTo>
                    <a:pt x="3516" y="6515"/>
                  </a:lnTo>
                  <a:lnTo>
                    <a:pt x="3518" y="6518"/>
                  </a:lnTo>
                  <a:lnTo>
                    <a:pt x="3522" y="6523"/>
                  </a:lnTo>
                  <a:lnTo>
                    <a:pt x="3526" y="6529"/>
                  </a:lnTo>
                  <a:lnTo>
                    <a:pt x="3532" y="6535"/>
                  </a:lnTo>
                  <a:lnTo>
                    <a:pt x="3538" y="6542"/>
                  </a:lnTo>
                  <a:lnTo>
                    <a:pt x="3545" y="6550"/>
                  </a:lnTo>
                  <a:lnTo>
                    <a:pt x="3562" y="6571"/>
                  </a:lnTo>
                  <a:lnTo>
                    <a:pt x="3581" y="6593"/>
                  </a:lnTo>
                  <a:lnTo>
                    <a:pt x="3604" y="6620"/>
                  </a:lnTo>
                  <a:lnTo>
                    <a:pt x="3630" y="6650"/>
                  </a:lnTo>
                  <a:lnTo>
                    <a:pt x="3658" y="6682"/>
                  </a:lnTo>
                  <a:lnTo>
                    <a:pt x="3690" y="6716"/>
                  </a:lnTo>
                  <a:lnTo>
                    <a:pt x="3723" y="6753"/>
                  </a:lnTo>
                  <a:lnTo>
                    <a:pt x="3759" y="6791"/>
                  </a:lnTo>
                  <a:lnTo>
                    <a:pt x="3797" y="6830"/>
                  </a:lnTo>
                  <a:lnTo>
                    <a:pt x="3837" y="6870"/>
                  </a:lnTo>
                  <a:lnTo>
                    <a:pt x="3879" y="6912"/>
                  </a:lnTo>
                  <a:lnTo>
                    <a:pt x="3923" y="6953"/>
                  </a:lnTo>
                  <a:lnTo>
                    <a:pt x="3968" y="6995"/>
                  </a:lnTo>
                  <a:lnTo>
                    <a:pt x="4015" y="7036"/>
                  </a:lnTo>
                  <a:lnTo>
                    <a:pt x="4063" y="7078"/>
                  </a:lnTo>
                  <a:lnTo>
                    <a:pt x="4112" y="7117"/>
                  </a:lnTo>
                  <a:lnTo>
                    <a:pt x="4162" y="7156"/>
                  </a:lnTo>
                  <a:lnTo>
                    <a:pt x="4213" y="7193"/>
                  </a:lnTo>
                  <a:lnTo>
                    <a:pt x="4263" y="7229"/>
                  </a:lnTo>
                  <a:lnTo>
                    <a:pt x="4316" y="7262"/>
                  </a:lnTo>
                  <a:lnTo>
                    <a:pt x="4368" y="7293"/>
                  </a:lnTo>
                  <a:lnTo>
                    <a:pt x="4420" y="7322"/>
                  </a:lnTo>
                  <a:lnTo>
                    <a:pt x="4473" y="7346"/>
                  </a:lnTo>
                  <a:lnTo>
                    <a:pt x="4525" y="7369"/>
                  </a:lnTo>
                  <a:lnTo>
                    <a:pt x="4576" y="7387"/>
                  </a:lnTo>
                  <a:lnTo>
                    <a:pt x="4602" y="7395"/>
                  </a:lnTo>
                  <a:lnTo>
                    <a:pt x="4628" y="7401"/>
                  </a:lnTo>
                  <a:lnTo>
                    <a:pt x="4654" y="7407"/>
                  </a:lnTo>
                  <a:lnTo>
                    <a:pt x="4680" y="7411"/>
                  </a:lnTo>
                  <a:lnTo>
                    <a:pt x="4704" y="7414"/>
                  </a:lnTo>
                  <a:lnTo>
                    <a:pt x="4729" y="7416"/>
                  </a:lnTo>
                  <a:lnTo>
                    <a:pt x="4776" y="7415"/>
                  </a:lnTo>
                  <a:lnTo>
                    <a:pt x="4822" y="7412"/>
                  </a:lnTo>
                  <a:lnTo>
                    <a:pt x="4867" y="7407"/>
                  </a:lnTo>
                  <a:lnTo>
                    <a:pt x="4914" y="7400"/>
                  </a:lnTo>
                  <a:lnTo>
                    <a:pt x="4959" y="7391"/>
                  </a:lnTo>
                  <a:lnTo>
                    <a:pt x="5004" y="7380"/>
                  </a:lnTo>
                  <a:lnTo>
                    <a:pt x="5049" y="7368"/>
                  </a:lnTo>
                  <a:lnTo>
                    <a:pt x="5093" y="7354"/>
                  </a:lnTo>
                  <a:lnTo>
                    <a:pt x="5139" y="7338"/>
                  </a:lnTo>
                  <a:lnTo>
                    <a:pt x="5183" y="7322"/>
                  </a:lnTo>
                  <a:lnTo>
                    <a:pt x="5228" y="7303"/>
                  </a:lnTo>
                  <a:lnTo>
                    <a:pt x="5272" y="7284"/>
                  </a:lnTo>
                  <a:lnTo>
                    <a:pt x="5316" y="7263"/>
                  </a:lnTo>
                  <a:lnTo>
                    <a:pt x="5361" y="7241"/>
                  </a:lnTo>
                  <a:lnTo>
                    <a:pt x="5450" y="7195"/>
                  </a:lnTo>
                  <a:lnTo>
                    <a:pt x="5539" y="7144"/>
                  </a:lnTo>
                  <a:lnTo>
                    <a:pt x="5629" y="7092"/>
                  </a:lnTo>
                  <a:lnTo>
                    <a:pt x="5720" y="7038"/>
                  </a:lnTo>
                  <a:lnTo>
                    <a:pt x="5812" y="6983"/>
                  </a:lnTo>
                  <a:lnTo>
                    <a:pt x="5905" y="6927"/>
                  </a:lnTo>
                  <a:lnTo>
                    <a:pt x="6000" y="6870"/>
                  </a:lnTo>
                  <a:lnTo>
                    <a:pt x="6096" y="6816"/>
                  </a:lnTo>
                  <a:lnTo>
                    <a:pt x="6194" y="6762"/>
                  </a:lnTo>
                  <a:lnTo>
                    <a:pt x="6229" y="6746"/>
                  </a:lnTo>
                  <a:lnTo>
                    <a:pt x="6265" y="6730"/>
                  </a:lnTo>
                  <a:lnTo>
                    <a:pt x="6302" y="6716"/>
                  </a:lnTo>
                  <a:lnTo>
                    <a:pt x="6339" y="6704"/>
                  </a:lnTo>
                  <a:lnTo>
                    <a:pt x="6377" y="6692"/>
                  </a:lnTo>
                  <a:lnTo>
                    <a:pt x="6414" y="6682"/>
                  </a:lnTo>
                  <a:lnTo>
                    <a:pt x="6452" y="6673"/>
                  </a:lnTo>
                  <a:lnTo>
                    <a:pt x="6490" y="6664"/>
                  </a:lnTo>
                  <a:lnTo>
                    <a:pt x="6528" y="6658"/>
                  </a:lnTo>
                  <a:lnTo>
                    <a:pt x="6567" y="6652"/>
                  </a:lnTo>
                  <a:lnTo>
                    <a:pt x="6641" y="6644"/>
                  </a:lnTo>
                  <a:lnTo>
                    <a:pt x="6715" y="6639"/>
                  </a:lnTo>
                  <a:lnTo>
                    <a:pt x="6786" y="6638"/>
                  </a:lnTo>
                  <a:lnTo>
                    <a:pt x="6849" y="6639"/>
                  </a:lnTo>
                  <a:lnTo>
                    <a:pt x="6910" y="6642"/>
                  </a:lnTo>
                  <a:lnTo>
                    <a:pt x="6968" y="6646"/>
                  </a:lnTo>
                  <a:lnTo>
                    <a:pt x="7024" y="6652"/>
                  </a:lnTo>
                  <a:lnTo>
                    <a:pt x="7076" y="6659"/>
                  </a:lnTo>
                  <a:lnTo>
                    <a:pt x="7124" y="6668"/>
                  </a:lnTo>
                  <a:lnTo>
                    <a:pt x="7169" y="6676"/>
                  </a:lnTo>
                  <a:lnTo>
                    <a:pt x="7211" y="6685"/>
                  </a:lnTo>
                  <a:lnTo>
                    <a:pt x="7230" y="6689"/>
                  </a:lnTo>
                  <a:lnTo>
                    <a:pt x="7248" y="6693"/>
                  </a:lnTo>
                  <a:lnTo>
                    <a:pt x="7265" y="6697"/>
                  </a:lnTo>
                  <a:lnTo>
                    <a:pt x="7281" y="6702"/>
                  </a:lnTo>
                  <a:lnTo>
                    <a:pt x="7296" y="6706"/>
                  </a:lnTo>
                  <a:lnTo>
                    <a:pt x="7310" y="6710"/>
                  </a:lnTo>
                  <a:lnTo>
                    <a:pt x="7322" y="6713"/>
                  </a:lnTo>
                  <a:lnTo>
                    <a:pt x="7334" y="6717"/>
                  </a:lnTo>
                  <a:lnTo>
                    <a:pt x="7344" y="6720"/>
                  </a:lnTo>
                  <a:lnTo>
                    <a:pt x="7353" y="6723"/>
                  </a:lnTo>
                  <a:lnTo>
                    <a:pt x="7360" y="6725"/>
                  </a:lnTo>
                  <a:lnTo>
                    <a:pt x="7367" y="6727"/>
                  </a:lnTo>
                  <a:lnTo>
                    <a:pt x="7372" y="6729"/>
                  </a:lnTo>
                  <a:lnTo>
                    <a:pt x="7375" y="6730"/>
                  </a:lnTo>
                  <a:lnTo>
                    <a:pt x="7377" y="6731"/>
                  </a:lnTo>
                  <a:lnTo>
                    <a:pt x="7378" y="6731"/>
                  </a:lnTo>
                  <a:lnTo>
                    <a:pt x="7378" y="6731"/>
                  </a:lnTo>
                  <a:lnTo>
                    <a:pt x="7379" y="6729"/>
                  </a:lnTo>
                  <a:lnTo>
                    <a:pt x="7379" y="6726"/>
                  </a:lnTo>
                  <a:lnTo>
                    <a:pt x="7380" y="6723"/>
                  </a:lnTo>
                  <a:lnTo>
                    <a:pt x="7383" y="6713"/>
                  </a:lnTo>
                  <a:lnTo>
                    <a:pt x="7387" y="6698"/>
                  </a:lnTo>
                  <a:lnTo>
                    <a:pt x="7392" y="6680"/>
                  </a:lnTo>
                  <a:lnTo>
                    <a:pt x="7399" y="6658"/>
                  </a:lnTo>
                  <a:lnTo>
                    <a:pt x="7405" y="6633"/>
                  </a:lnTo>
                  <a:lnTo>
                    <a:pt x="7413" y="6604"/>
                  </a:lnTo>
                  <a:lnTo>
                    <a:pt x="7421" y="6572"/>
                  </a:lnTo>
                  <a:lnTo>
                    <a:pt x="7430" y="6537"/>
                  </a:lnTo>
                  <a:lnTo>
                    <a:pt x="7439" y="6500"/>
                  </a:lnTo>
                  <a:lnTo>
                    <a:pt x="7449" y="6458"/>
                  </a:lnTo>
                  <a:lnTo>
                    <a:pt x="7460" y="6415"/>
                  </a:lnTo>
                  <a:lnTo>
                    <a:pt x="7470" y="6370"/>
                  </a:lnTo>
                  <a:lnTo>
                    <a:pt x="7480" y="6321"/>
                  </a:lnTo>
                  <a:lnTo>
                    <a:pt x="7492" y="6272"/>
                  </a:lnTo>
                  <a:lnTo>
                    <a:pt x="7502" y="6219"/>
                  </a:lnTo>
                  <a:lnTo>
                    <a:pt x="7513" y="6166"/>
                  </a:lnTo>
                  <a:lnTo>
                    <a:pt x="7525" y="6110"/>
                  </a:lnTo>
                  <a:lnTo>
                    <a:pt x="7535" y="6053"/>
                  </a:lnTo>
                  <a:lnTo>
                    <a:pt x="7546" y="5994"/>
                  </a:lnTo>
                  <a:lnTo>
                    <a:pt x="7557" y="5934"/>
                  </a:lnTo>
                  <a:lnTo>
                    <a:pt x="7566" y="5873"/>
                  </a:lnTo>
                  <a:lnTo>
                    <a:pt x="7576" y="5812"/>
                  </a:lnTo>
                  <a:lnTo>
                    <a:pt x="7594" y="5685"/>
                  </a:lnTo>
                  <a:lnTo>
                    <a:pt x="7608" y="5556"/>
                  </a:lnTo>
                  <a:lnTo>
                    <a:pt x="7620" y="5426"/>
                  </a:lnTo>
                  <a:lnTo>
                    <a:pt x="7625" y="5362"/>
                  </a:lnTo>
                  <a:lnTo>
                    <a:pt x="7628" y="5298"/>
                  </a:lnTo>
                  <a:lnTo>
                    <a:pt x="7629" y="5254"/>
                  </a:lnTo>
                  <a:lnTo>
                    <a:pt x="7629" y="5212"/>
                  </a:lnTo>
                  <a:lnTo>
                    <a:pt x="7629" y="5171"/>
                  </a:lnTo>
                  <a:lnTo>
                    <a:pt x="7628" y="5132"/>
                  </a:lnTo>
                  <a:lnTo>
                    <a:pt x="7624" y="5055"/>
                  </a:lnTo>
                  <a:lnTo>
                    <a:pt x="7618" y="4980"/>
                  </a:lnTo>
                  <a:lnTo>
                    <a:pt x="7608" y="4910"/>
                  </a:lnTo>
                  <a:lnTo>
                    <a:pt x="7598" y="4843"/>
                  </a:lnTo>
                  <a:lnTo>
                    <a:pt x="7584" y="4778"/>
                  </a:lnTo>
                  <a:lnTo>
                    <a:pt x="7571" y="4716"/>
                  </a:lnTo>
                  <a:lnTo>
                    <a:pt x="7556" y="4655"/>
                  </a:lnTo>
                  <a:lnTo>
                    <a:pt x="7539" y="4594"/>
                  </a:lnTo>
                  <a:lnTo>
                    <a:pt x="7503" y="4478"/>
                  </a:lnTo>
                  <a:lnTo>
                    <a:pt x="7466" y="4360"/>
                  </a:lnTo>
                  <a:lnTo>
                    <a:pt x="7447" y="4302"/>
                  </a:lnTo>
                  <a:lnTo>
                    <a:pt x="7429" y="4242"/>
                  </a:lnTo>
                  <a:lnTo>
                    <a:pt x="7411" y="4180"/>
                  </a:lnTo>
                  <a:lnTo>
                    <a:pt x="7393" y="4117"/>
                  </a:lnTo>
                  <a:lnTo>
                    <a:pt x="7377" y="4052"/>
                  </a:lnTo>
                  <a:lnTo>
                    <a:pt x="7361" y="3984"/>
                  </a:lnTo>
                  <a:lnTo>
                    <a:pt x="7348" y="3913"/>
                  </a:lnTo>
                  <a:lnTo>
                    <a:pt x="7336" y="3840"/>
                  </a:lnTo>
                  <a:lnTo>
                    <a:pt x="7325" y="3762"/>
                  </a:lnTo>
                  <a:lnTo>
                    <a:pt x="7320" y="3722"/>
                  </a:lnTo>
                  <a:lnTo>
                    <a:pt x="7316" y="3680"/>
                  </a:lnTo>
                  <a:lnTo>
                    <a:pt x="7313" y="3638"/>
                  </a:lnTo>
                  <a:lnTo>
                    <a:pt x="7310" y="3594"/>
                  </a:lnTo>
                  <a:lnTo>
                    <a:pt x="7308" y="3550"/>
                  </a:lnTo>
                  <a:lnTo>
                    <a:pt x="7306" y="3503"/>
                  </a:lnTo>
                  <a:lnTo>
                    <a:pt x="7306" y="3456"/>
                  </a:lnTo>
                  <a:lnTo>
                    <a:pt x="7305" y="3407"/>
                  </a:lnTo>
                  <a:lnTo>
                    <a:pt x="7306" y="3357"/>
                  </a:lnTo>
                  <a:lnTo>
                    <a:pt x="7307" y="3305"/>
                  </a:lnTo>
                  <a:lnTo>
                    <a:pt x="7309" y="3253"/>
                  </a:lnTo>
                  <a:lnTo>
                    <a:pt x="7312" y="3198"/>
                  </a:lnTo>
                  <a:lnTo>
                    <a:pt x="7315" y="3142"/>
                  </a:lnTo>
                  <a:lnTo>
                    <a:pt x="7320" y="3084"/>
                  </a:lnTo>
                  <a:lnTo>
                    <a:pt x="7325" y="3024"/>
                  </a:lnTo>
                  <a:lnTo>
                    <a:pt x="7332" y="2964"/>
                  </a:lnTo>
                  <a:lnTo>
                    <a:pt x="7339" y="2901"/>
                  </a:lnTo>
                  <a:lnTo>
                    <a:pt x="7347" y="2836"/>
                  </a:lnTo>
                  <a:lnTo>
                    <a:pt x="7326" y="2872"/>
                  </a:lnTo>
                  <a:lnTo>
                    <a:pt x="7307" y="2908"/>
                  </a:lnTo>
                  <a:lnTo>
                    <a:pt x="7287" y="2946"/>
                  </a:lnTo>
                  <a:lnTo>
                    <a:pt x="7268" y="2985"/>
                  </a:lnTo>
                  <a:lnTo>
                    <a:pt x="7249" y="3026"/>
                  </a:lnTo>
                  <a:lnTo>
                    <a:pt x="7230" y="3068"/>
                  </a:lnTo>
                  <a:lnTo>
                    <a:pt x="7213" y="3112"/>
                  </a:lnTo>
                  <a:lnTo>
                    <a:pt x="7196" y="3156"/>
                  </a:lnTo>
                  <a:lnTo>
                    <a:pt x="7180" y="3202"/>
                  </a:lnTo>
                  <a:lnTo>
                    <a:pt x="7164" y="3251"/>
                  </a:lnTo>
                  <a:lnTo>
                    <a:pt x="7150" y="3300"/>
                  </a:lnTo>
                  <a:lnTo>
                    <a:pt x="7136" y="3352"/>
                  </a:lnTo>
                  <a:lnTo>
                    <a:pt x="7124" y="3405"/>
                  </a:lnTo>
                  <a:lnTo>
                    <a:pt x="7113" y="3460"/>
                  </a:lnTo>
                  <a:lnTo>
                    <a:pt x="7102" y="3517"/>
                  </a:lnTo>
                  <a:lnTo>
                    <a:pt x="7094" y="3576"/>
                  </a:lnTo>
                  <a:lnTo>
                    <a:pt x="7087" y="3637"/>
                  </a:lnTo>
                  <a:lnTo>
                    <a:pt x="7081" y="3700"/>
                  </a:lnTo>
                  <a:lnTo>
                    <a:pt x="7077" y="3765"/>
                  </a:lnTo>
                  <a:lnTo>
                    <a:pt x="7073" y="3832"/>
                  </a:lnTo>
                  <a:lnTo>
                    <a:pt x="7072" y="3902"/>
                  </a:lnTo>
                  <a:lnTo>
                    <a:pt x="7073" y="3974"/>
                  </a:lnTo>
                  <a:lnTo>
                    <a:pt x="7076" y="4048"/>
                  </a:lnTo>
                  <a:lnTo>
                    <a:pt x="7080" y="4124"/>
                  </a:lnTo>
                  <a:lnTo>
                    <a:pt x="7086" y="4204"/>
                  </a:lnTo>
                  <a:lnTo>
                    <a:pt x="7094" y="4285"/>
                  </a:lnTo>
                  <a:lnTo>
                    <a:pt x="7104" y="4368"/>
                  </a:lnTo>
                  <a:lnTo>
                    <a:pt x="7118" y="4456"/>
                  </a:lnTo>
                  <a:lnTo>
                    <a:pt x="7132" y="4545"/>
                  </a:lnTo>
                  <a:lnTo>
                    <a:pt x="7150" y="4637"/>
                  </a:lnTo>
                  <a:lnTo>
                    <a:pt x="7169" y="4732"/>
                  </a:lnTo>
                  <a:lnTo>
                    <a:pt x="7191" y="4830"/>
                  </a:lnTo>
                  <a:lnTo>
                    <a:pt x="7205" y="4887"/>
                  </a:lnTo>
                  <a:lnTo>
                    <a:pt x="7215" y="4944"/>
                  </a:lnTo>
                  <a:lnTo>
                    <a:pt x="7222" y="5003"/>
                  </a:lnTo>
                  <a:lnTo>
                    <a:pt x="7228" y="5063"/>
                  </a:lnTo>
                  <a:lnTo>
                    <a:pt x="7231" y="5124"/>
                  </a:lnTo>
                  <a:lnTo>
                    <a:pt x="7231" y="5185"/>
                  </a:lnTo>
                  <a:lnTo>
                    <a:pt x="7230" y="5247"/>
                  </a:lnTo>
                  <a:lnTo>
                    <a:pt x="7227" y="5309"/>
                  </a:lnTo>
                  <a:lnTo>
                    <a:pt x="7223" y="5371"/>
                  </a:lnTo>
                  <a:lnTo>
                    <a:pt x="7217" y="5433"/>
                  </a:lnTo>
                  <a:lnTo>
                    <a:pt x="7210" y="5493"/>
                  </a:lnTo>
                  <a:lnTo>
                    <a:pt x="7200" y="5554"/>
                  </a:lnTo>
                  <a:lnTo>
                    <a:pt x="7191" y="5613"/>
                  </a:lnTo>
                  <a:lnTo>
                    <a:pt x="7180" y="5672"/>
                  </a:lnTo>
                  <a:lnTo>
                    <a:pt x="7168" y="5729"/>
                  </a:lnTo>
                  <a:lnTo>
                    <a:pt x="7156" y="5785"/>
                  </a:lnTo>
                  <a:lnTo>
                    <a:pt x="7144" y="5838"/>
                  </a:lnTo>
                  <a:lnTo>
                    <a:pt x="7130" y="5890"/>
                  </a:lnTo>
                  <a:lnTo>
                    <a:pt x="7118" y="5940"/>
                  </a:lnTo>
                  <a:lnTo>
                    <a:pt x="7104" y="5988"/>
                  </a:lnTo>
                  <a:lnTo>
                    <a:pt x="7092" y="6032"/>
                  </a:lnTo>
                  <a:lnTo>
                    <a:pt x="7079" y="6074"/>
                  </a:lnTo>
                  <a:lnTo>
                    <a:pt x="7067" y="6113"/>
                  </a:lnTo>
                  <a:lnTo>
                    <a:pt x="7056" y="6149"/>
                  </a:lnTo>
                  <a:lnTo>
                    <a:pt x="7045" y="6181"/>
                  </a:lnTo>
                  <a:lnTo>
                    <a:pt x="7035" y="6210"/>
                  </a:lnTo>
                  <a:lnTo>
                    <a:pt x="7026" y="6235"/>
                  </a:lnTo>
                  <a:lnTo>
                    <a:pt x="7022" y="6246"/>
                  </a:lnTo>
                  <a:lnTo>
                    <a:pt x="7019" y="6257"/>
                  </a:lnTo>
                  <a:lnTo>
                    <a:pt x="7016" y="6265"/>
                  </a:lnTo>
                  <a:lnTo>
                    <a:pt x="7013" y="6273"/>
                  </a:lnTo>
                  <a:lnTo>
                    <a:pt x="7010" y="6279"/>
                  </a:lnTo>
                  <a:lnTo>
                    <a:pt x="7008" y="6284"/>
                  </a:lnTo>
                  <a:lnTo>
                    <a:pt x="7006" y="6290"/>
                  </a:lnTo>
                  <a:lnTo>
                    <a:pt x="7005" y="6293"/>
                  </a:lnTo>
                  <a:lnTo>
                    <a:pt x="7004" y="6294"/>
                  </a:lnTo>
                  <a:lnTo>
                    <a:pt x="7004" y="6295"/>
                  </a:lnTo>
                  <a:lnTo>
                    <a:pt x="7003" y="6295"/>
                  </a:lnTo>
                  <a:lnTo>
                    <a:pt x="7000" y="6294"/>
                  </a:lnTo>
                  <a:lnTo>
                    <a:pt x="6995" y="6292"/>
                  </a:lnTo>
                  <a:lnTo>
                    <a:pt x="6987" y="6290"/>
                  </a:lnTo>
                  <a:lnTo>
                    <a:pt x="6977" y="6287"/>
                  </a:lnTo>
                  <a:lnTo>
                    <a:pt x="6966" y="6285"/>
                  </a:lnTo>
                  <a:lnTo>
                    <a:pt x="6953" y="6282"/>
                  </a:lnTo>
                  <a:lnTo>
                    <a:pt x="6938" y="6279"/>
                  </a:lnTo>
                  <a:lnTo>
                    <a:pt x="6921" y="6276"/>
                  </a:lnTo>
                  <a:lnTo>
                    <a:pt x="6902" y="6274"/>
                  </a:lnTo>
                  <a:lnTo>
                    <a:pt x="6881" y="6271"/>
                  </a:lnTo>
                  <a:lnTo>
                    <a:pt x="6860" y="6269"/>
                  </a:lnTo>
                  <a:lnTo>
                    <a:pt x="6836" y="6267"/>
                  </a:lnTo>
                  <a:lnTo>
                    <a:pt x="6810" y="6265"/>
                  </a:lnTo>
                  <a:lnTo>
                    <a:pt x="6783" y="6264"/>
                  </a:lnTo>
                  <a:lnTo>
                    <a:pt x="6756" y="6264"/>
                  </a:lnTo>
                  <a:lnTo>
                    <a:pt x="6737" y="6264"/>
                  </a:lnTo>
                  <a:lnTo>
                    <a:pt x="6717" y="6264"/>
                  </a:lnTo>
                  <a:lnTo>
                    <a:pt x="6697" y="6264"/>
                  </a:lnTo>
                  <a:lnTo>
                    <a:pt x="6674" y="6265"/>
                  </a:lnTo>
                  <a:lnTo>
                    <a:pt x="6651" y="6265"/>
                  </a:lnTo>
                  <a:lnTo>
                    <a:pt x="6628" y="6266"/>
                  </a:lnTo>
                  <a:lnTo>
                    <a:pt x="6576" y="6268"/>
                  </a:lnTo>
                  <a:lnTo>
                    <a:pt x="6522" y="6271"/>
                  </a:lnTo>
                  <a:lnTo>
                    <a:pt x="6465" y="6277"/>
                  </a:lnTo>
                  <a:lnTo>
                    <a:pt x="6409" y="6284"/>
                  </a:lnTo>
                  <a:lnTo>
                    <a:pt x="6350" y="6295"/>
                  </a:lnTo>
                  <a:lnTo>
                    <a:pt x="6305" y="6305"/>
                  </a:lnTo>
                  <a:lnTo>
                    <a:pt x="6259" y="6317"/>
                  </a:lnTo>
                  <a:lnTo>
                    <a:pt x="6213" y="6333"/>
                  </a:lnTo>
                  <a:lnTo>
                    <a:pt x="6164" y="6350"/>
                  </a:lnTo>
                  <a:lnTo>
                    <a:pt x="6114" y="6369"/>
                  </a:lnTo>
                  <a:lnTo>
                    <a:pt x="6065" y="6390"/>
                  </a:lnTo>
                  <a:lnTo>
                    <a:pt x="6014" y="6413"/>
                  </a:lnTo>
                  <a:lnTo>
                    <a:pt x="5963" y="6438"/>
                  </a:lnTo>
                  <a:lnTo>
                    <a:pt x="5911" y="6464"/>
                  </a:lnTo>
                  <a:lnTo>
                    <a:pt x="5858" y="6490"/>
                  </a:lnTo>
                  <a:lnTo>
                    <a:pt x="5753" y="6546"/>
                  </a:lnTo>
                  <a:lnTo>
                    <a:pt x="5648" y="6606"/>
                  </a:lnTo>
                  <a:lnTo>
                    <a:pt x="5544" y="6665"/>
                  </a:lnTo>
                  <a:lnTo>
                    <a:pt x="5440" y="6724"/>
                  </a:lnTo>
                  <a:lnTo>
                    <a:pt x="5341" y="6782"/>
                  </a:lnTo>
                  <a:lnTo>
                    <a:pt x="5293" y="6810"/>
                  </a:lnTo>
                  <a:lnTo>
                    <a:pt x="5245" y="6836"/>
                  </a:lnTo>
                  <a:lnTo>
                    <a:pt x="5199" y="6862"/>
                  </a:lnTo>
                  <a:lnTo>
                    <a:pt x="5153" y="6887"/>
                  </a:lnTo>
                  <a:lnTo>
                    <a:pt x="5110" y="6910"/>
                  </a:lnTo>
                  <a:lnTo>
                    <a:pt x="5068" y="6930"/>
                  </a:lnTo>
                  <a:lnTo>
                    <a:pt x="5027" y="6950"/>
                  </a:lnTo>
                  <a:lnTo>
                    <a:pt x="4988" y="6967"/>
                  </a:lnTo>
                  <a:lnTo>
                    <a:pt x="4952" y="6982"/>
                  </a:lnTo>
                  <a:lnTo>
                    <a:pt x="4917" y="6994"/>
                  </a:lnTo>
                  <a:lnTo>
                    <a:pt x="4884" y="7004"/>
                  </a:lnTo>
                  <a:lnTo>
                    <a:pt x="4854" y="7012"/>
                  </a:lnTo>
                  <a:lnTo>
                    <a:pt x="4792" y="7012"/>
                  </a:lnTo>
                  <a:lnTo>
                    <a:pt x="4754" y="7011"/>
                  </a:lnTo>
                  <a:lnTo>
                    <a:pt x="4717" y="7006"/>
                  </a:lnTo>
                  <a:lnTo>
                    <a:pt x="4680" y="7000"/>
                  </a:lnTo>
                  <a:lnTo>
                    <a:pt x="4642" y="6992"/>
                  </a:lnTo>
                  <a:lnTo>
                    <a:pt x="4605" y="6981"/>
                  </a:lnTo>
                  <a:lnTo>
                    <a:pt x="4569" y="6968"/>
                  </a:lnTo>
                  <a:lnTo>
                    <a:pt x="4534" y="6954"/>
                  </a:lnTo>
                  <a:lnTo>
                    <a:pt x="4499" y="6938"/>
                  </a:lnTo>
                  <a:lnTo>
                    <a:pt x="4465" y="6921"/>
                  </a:lnTo>
                  <a:lnTo>
                    <a:pt x="4432" y="6903"/>
                  </a:lnTo>
                  <a:lnTo>
                    <a:pt x="4367" y="6863"/>
                  </a:lnTo>
                  <a:lnTo>
                    <a:pt x="4337" y="6843"/>
                  </a:lnTo>
                  <a:lnTo>
                    <a:pt x="4307" y="6821"/>
                  </a:lnTo>
                  <a:lnTo>
                    <a:pt x="4278" y="6799"/>
                  </a:lnTo>
                  <a:lnTo>
                    <a:pt x="4250" y="6778"/>
                  </a:lnTo>
                  <a:lnTo>
                    <a:pt x="4224" y="6756"/>
                  </a:lnTo>
                  <a:lnTo>
                    <a:pt x="4198" y="6735"/>
                  </a:lnTo>
                  <a:lnTo>
                    <a:pt x="4175" y="6713"/>
                  </a:lnTo>
                  <a:lnTo>
                    <a:pt x="4152" y="6692"/>
                  </a:lnTo>
                  <a:lnTo>
                    <a:pt x="4131" y="6672"/>
                  </a:lnTo>
                  <a:lnTo>
                    <a:pt x="4112" y="6652"/>
                  </a:lnTo>
                  <a:lnTo>
                    <a:pt x="4094" y="6635"/>
                  </a:lnTo>
                  <a:lnTo>
                    <a:pt x="4078" y="6617"/>
                  </a:lnTo>
                  <a:lnTo>
                    <a:pt x="4063" y="6602"/>
                  </a:lnTo>
                  <a:lnTo>
                    <a:pt x="4050" y="6587"/>
                  </a:lnTo>
                  <a:lnTo>
                    <a:pt x="4038" y="6575"/>
                  </a:lnTo>
                  <a:lnTo>
                    <a:pt x="4029" y="6565"/>
                  </a:lnTo>
                  <a:lnTo>
                    <a:pt x="4022" y="6555"/>
                  </a:lnTo>
                  <a:lnTo>
                    <a:pt x="4017" y="6549"/>
                  </a:lnTo>
                  <a:lnTo>
                    <a:pt x="4014" y="6545"/>
                  </a:lnTo>
                  <a:lnTo>
                    <a:pt x="4013" y="6544"/>
                  </a:lnTo>
                  <a:lnTo>
                    <a:pt x="4854" y="4799"/>
                  </a:lnTo>
                  <a:lnTo>
                    <a:pt x="4138" y="5641"/>
                  </a:lnTo>
                  <a:lnTo>
                    <a:pt x="4137" y="5640"/>
                  </a:lnTo>
                  <a:lnTo>
                    <a:pt x="4134" y="5634"/>
                  </a:lnTo>
                  <a:lnTo>
                    <a:pt x="4130" y="5627"/>
                  </a:lnTo>
                  <a:lnTo>
                    <a:pt x="4125" y="5617"/>
                  </a:lnTo>
                  <a:lnTo>
                    <a:pt x="4118" y="5605"/>
                  </a:lnTo>
                  <a:lnTo>
                    <a:pt x="4110" y="5588"/>
                  </a:lnTo>
                  <a:lnTo>
                    <a:pt x="4099" y="5570"/>
                  </a:lnTo>
                  <a:lnTo>
                    <a:pt x="4087" y="5547"/>
                  </a:lnTo>
                  <a:lnTo>
                    <a:pt x="4073" y="5522"/>
                  </a:lnTo>
                  <a:lnTo>
                    <a:pt x="4056" y="5494"/>
                  </a:lnTo>
                  <a:lnTo>
                    <a:pt x="4038" y="5463"/>
                  </a:lnTo>
                  <a:lnTo>
                    <a:pt x="4019" y="5430"/>
                  </a:lnTo>
                  <a:lnTo>
                    <a:pt x="3997" y="5393"/>
                  </a:lnTo>
                  <a:lnTo>
                    <a:pt x="3972" y="5354"/>
                  </a:lnTo>
                  <a:lnTo>
                    <a:pt x="3947" y="5312"/>
                  </a:lnTo>
                  <a:lnTo>
                    <a:pt x="3919" y="5267"/>
                  </a:lnTo>
                  <a:lnTo>
                    <a:pt x="3888" y="5220"/>
                  </a:lnTo>
                  <a:lnTo>
                    <a:pt x="3854" y="5175"/>
                  </a:lnTo>
                  <a:lnTo>
                    <a:pt x="3818" y="5129"/>
                  </a:lnTo>
                  <a:lnTo>
                    <a:pt x="3780" y="5084"/>
                  </a:lnTo>
                  <a:lnTo>
                    <a:pt x="3702" y="4995"/>
                  </a:lnTo>
                  <a:lnTo>
                    <a:pt x="3664" y="4949"/>
                  </a:lnTo>
                  <a:lnTo>
                    <a:pt x="3627" y="4904"/>
                  </a:lnTo>
                  <a:lnTo>
                    <a:pt x="3591" y="4859"/>
                  </a:lnTo>
                  <a:lnTo>
                    <a:pt x="3558" y="4812"/>
                  </a:lnTo>
                  <a:lnTo>
                    <a:pt x="3528" y="4766"/>
                  </a:lnTo>
                  <a:lnTo>
                    <a:pt x="3515" y="4742"/>
                  </a:lnTo>
                  <a:lnTo>
                    <a:pt x="3503" y="4719"/>
                  </a:lnTo>
                  <a:lnTo>
                    <a:pt x="3491" y="4695"/>
                  </a:lnTo>
                  <a:lnTo>
                    <a:pt x="3481" y="4670"/>
                  </a:lnTo>
                  <a:lnTo>
                    <a:pt x="3472" y="4646"/>
                  </a:lnTo>
                  <a:lnTo>
                    <a:pt x="3464" y="4621"/>
                  </a:lnTo>
                  <a:lnTo>
                    <a:pt x="3459" y="4596"/>
                  </a:lnTo>
                  <a:lnTo>
                    <a:pt x="3454" y="4570"/>
                  </a:lnTo>
                  <a:lnTo>
                    <a:pt x="3452" y="4545"/>
                  </a:lnTo>
                  <a:lnTo>
                    <a:pt x="3451" y="4519"/>
                  </a:lnTo>
                  <a:lnTo>
                    <a:pt x="3453" y="4491"/>
                  </a:lnTo>
                  <a:lnTo>
                    <a:pt x="3457" y="4460"/>
                  </a:lnTo>
                  <a:lnTo>
                    <a:pt x="3464" y="4427"/>
                  </a:lnTo>
                  <a:lnTo>
                    <a:pt x="3475" y="4391"/>
                  </a:lnTo>
                  <a:lnTo>
                    <a:pt x="3488" y="4353"/>
                  </a:lnTo>
                  <a:lnTo>
                    <a:pt x="3504" y="4313"/>
                  </a:lnTo>
                  <a:lnTo>
                    <a:pt x="3522" y="4270"/>
                  </a:lnTo>
                  <a:lnTo>
                    <a:pt x="3543" y="4225"/>
                  </a:lnTo>
                  <a:lnTo>
                    <a:pt x="3566" y="4179"/>
                  </a:lnTo>
                  <a:lnTo>
                    <a:pt x="3591" y="4131"/>
                  </a:lnTo>
                  <a:lnTo>
                    <a:pt x="3619" y="4080"/>
                  </a:lnTo>
                  <a:lnTo>
                    <a:pt x="3648" y="4029"/>
                  </a:lnTo>
                  <a:lnTo>
                    <a:pt x="3680" y="3976"/>
                  </a:lnTo>
                  <a:lnTo>
                    <a:pt x="3714" y="3921"/>
                  </a:lnTo>
                  <a:lnTo>
                    <a:pt x="3749" y="3866"/>
                  </a:lnTo>
                  <a:lnTo>
                    <a:pt x="3787" y="3809"/>
                  </a:lnTo>
                  <a:lnTo>
                    <a:pt x="3826" y="3753"/>
                  </a:lnTo>
                  <a:lnTo>
                    <a:pt x="3866" y="3694"/>
                  </a:lnTo>
                  <a:lnTo>
                    <a:pt x="3907" y="3635"/>
                  </a:lnTo>
                  <a:lnTo>
                    <a:pt x="3951" y="3575"/>
                  </a:lnTo>
                  <a:lnTo>
                    <a:pt x="3995" y="3516"/>
                  </a:lnTo>
                  <a:lnTo>
                    <a:pt x="4041" y="3456"/>
                  </a:lnTo>
                  <a:lnTo>
                    <a:pt x="4088" y="3395"/>
                  </a:lnTo>
                  <a:lnTo>
                    <a:pt x="4135" y="3335"/>
                  </a:lnTo>
                  <a:lnTo>
                    <a:pt x="4234" y="3215"/>
                  </a:lnTo>
                  <a:lnTo>
                    <a:pt x="4335" y="3096"/>
                  </a:lnTo>
                  <a:lnTo>
                    <a:pt x="4438" y="2980"/>
                  </a:lnTo>
                  <a:lnTo>
                    <a:pt x="4490" y="2922"/>
                  </a:lnTo>
                  <a:lnTo>
                    <a:pt x="4542" y="2867"/>
                  </a:lnTo>
                  <a:lnTo>
                    <a:pt x="4642" y="2754"/>
                  </a:lnTo>
                  <a:lnTo>
                    <a:pt x="4741" y="2642"/>
                  </a:lnTo>
                  <a:lnTo>
                    <a:pt x="4842" y="2529"/>
                  </a:lnTo>
                  <a:lnTo>
                    <a:pt x="4940" y="2417"/>
                  </a:lnTo>
                  <a:lnTo>
                    <a:pt x="5038" y="2306"/>
                  </a:lnTo>
                  <a:lnTo>
                    <a:pt x="5134" y="2199"/>
                  </a:lnTo>
                  <a:lnTo>
                    <a:pt x="5180" y="2147"/>
                  </a:lnTo>
                  <a:lnTo>
                    <a:pt x="5227" y="2096"/>
                  </a:lnTo>
                  <a:lnTo>
                    <a:pt x="5272" y="2047"/>
                  </a:lnTo>
                  <a:lnTo>
                    <a:pt x="5317" y="1998"/>
                  </a:lnTo>
                  <a:lnTo>
                    <a:pt x="5362" y="1951"/>
                  </a:lnTo>
                  <a:lnTo>
                    <a:pt x="5405" y="1907"/>
                  </a:lnTo>
                  <a:lnTo>
                    <a:pt x="5448" y="1863"/>
                  </a:lnTo>
                  <a:lnTo>
                    <a:pt x="5489" y="1822"/>
                  </a:lnTo>
                  <a:lnTo>
                    <a:pt x="5529" y="1783"/>
                  </a:lnTo>
                  <a:lnTo>
                    <a:pt x="5568" y="1746"/>
                  </a:lnTo>
                  <a:lnTo>
                    <a:pt x="5606" y="1711"/>
                  </a:lnTo>
                  <a:lnTo>
                    <a:pt x="5643" y="1679"/>
                  </a:lnTo>
                  <a:lnTo>
                    <a:pt x="5678" y="1650"/>
                  </a:lnTo>
                  <a:lnTo>
                    <a:pt x="5712" y="1622"/>
                  </a:lnTo>
                  <a:lnTo>
                    <a:pt x="5744" y="1599"/>
                  </a:lnTo>
                  <a:lnTo>
                    <a:pt x="5775" y="1578"/>
                  </a:lnTo>
                  <a:lnTo>
                    <a:pt x="5805" y="1561"/>
                  </a:lnTo>
                  <a:lnTo>
                    <a:pt x="5832" y="1545"/>
                  </a:lnTo>
                  <a:lnTo>
                    <a:pt x="5858" y="1534"/>
                  </a:lnTo>
                  <a:lnTo>
                    <a:pt x="5882" y="1527"/>
                  </a:lnTo>
                  <a:lnTo>
                    <a:pt x="6475" y="1434"/>
                  </a:lnTo>
                  <a:lnTo>
                    <a:pt x="6533" y="1425"/>
                  </a:lnTo>
                  <a:lnTo>
                    <a:pt x="6587" y="1416"/>
                  </a:lnTo>
                  <a:lnTo>
                    <a:pt x="6641" y="1407"/>
                  </a:lnTo>
                  <a:lnTo>
                    <a:pt x="6693" y="1398"/>
                  </a:lnTo>
                  <a:lnTo>
                    <a:pt x="6742" y="1389"/>
                  </a:lnTo>
                  <a:lnTo>
                    <a:pt x="6790" y="1379"/>
                  </a:lnTo>
                  <a:lnTo>
                    <a:pt x="6835" y="1370"/>
                  </a:lnTo>
                  <a:lnTo>
                    <a:pt x="6879" y="1361"/>
                  </a:lnTo>
                  <a:lnTo>
                    <a:pt x="6921" y="1350"/>
                  </a:lnTo>
                  <a:lnTo>
                    <a:pt x="6961" y="1342"/>
                  </a:lnTo>
                  <a:lnTo>
                    <a:pt x="6998" y="1333"/>
                  </a:lnTo>
                  <a:lnTo>
                    <a:pt x="7034" y="1324"/>
                  </a:lnTo>
                  <a:lnTo>
                    <a:pt x="7068" y="1314"/>
                  </a:lnTo>
                  <a:lnTo>
                    <a:pt x="7101" y="1306"/>
                  </a:lnTo>
                  <a:lnTo>
                    <a:pt x="7131" y="1298"/>
                  </a:lnTo>
                  <a:lnTo>
                    <a:pt x="7160" y="1290"/>
                  </a:lnTo>
                  <a:lnTo>
                    <a:pt x="7187" y="1281"/>
                  </a:lnTo>
                  <a:lnTo>
                    <a:pt x="7212" y="1274"/>
                  </a:lnTo>
                  <a:lnTo>
                    <a:pt x="7236" y="1267"/>
                  </a:lnTo>
                  <a:lnTo>
                    <a:pt x="7256" y="1260"/>
                  </a:lnTo>
                  <a:lnTo>
                    <a:pt x="7276" y="1254"/>
                  </a:lnTo>
                  <a:lnTo>
                    <a:pt x="7294" y="1247"/>
                  </a:lnTo>
                  <a:lnTo>
                    <a:pt x="7310" y="1241"/>
                  </a:lnTo>
                  <a:lnTo>
                    <a:pt x="7324" y="1236"/>
                  </a:lnTo>
                  <a:lnTo>
                    <a:pt x="7337" y="1232"/>
                  </a:lnTo>
                  <a:lnTo>
                    <a:pt x="7348" y="1228"/>
                  </a:lnTo>
                  <a:lnTo>
                    <a:pt x="7357" y="1224"/>
                  </a:lnTo>
                  <a:lnTo>
                    <a:pt x="7365" y="1221"/>
                  </a:lnTo>
                  <a:lnTo>
                    <a:pt x="7371" y="1219"/>
                  </a:lnTo>
                  <a:lnTo>
                    <a:pt x="7375" y="1217"/>
                  </a:lnTo>
                  <a:lnTo>
                    <a:pt x="7377" y="1216"/>
                  </a:lnTo>
                  <a:lnTo>
                    <a:pt x="7378" y="1216"/>
                  </a:lnTo>
                  <a:lnTo>
                    <a:pt x="6381" y="1246"/>
                  </a:lnTo>
                  <a:lnTo>
                    <a:pt x="6383" y="1245"/>
                  </a:lnTo>
                  <a:lnTo>
                    <a:pt x="6385" y="1243"/>
                  </a:lnTo>
                  <a:lnTo>
                    <a:pt x="6389" y="1238"/>
                  </a:lnTo>
                  <a:lnTo>
                    <a:pt x="6393" y="1232"/>
                  </a:lnTo>
                  <a:lnTo>
                    <a:pt x="6398" y="1225"/>
                  </a:lnTo>
                  <a:lnTo>
                    <a:pt x="6405" y="1216"/>
                  </a:lnTo>
                  <a:lnTo>
                    <a:pt x="6411" y="1205"/>
                  </a:lnTo>
                  <a:lnTo>
                    <a:pt x="6419" y="1193"/>
                  </a:lnTo>
                  <a:lnTo>
                    <a:pt x="6427" y="1179"/>
                  </a:lnTo>
                  <a:lnTo>
                    <a:pt x="6438" y="1165"/>
                  </a:lnTo>
                  <a:lnTo>
                    <a:pt x="6448" y="1149"/>
                  </a:lnTo>
                  <a:lnTo>
                    <a:pt x="6459" y="1131"/>
                  </a:lnTo>
                  <a:lnTo>
                    <a:pt x="6472" y="1114"/>
                  </a:lnTo>
                  <a:lnTo>
                    <a:pt x="6485" y="1094"/>
                  </a:lnTo>
                  <a:lnTo>
                    <a:pt x="6501" y="1073"/>
                  </a:lnTo>
                  <a:lnTo>
                    <a:pt x="6516" y="1052"/>
                  </a:lnTo>
                  <a:lnTo>
                    <a:pt x="6533" y="1029"/>
                  </a:lnTo>
                  <a:lnTo>
                    <a:pt x="6550" y="1006"/>
                  </a:lnTo>
                  <a:lnTo>
                    <a:pt x="6569" y="982"/>
                  </a:lnTo>
                  <a:lnTo>
                    <a:pt x="6589" y="957"/>
                  </a:lnTo>
                  <a:lnTo>
                    <a:pt x="6610" y="932"/>
                  </a:lnTo>
                  <a:lnTo>
                    <a:pt x="6633" y="905"/>
                  </a:lnTo>
                  <a:lnTo>
                    <a:pt x="6655" y="880"/>
                  </a:lnTo>
                  <a:lnTo>
                    <a:pt x="6680" y="852"/>
                  </a:lnTo>
                  <a:lnTo>
                    <a:pt x="6706" y="824"/>
                  </a:lnTo>
                  <a:lnTo>
                    <a:pt x="6734" y="796"/>
                  </a:lnTo>
                  <a:lnTo>
                    <a:pt x="6762" y="768"/>
                  </a:lnTo>
                  <a:lnTo>
                    <a:pt x="6792" y="740"/>
                  </a:lnTo>
                  <a:lnTo>
                    <a:pt x="6822" y="711"/>
                  </a:lnTo>
                  <a:lnTo>
                    <a:pt x="6855" y="682"/>
                  </a:lnTo>
                  <a:lnTo>
                    <a:pt x="6888" y="652"/>
                  </a:lnTo>
                  <a:lnTo>
                    <a:pt x="6923" y="623"/>
                  </a:lnTo>
                  <a:lnTo>
                    <a:pt x="6959" y="594"/>
                  </a:lnTo>
                  <a:lnTo>
                    <a:pt x="6996" y="565"/>
                  </a:lnTo>
                  <a:lnTo>
                    <a:pt x="7035" y="536"/>
                  </a:lnTo>
                  <a:lnTo>
                    <a:pt x="7076" y="507"/>
                  </a:lnTo>
                  <a:lnTo>
                    <a:pt x="7117" y="478"/>
                  </a:lnTo>
                  <a:lnTo>
                    <a:pt x="7160" y="450"/>
                  </a:lnTo>
                  <a:lnTo>
                    <a:pt x="7205" y="422"/>
                  </a:lnTo>
                  <a:lnTo>
                    <a:pt x="7250" y="395"/>
                  </a:lnTo>
                  <a:lnTo>
                    <a:pt x="7297" y="368"/>
                  </a:lnTo>
                  <a:lnTo>
                    <a:pt x="7347" y="341"/>
                  </a:lnTo>
                  <a:lnTo>
                    <a:pt x="7398" y="314"/>
                  </a:lnTo>
                  <a:lnTo>
                    <a:pt x="7449" y="290"/>
                  </a:lnTo>
                  <a:lnTo>
                    <a:pt x="7503" y="265"/>
                  </a:lnTo>
                  <a:lnTo>
                    <a:pt x="7559" y="240"/>
                  </a:lnTo>
                  <a:lnTo>
                    <a:pt x="7615" y="217"/>
                  </a:lnTo>
                  <a:lnTo>
                    <a:pt x="7674" y="195"/>
                  </a:lnTo>
                  <a:lnTo>
                    <a:pt x="7734" y="173"/>
                  </a:lnTo>
                  <a:lnTo>
                    <a:pt x="7796" y="153"/>
                  </a:lnTo>
                  <a:lnTo>
                    <a:pt x="7859" y="134"/>
                  </a:lnTo>
                  <a:lnTo>
                    <a:pt x="7924" y="115"/>
                  </a:lnTo>
                  <a:lnTo>
                    <a:pt x="7991" y="98"/>
                  </a:lnTo>
                  <a:lnTo>
                    <a:pt x="8059" y="81"/>
                  </a:lnTo>
                  <a:lnTo>
                    <a:pt x="8130" y="67"/>
                  </a:lnTo>
                  <a:lnTo>
                    <a:pt x="8202" y="54"/>
                  </a:lnTo>
                  <a:lnTo>
                    <a:pt x="8275" y="41"/>
                  </a:lnTo>
                  <a:lnTo>
                    <a:pt x="8350" y="31"/>
                  </a:lnTo>
                  <a:lnTo>
                    <a:pt x="8428" y="22"/>
                  </a:lnTo>
                  <a:lnTo>
                    <a:pt x="8507" y="14"/>
                  </a:lnTo>
                  <a:lnTo>
                    <a:pt x="8589" y="8"/>
                  </a:lnTo>
                  <a:lnTo>
                    <a:pt x="8671" y="4"/>
                  </a:lnTo>
                  <a:lnTo>
                    <a:pt x="8756" y="1"/>
                  </a:lnTo>
                  <a:lnTo>
                    <a:pt x="8843" y="0"/>
                  </a:lnTo>
                  <a:lnTo>
                    <a:pt x="9062" y="0"/>
                  </a:lnTo>
                  <a:lnTo>
                    <a:pt x="9114" y="4"/>
                  </a:lnTo>
                  <a:lnTo>
                    <a:pt x="9166" y="8"/>
                  </a:lnTo>
                  <a:lnTo>
                    <a:pt x="9217" y="14"/>
                  </a:lnTo>
                  <a:lnTo>
                    <a:pt x="9266" y="23"/>
                  </a:lnTo>
                  <a:lnTo>
                    <a:pt x="9316" y="31"/>
                  </a:lnTo>
                  <a:lnTo>
                    <a:pt x="9365" y="41"/>
                  </a:lnTo>
                  <a:lnTo>
                    <a:pt x="9413" y="52"/>
                  </a:lnTo>
                  <a:lnTo>
                    <a:pt x="9460" y="64"/>
                  </a:lnTo>
                  <a:lnTo>
                    <a:pt x="9507" y="77"/>
                  </a:lnTo>
                  <a:lnTo>
                    <a:pt x="9553" y="91"/>
                  </a:lnTo>
                  <a:lnTo>
                    <a:pt x="9643" y="123"/>
                  </a:lnTo>
                  <a:lnTo>
                    <a:pt x="9731" y="158"/>
                  </a:lnTo>
                  <a:lnTo>
                    <a:pt x="9815" y="196"/>
                  </a:lnTo>
                  <a:lnTo>
                    <a:pt x="9897" y="237"/>
                  </a:lnTo>
                  <a:lnTo>
                    <a:pt x="9976" y="280"/>
                  </a:lnTo>
                  <a:lnTo>
                    <a:pt x="10053" y="327"/>
                  </a:lnTo>
                  <a:lnTo>
                    <a:pt x="10126" y="375"/>
                  </a:lnTo>
                  <a:lnTo>
                    <a:pt x="10197" y="425"/>
                  </a:lnTo>
                  <a:lnTo>
                    <a:pt x="10265" y="477"/>
                  </a:lnTo>
                  <a:lnTo>
                    <a:pt x="10330" y="531"/>
                  </a:lnTo>
                  <a:lnTo>
                    <a:pt x="10393" y="584"/>
                  </a:lnTo>
                  <a:lnTo>
                    <a:pt x="10453" y="639"/>
                  </a:lnTo>
                  <a:lnTo>
                    <a:pt x="10511" y="693"/>
                  </a:lnTo>
                  <a:lnTo>
                    <a:pt x="10565" y="747"/>
                  </a:lnTo>
                  <a:lnTo>
                    <a:pt x="10617" y="801"/>
                  </a:lnTo>
                  <a:lnTo>
                    <a:pt x="10666" y="855"/>
                  </a:lnTo>
                  <a:lnTo>
                    <a:pt x="10712" y="908"/>
                  </a:lnTo>
                  <a:lnTo>
                    <a:pt x="10756" y="958"/>
                  </a:lnTo>
                  <a:lnTo>
                    <a:pt x="10797" y="1007"/>
                  </a:lnTo>
                  <a:lnTo>
                    <a:pt x="10835" y="1056"/>
                  </a:lnTo>
                  <a:lnTo>
                    <a:pt x="10870" y="1101"/>
                  </a:lnTo>
                  <a:lnTo>
                    <a:pt x="10903" y="1143"/>
                  </a:lnTo>
                  <a:lnTo>
                    <a:pt x="10933" y="1184"/>
                  </a:lnTo>
                  <a:lnTo>
                    <a:pt x="10960" y="1221"/>
                  </a:lnTo>
                  <a:lnTo>
                    <a:pt x="10985" y="1254"/>
                  </a:lnTo>
                  <a:lnTo>
                    <a:pt x="11007" y="1284"/>
                  </a:lnTo>
                  <a:lnTo>
                    <a:pt x="11016" y="1297"/>
                  </a:lnTo>
                  <a:lnTo>
                    <a:pt x="11025" y="1309"/>
                  </a:lnTo>
                  <a:lnTo>
                    <a:pt x="10993" y="1309"/>
                  </a:lnTo>
                  <a:lnTo>
                    <a:pt x="10963" y="1311"/>
                  </a:lnTo>
                  <a:lnTo>
                    <a:pt x="10931" y="1316"/>
                  </a:lnTo>
                  <a:lnTo>
                    <a:pt x="10898" y="1324"/>
                  </a:lnTo>
                  <a:lnTo>
                    <a:pt x="10864" y="1334"/>
                  </a:lnTo>
                  <a:lnTo>
                    <a:pt x="10830" y="1345"/>
                  </a:lnTo>
                  <a:lnTo>
                    <a:pt x="10797" y="1359"/>
                  </a:lnTo>
                  <a:lnTo>
                    <a:pt x="10764" y="1372"/>
                  </a:lnTo>
                  <a:lnTo>
                    <a:pt x="10732" y="1388"/>
                  </a:lnTo>
                  <a:lnTo>
                    <a:pt x="10703" y="1402"/>
                  </a:lnTo>
                  <a:lnTo>
                    <a:pt x="10675" y="1415"/>
                  </a:lnTo>
                  <a:lnTo>
                    <a:pt x="10651" y="1429"/>
                  </a:lnTo>
                  <a:lnTo>
                    <a:pt x="10630" y="1440"/>
                  </a:lnTo>
                  <a:lnTo>
                    <a:pt x="10621" y="1446"/>
                  </a:lnTo>
                  <a:lnTo>
                    <a:pt x="10612" y="1450"/>
                  </a:lnTo>
                  <a:lnTo>
                    <a:pt x="10605" y="1454"/>
                  </a:lnTo>
                  <a:lnTo>
                    <a:pt x="10600" y="1459"/>
                  </a:lnTo>
                  <a:lnTo>
                    <a:pt x="10595" y="1461"/>
                  </a:lnTo>
                  <a:lnTo>
                    <a:pt x="10592" y="1463"/>
                  </a:lnTo>
                  <a:lnTo>
                    <a:pt x="10590" y="1465"/>
                  </a:lnTo>
                  <a:lnTo>
                    <a:pt x="10589" y="1465"/>
                  </a:lnTo>
                  <a:lnTo>
                    <a:pt x="10868" y="1465"/>
                  </a:lnTo>
                  <a:lnTo>
                    <a:pt x="10914" y="1465"/>
                  </a:lnTo>
                  <a:lnTo>
                    <a:pt x="10957" y="1466"/>
                  </a:lnTo>
                  <a:lnTo>
                    <a:pt x="10997" y="1467"/>
                  </a:lnTo>
                  <a:lnTo>
                    <a:pt x="11037" y="1469"/>
                  </a:lnTo>
                  <a:lnTo>
                    <a:pt x="11074" y="1472"/>
                  </a:lnTo>
                  <a:lnTo>
                    <a:pt x="11110" y="1478"/>
                  </a:lnTo>
                  <a:lnTo>
                    <a:pt x="11145" y="1485"/>
                  </a:lnTo>
                  <a:lnTo>
                    <a:pt x="11180" y="1496"/>
                  </a:lnTo>
                  <a:lnTo>
                    <a:pt x="11215" y="1508"/>
                  </a:lnTo>
                  <a:lnTo>
                    <a:pt x="11249" y="1521"/>
                  </a:lnTo>
                  <a:lnTo>
                    <a:pt x="11283" y="1535"/>
                  </a:lnTo>
                  <a:lnTo>
                    <a:pt x="11316" y="1551"/>
                  </a:lnTo>
                  <a:lnTo>
                    <a:pt x="11349" y="1568"/>
                  </a:lnTo>
                  <a:lnTo>
                    <a:pt x="11383" y="1587"/>
                  </a:lnTo>
                  <a:lnTo>
                    <a:pt x="11416" y="1609"/>
                  </a:lnTo>
                  <a:lnTo>
                    <a:pt x="11449" y="1633"/>
                  </a:lnTo>
                  <a:lnTo>
                    <a:pt x="11484" y="1658"/>
                  </a:lnTo>
                  <a:lnTo>
                    <a:pt x="11518" y="1687"/>
                  </a:lnTo>
                  <a:lnTo>
                    <a:pt x="11553" y="1719"/>
                  </a:lnTo>
                  <a:lnTo>
                    <a:pt x="11589" y="1754"/>
                  </a:lnTo>
                  <a:lnTo>
                    <a:pt x="11625" y="1793"/>
                  </a:lnTo>
                  <a:lnTo>
                    <a:pt x="11663" y="1836"/>
                  </a:lnTo>
                  <a:lnTo>
                    <a:pt x="11682" y="1858"/>
                  </a:lnTo>
                  <a:lnTo>
                    <a:pt x="11701" y="1882"/>
                  </a:lnTo>
                  <a:lnTo>
                    <a:pt x="11721" y="1907"/>
                  </a:lnTo>
                  <a:lnTo>
                    <a:pt x="11742" y="1932"/>
                  </a:lnTo>
                  <a:lnTo>
                    <a:pt x="11769" y="1967"/>
                  </a:lnTo>
                  <a:lnTo>
                    <a:pt x="11794" y="2004"/>
                  </a:lnTo>
                  <a:lnTo>
                    <a:pt x="11816" y="2040"/>
                  </a:lnTo>
                  <a:lnTo>
                    <a:pt x="11833" y="2075"/>
                  </a:lnTo>
                  <a:lnTo>
                    <a:pt x="11848" y="2109"/>
                  </a:lnTo>
                  <a:lnTo>
                    <a:pt x="11859" y="2143"/>
                  </a:lnTo>
                  <a:lnTo>
                    <a:pt x="11867" y="2174"/>
                  </a:lnTo>
                  <a:lnTo>
                    <a:pt x="11871" y="2204"/>
                  </a:lnTo>
                  <a:lnTo>
                    <a:pt x="11871" y="2219"/>
                  </a:lnTo>
                  <a:lnTo>
                    <a:pt x="11870" y="2233"/>
                  </a:lnTo>
                  <a:lnTo>
                    <a:pt x="11868" y="2246"/>
                  </a:lnTo>
                  <a:lnTo>
                    <a:pt x="11864" y="2258"/>
                  </a:lnTo>
                  <a:lnTo>
                    <a:pt x="11861" y="2270"/>
                  </a:lnTo>
                  <a:lnTo>
                    <a:pt x="11856" y="2281"/>
                  </a:lnTo>
                  <a:lnTo>
                    <a:pt x="11850" y="2291"/>
                  </a:lnTo>
                  <a:lnTo>
                    <a:pt x="11843" y="2300"/>
                  </a:lnTo>
                  <a:lnTo>
                    <a:pt x="11833" y="2308"/>
                  </a:lnTo>
                  <a:lnTo>
                    <a:pt x="11824" y="2316"/>
                  </a:lnTo>
                  <a:lnTo>
                    <a:pt x="11814" y="2322"/>
                  </a:lnTo>
                  <a:lnTo>
                    <a:pt x="11801" y="2328"/>
                  </a:lnTo>
                  <a:lnTo>
                    <a:pt x="11788" y="2332"/>
                  </a:lnTo>
                  <a:lnTo>
                    <a:pt x="11775" y="2335"/>
                  </a:lnTo>
                  <a:lnTo>
                    <a:pt x="11758" y="2336"/>
                  </a:lnTo>
                  <a:lnTo>
                    <a:pt x="11742" y="2337"/>
                  </a:lnTo>
                  <a:lnTo>
                    <a:pt x="11648" y="2337"/>
                  </a:lnTo>
                  <a:lnTo>
                    <a:pt x="11619" y="2337"/>
                  </a:lnTo>
                  <a:lnTo>
                    <a:pt x="11592" y="2338"/>
                  </a:lnTo>
                  <a:lnTo>
                    <a:pt x="11566" y="2339"/>
                  </a:lnTo>
                  <a:lnTo>
                    <a:pt x="11541" y="2340"/>
                  </a:lnTo>
                  <a:lnTo>
                    <a:pt x="11519" y="2341"/>
                  </a:lnTo>
                  <a:lnTo>
                    <a:pt x="11496" y="2343"/>
                  </a:lnTo>
                  <a:lnTo>
                    <a:pt x="11475" y="2345"/>
                  </a:lnTo>
                  <a:lnTo>
                    <a:pt x="11456" y="2348"/>
                  </a:lnTo>
                  <a:lnTo>
                    <a:pt x="11419" y="2354"/>
                  </a:lnTo>
                  <a:lnTo>
                    <a:pt x="11384" y="2360"/>
                  </a:lnTo>
                  <a:lnTo>
                    <a:pt x="11353" y="2368"/>
                  </a:lnTo>
                  <a:lnTo>
                    <a:pt x="11325" y="2376"/>
                  </a:lnTo>
                  <a:lnTo>
                    <a:pt x="11298" y="2385"/>
                  </a:lnTo>
                  <a:lnTo>
                    <a:pt x="11272" y="2395"/>
                  </a:lnTo>
                  <a:lnTo>
                    <a:pt x="11222" y="2416"/>
                  </a:lnTo>
                  <a:lnTo>
                    <a:pt x="11199" y="2427"/>
                  </a:lnTo>
                  <a:lnTo>
                    <a:pt x="11173" y="2438"/>
                  </a:lnTo>
                  <a:lnTo>
                    <a:pt x="11146" y="2451"/>
                  </a:lnTo>
                  <a:lnTo>
                    <a:pt x="11118" y="2462"/>
                  </a:lnTo>
                  <a:lnTo>
                    <a:pt x="11132" y="2461"/>
                  </a:lnTo>
                  <a:lnTo>
                    <a:pt x="11147" y="2457"/>
                  </a:lnTo>
                  <a:lnTo>
                    <a:pt x="11165" y="2453"/>
                  </a:lnTo>
                  <a:lnTo>
                    <a:pt x="11184" y="2446"/>
                  </a:lnTo>
                  <a:lnTo>
                    <a:pt x="11206" y="2441"/>
                  </a:lnTo>
                  <a:lnTo>
                    <a:pt x="11228" y="2436"/>
                  </a:lnTo>
                  <a:lnTo>
                    <a:pt x="11251" y="2432"/>
                  </a:lnTo>
                  <a:lnTo>
                    <a:pt x="11274" y="2431"/>
                  </a:lnTo>
                  <a:lnTo>
                    <a:pt x="11321" y="2432"/>
                  </a:lnTo>
                  <a:lnTo>
                    <a:pt x="11345" y="2433"/>
                  </a:lnTo>
                  <a:lnTo>
                    <a:pt x="11369" y="2435"/>
                  </a:lnTo>
                  <a:lnTo>
                    <a:pt x="11393" y="2439"/>
                  </a:lnTo>
                  <a:lnTo>
                    <a:pt x="11415" y="2444"/>
                  </a:lnTo>
                  <a:lnTo>
                    <a:pt x="11438" y="2453"/>
                  </a:lnTo>
                  <a:lnTo>
                    <a:pt x="11461" y="2463"/>
                  </a:lnTo>
                  <a:lnTo>
                    <a:pt x="11483" y="2476"/>
                  </a:lnTo>
                  <a:lnTo>
                    <a:pt x="11503" y="2493"/>
                  </a:lnTo>
                  <a:lnTo>
                    <a:pt x="11523" y="2513"/>
                  </a:lnTo>
                  <a:lnTo>
                    <a:pt x="11532" y="2526"/>
                  </a:lnTo>
                  <a:lnTo>
                    <a:pt x="11540" y="2538"/>
                  </a:lnTo>
                  <a:lnTo>
                    <a:pt x="11550" y="2551"/>
                  </a:lnTo>
                  <a:lnTo>
                    <a:pt x="11558" y="2567"/>
                  </a:lnTo>
                  <a:lnTo>
                    <a:pt x="11566" y="2582"/>
                  </a:lnTo>
                  <a:lnTo>
                    <a:pt x="11573" y="2600"/>
                  </a:lnTo>
                  <a:lnTo>
                    <a:pt x="11581" y="2618"/>
                  </a:lnTo>
                  <a:lnTo>
                    <a:pt x="11588" y="2638"/>
                  </a:lnTo>
                  <a:lnTo>
                    <a:pt x="11594" y="2660"/>
                  </a:lnTo>
                  <a:lnTo>
                    <a:pt x="11600" y="2682"/>
                  </a:lnTo>
                  <a:lnTo>
                    <a:pt x="11600" y="2715"/>
                  </a:lnTo>
                  <a:lnTo>
                    <a:pt x="11600" y="2746"/>
                  </a:lnTo>
                  <a:lnTo>
                    <a:pt x="11599" y="2774"/>
                  </a:lnTo>
                  <a:lnTo>
                    <a:pt x="11598" y="2800"/>
                  </a:lnTo>
                  <a:lnTo>
                    <a:pt x="11595" y="2824"/>
                  </a:lnTo>
                  <a:lnTo>
                    <a:pt x="11592" y="2846"/>
                  </a:lnTo>
                  <a:lnTo>
                    <a:pt x="11588" y="2866"/>
                  </a:lnTo>
                  <a:lnTo>
                    <a:pt x="11583" y="2883"/>
                  </a:lnTo>
                  <a:lnTo>
                    <a:pt x="11575" y="2900"/>
                  </a:lnTo>
                  <a:lnTo>
                    <a:pt x="11568" y="2913"/>
                  </a:lnTo>
                  <a:lnTo>
                    <a:pt x="11559" y="2925"/>
                  </a:lnTo>
                  <a:lnTo>
                    <a:pt x="11549" y="2937"/>
                  </a:lnTo>
                  <a:lnTo>
                    <a:pt x="11537" y="2946"/>
                  </a:lnTo>
                  <a:lnTo>
                    <a:pt x="11524" y="2953"/>
                  </a:lnTo>
                  <a:lnTo>
                    <a:pt x="11509" y="2959"/>
                  </a:lnTo>
                  <a:lnTo>
                    <a:pt x="11493" y="2965"/>
                  </a:lnTo>
                  <a:lnTo>
                    <a:pt x="11518" y="2955"/>
                  </a:lnTo>
                  <a:lnTo>
                    <a:pt x="11540" y="2948"/>
                  </a:lnTo>
                  <a:lnTo>
                    <a:pt x="11564" y="2943"/>
                  </a:lnTo>
                  <a:lnTo>
                    <a:pt x="11577" y="2940"/>
                  </a:lnTo>
                  <a:lnTo>
                    <a:pt x="11591" y="2938"/>
                  </a:lnTo>
                  <a:lnTo>
                    <a:pt x="11606" y="2937"/>
                  </a:lnTo>
                  <a:lnTo>
                    <a:pt x="11623" y="2935"/>
                  </a:lnTo>
                  <a:lnTo>
                    <a:pt x="11641" y="2934"/>
                  </a:lnTo>
                  <a:lnTo>
                    <a:pt x="11662" y="2933"/>
                  </a:lnTo>
                  <a:lnTo>
                    <a:pt x="11686" y="2932"/>
                  </a:lnTo>
                  <a:lnTo>
                    <a:pt x="11712" y="2931"/>
                  </a:lnTo>
                  <a:lnTo>
                    <a:pt x="11741" y="2931"/>
                  </a:lnTo>
                  <a:lnTo>
                    <a:pt x="11773" y="2930"/>
                  </a:lnTo>
                  <a:lnTo>
                    <a:pt x="11796" y="2931"/>
                  </a:lnTo>
                  <a:lnTo>
                    <a:pt x="11820" y="2933"/>
                  </a:lnTo>
                  <a:lnTo>
                    <a:pt x="11844" y="2937"/>
                  </a:lnTo>
                  <a:lnTo>
                    <a:pt x="11868" y="2943"/>
                  </a:lnTo>
                  <a:lnTo>
                    <a:pt x="11890" y="2950"/>
                  </a:lnTo>
                  <a:lnTo>
                    <a:pt x="11914" y="2959"/>
                  </a:lnTo>
                  <a:lnTo>
                    <a:pt x="11936" y="2970"/>
                  </a:lnTo>
                  <a:lnTo>
                    <a:pt x="11957" y="2981"/>
                  </a:lnTo>
                  <a:lnTo>
                    <a:pt x="11978" y="2994"/>
                  </a:lnTo>
                  <a:lnTo>
                    <a:pt x="11998" y="3008"/>
                  </a:lnTo>
                  <a:lnTo>
                    <a:pt x="12016" y="3023"/>
                  </a:lnTo>
                  <a:lnTo>
                    <a:pt x="12033" y="3040"/>
                  </a:lnTo>
                  <a:lnTo>
                    <a:pt x="12048" y="3057"/>
                  </a:lnTo>
                  <a:lnTo>
                    <a:pt x="12063" y="3076"/>
                  </a:lnTo>
                  <a:lnTo>
                    <a:pt x="12074" y="3095"/>
                  </a:lnTo>
                  <a:lnTo>
                    <a:pt x="12084" y="3116"/>
                  </a:lnTo>
                  <a:lnTo>
                    <a:pt x="12094" y="3137"/>
                  </a:lnTo>
                  <a:lnTo>
                    <a:pt x="12102" y="3157"/>
                  </a:lnTo>
                  <a:lnTo>
                    <a:pt x="12110" y="3176"/>
                  </a:lnTo>
                  <a:lnTo>
                    <a:pt x="12117" y="3194"/>
                  </a:lnTo>
                  <a:lnTo>
                    <a:pt x="12124" y="3213"/>
                  </a:lnTo>
                  <a:lnTo>
                    <a:pt x="12128" y="3231"/>
                  </a:lnTo>
                  <a:lnTo>
                    <a:pt x="12130" y="3251"/>
                  </a:lnTo>
                  <a:lnTo>
                    <a:pt x="12130" y="3269"/>
                  </a:lnTo>
                  <a:lnTo>
                    <a:pt x="12127" y="3290"/>
                  </a:lnTo>
                  <a:lnTo>
                    <a:pt x="12120" y="3312"/>
                  </a:lnTo>
                  <a:lnTo>
                    <a:pt x="12111" y="3334"/>
                  </a:lnTo>
                  <a:lnTo>
                    <a:pt x="12105" y="3347"/>
                  </a:lnTo>
                  <a:lnTo>
                    <a:pt x="12098" y="3359"/>
                  </a:lnTo>
                  <a:lnTo>
                    <a:pt x="12090" y="3371"/>
                  </a:lnTo>
                  <a:lnTo>
                    <a:pt x="12080" y="3385"/>
                  </a:lnTo>
                  <a:lnTo>
                    <a:pt x="12070" y="3399"/>
                  </a:lnTo>
                  <a:lnTo>
                    <a:pt x="12058" y="3414"/>
                  </a:lnTo>
                  <a:lnTo>
                    <a:pt x="12045" y="3429"/>
                  </a:lnTo>
                  <a:lnTo>
                    <a:pt x="12031" y="3445"/>
                  </a:lnTo>
                  <a:lnTo>
                    <a:pt x="12015" y="3461"/>
                  </a:lnTo>
                  <a:lnTo>
                    <a:pt x="11999" y="3479"/>
                  </a:lnTo>
                  <a:lnTo>
                    <a:pt x="12016" y="3462"/>
                  </a:lnTo>
                  <a:lnTo>
                    <a:pt x="12035" y="3446"/>
                  </a:lnTo>
                  <a:lnTo>
                    <a:pt x="12053" y="3431"/>
                  </a:lnTo>
                  <a:lnTo>
                    <a:pt x="12073" y="3418"/>
                  </a:lnTo>
                  <a:lnTo>
                    <a:pt x="12093" y="3405"/>
                  </a:lnTo>
                  <a:lnTo>
                    <a:pt x="12113" y="3394"/>
                  </a:lnTo>
                  <a:lnTo>
                    <a:pt x="12134" y="3385"/>
                  </a:lnTo>
                  <a:lnTo>
                    <a:pt x="12156" y="3376"/>
                  </a:lnTo>
                  <a:lnTo>
                    <a:pt x="12199" y="3360"/>
                  </a:lnTo>
                  <a:lnTo>
                    <a:pt x="12243" y="3348"/>
                  </a:lnTo>
                  <a:lnTo>
                    <a:pt x="12288" y="3339"/>
                  </a:lnTo>
                  <a:lnTo>
                    <a:pt x="12333" y="3334"/>
                  </a:lnTo>
                  <a:lnTo>
                    <a:pt x="12350" y="3333"/>
                  </a:lnTo>
                  <a:lnTo>
                    <a:pt x="12367" y="3333"/>
                  </a:lnTo>
                  <a:lnTo>
                    <a:pt x="12385" y="3334"/>
                  </a:lnTo>
                  <a:lnTo>
                    <a:pt x="12401" y="3336"/>
                  </a:lnTo>
                  <a:lnTo>
                    <a:pt x="12418" y="3341"/>
                  </a:lnTo>
                  <a:lnTo>
                    <a:pt x="12433" y="3347"/>
                  </a:lnTo>
                  <a:lnTo>
                    <a:pt x="12447" y="3355"/>
                  </a:lnTo>
                  <a:lnTo>
                    <a:pt x="12458" y="3365"/>
                  </a:lnTo>
                  <a:lnTo>
                    <a:pt x="12474" y="3382"/>
                  </a:lnTo>
                  <a:lnTo>
                    <a:pt x="12487" y="3397"/>
                  </a:lnTo>
                  <a:lnTo>
                    <a:pt x="12499" y="3413"/>
                  </a:lnTo>
                  <a:lnTo>
                    <a:pt x="12511" y="3427"/>
                  </a:lnTo>
                  <a:lnTo>
                    <a:pt x="12520" y="3442"/>
                  </a:lnTo>
                  <a:lnTo>
                    <a:pt x="12528" y="3458"/>
                  </a:lnTo>
                  <a:lnTo>
                    <a:pt x="12534" y="3474"/>
                  </a:lnTo>
                  <a:lnTo>
                    <a:pt x="12539" y="3492"/>
                  </a:lnTo>
                  <a:lnTo>
                    <a:pt x="12542" y="3511"/>
                  </a:lnTo>
                  <a:lnTo>
                    <a:pt x="12544" y="3534"/>
                  </a:lnTo>
                  <a:lnTo>
                    <a:pt x="12543" y="3558"/>
                  </a:lnTo>
                  <a:lnTo>
                    <a:pt x="12541" y="3586"/>
                  </a:lnTo>
                  <a:lnTo>
                    <a:pt x="12537" y="3618"/>
                  </a:lnTo>
                  <a:lnTo>
                    <a:pt x="12533" y="3634"/>
                  </a:lnTo>
                  <a:lnTo>
                    <a:pt x="12529" y="3653"/>
                  </a:lnTo>
                  <a:lnTo>
                    <a:pt x="12526" y="3671"/>
                  </a:lnTo>
                  <a:lnTo>
                    <a:pt x="12521" y="3692"/>
                  </a:lnTo>
                  <a:lnTo>
                    <a:pt x="12516" y="3713"/>
                  </a:lnTo>
                  <a:lnTo>
                    <a:pt x="12511" y="3736"/>
                  </a:lnTo>
                  <a:lnTo>
                    <a:pt x="12505" y="3766"/>
                  </a:lnTo>
                  <a:lnTo>
                    <a:pt x="12497" y="3797"/>
                  </a:lnTo>
                  <a:lnTo>
                    <a:pt x="12483" y="3861"/>
                  </a:lnTo>
                  <a:lnTo>
                    <a:pt x="12465" y="3927"/>
                  </a:lnTo>
                  <a:lnTo>
                    <a:pt x="12447" y="3995"/>
                  </a:lnTo>
                  <a:lnTo>
                    <a:pt x="12427" y="4063"/>
                  </a:lnTo>
                  <a:lnTo>
                    <a:pt x="12407" y="4131"/>
                  </a:lnTo>
                  <a:lnTo>
                    <a:pt x="12387" y="4196"/>
                  </a:lnTo>
                  <a:lnTo>
                    <a:pt x="12367" y="4259"/>
                  </a:lnTo>
                  <a:lnTo>
                    <a:pt x="12358" y="4290"/>
                  </a:lnTo>
                  <a:lnTo>
                    <a:pt x="12349" y="4319"/>
                  </a:lnTo>
                  <a:lnTo>
                    <a:pt x="12339" y="4348"/>
                  </a:lnTo>
                  <a:lnTo>
                    <a:pt x="12330" y="4375"/>
                  </a:lnTo>
                  <a:lnTo>
                    <a:pt x="12322" y="4399"/>
                  </a:lnTo>
                  <a:lnTo>
                    <a:pt x="12315" y="4424"/>
                  </a:lnTo>
                  <a:lnTo>
                    <a:pt x="12306" y="4446"/>
                  </a:lnTo>
                  <a:lnTo>
                    <a:pt x="12300" y="4466"/>
                  </a:lnTo>
                  <a:lnTo>
                    <a:pt x="12294" y="4485"/>
                  </a:lnTo>
                  <a:lnTo>
                    <a:pt x="12288" y="4501"/>
                  </a:lnTo>
                  <a:lnTo>
                    <a:pt x="12283" y="4516"/>
                  </a:lnTo>
                  <a:lnTo>
                    <a:pt x="12278" y="4527"/>
                  </a:lnTo>
                  <a:lnTo>
                    <a:pt x="12275" y="4537"/>
                  </a:lnTo>
                  <a:lnTo>
                    <a:pt x="12273" y="4544"/>
                  </a:lnTo>
                  <a:lnTo>
                    <a:pt x="12272" y="4549"/>
                  </a:lnTo>
                  <a:lnTo>
                    <a:pt x="12271" y="4550"/>
                  </a:lnTo>
                  <a:lnTo>
                    <a:pt x="12272" y="4548"/>
                  </a:lnTo>
                  <a:lnTo>
                    <a:pt x="12276" y="4544"/>
                  </a:lnTo>
                  <a:lnTo>
                    <a:pt x="12283" y="4535"/>
                  </a:lnTo>
                  <a:lnTo>
                    <a:pt x="12291" y="4525"/>
                  </a:lnTo>
                  <a:lnTo>
                    <a:pt x="12301" y="4511"/>
                  </a:lnTo>
                  <a:lnTo>
                    <a:pt x="12314" y="4493"/>
                  </a:lnTo>
                  <a:lnTo>
                    <a:pt x="12328" y="4473"/>
                  </a:lnTo>
                  <a:lnTo>
                    <a:pt x="12343" y="4449"/>
                  </a:lnTo>
                  <a:lnTo>
                    <a:pt x="12360" y="4422"/>
                  </a:lnTo>
                  <a:lnTo>
                    <a:pt x="12379" y="4392"/>
                  </a:lnTo>
                  <a:lnTo>
                    <a:pt x="12398" y="4359"/>
                  </a:lnTo>
                  <a:lnTo>
                    <a:pt x="12419" y="4323"/>
                  </a:lnTo>
                  <a:lnTo>
                    <a:pt x="12439" y="4284"/>
                  </a:lnTo>
                  <a:lnTo>
                    <a:pt x="12462" y="4242"/>
                  </a:lnTo>
                  <a:lnTo>
                    <a:pt x="12484" y="4196"/>
                  </a:lnTo>
                  <a:lnTo>
                    <a:pt x="12507" y="4147"/>
                  </a:lnTo>
                  <a:lnTo>
                    <a:pt x="12529" y="4096"/>
                  </a:lnTo>
                  <a:lnTo>
                    <a:pt x="12553" y="4041"/>
                  </a:lnTo>
                  <a:lnTo>
                    <a:pt x="12576" y="3983"/>
                  </a:lnTo>
                  <a:lnTo>
                    <a:pt x="12597" y="3922"/>
                  </a:lnTo>
                  <a:lnTo>
                    <a:pt x="12620" y="3858"/>
                  </a:lnTo>
                  <a:lnTo>
                    <a:pt x="12642" y="3791"/>
                  </a:lnTo>
                  <a:lnTo>
                    <a:pt x="12662" y="3721"/>
                  </a:lnTo>
                  <a:lnTo>
                    <a:pt x="12682" y="3647"/>
                  </a:lnTo>
                  <a:lnTo>
                    <a:pt x="12701" y="3571"/>
                  </a:lnTo>
                  <a:lnTo>
                    <a:pt x="12718" y="3491"/>
                  </a:lnTo>
                  <a:lnTo>
                    <a:pt x="12735" y="3408"/>
                  </a:lnTo>
                  <a:lnTo>
                    <a:pt x="12749" y="3323"/>
                  </a:lnTo>
                  <a:lnTo>
                    <a:pt x="12763" y="3234"/>
                  </a:lnTo>
                  <a:lnTo>
                    <a:pt x="12773" y="3143"/>
                  </a:lnTo>
                  <a:lnTo>
                    <a:pt x="12782" y="3048"/>
                  </a:lnTo>
                  <a:lnTo>
                    <a:pt x="12789" y="2950"/>
                  </a:lnTo>
                  <a:lnTo>
                    <a:pt x="12793" y="2897"/>
                  </a:lnTo>
                  <a:lnTo>
                    <a:pt x="12795" y="2844"/>
                  </a:lnTo>
                  <a:lnTo>
                    <a:pt x="12796" y="2794"/>
                  </a:lnTo>
                  <a:lnTo>
                    <a:pt x="12797" y="2743"/>
                  </a:lnTo>
                  <a:lnTo>
                    <a:pt x="12798" y="2695"/>
                  </a:lnTo>
                  <a:lnTo>
                    <a:pt x="12798" y="2647"/>
                  </a:lnTo>
                  <a:lnTo>
                    <a:pt x="12798" y="2601"/>
                  </a:lnTo>
                  <a:lnTo>
                    <a:pt x="12798" y="2556"/>
                  </a:lnTo>
                  <a:lnTo>
                    <a:pt x="12797" y="2511"/>
                  </a:lnTo>
                  <a:lnTo>
                    <a:pt x="12796" y="2468"/>
                  </a:lnTo>
                  <a:lnTo>
                    <a:pt x="12794" y="2426"/>
                  </a:lnTo>
                  <a:lnTo>
                    <a:pt x="12791" y="2385"/>
                  </a:lnTo>
                  <a:lnTo>
                    <a:pt x="12789" y="2344"/>
                  </a:lnTo>
                  <a:lnTo>
                    <a:pt x="12787" y="2305"/>
                  </a:lnTo>
                  <a:lnTo>
                    <a:pt x="12781" y="2231"/>
                  </a:lnTo>
                  <a:lnTo>
                    <a:pt x="12774" y="2159"/>
                  </a:lnTo>
                  <a:lnTo>
                    <a:pt x="12767" y="2092"/>
                  </a:lnTo>
                  <a:lnTo>
                    <a:pt x="12759" y="2028"/>
                  </a:lnTo>
                  <a:lnTo>
                    <a:pt x="12751" y="1968"/>
                  </a:lnTo>
                  <a:lnTo>
                    <a:pt x="12742" y="1911"/>
                  </a:lnTo>
                  <a:lnTo>
                    <a:pt x="12734" y="1857"/>
                  </a:lnTo>
                  <a:lnTo>
                    <a:pt x="12724" y="1808"/>
                  </a:lnTo>
                  <a:lnTo>
                    <a:pt x="12716" y="1760"/>
                  </a:lnTo>
                  <a:lnTo>
                    <a:pt x="12708" y="1715"/>
                  </a:lnTo>
                  <a:lnTo>
                    <a:pt x="12701" y="1674"/>
                  </a:lnTo>
                  <a:lnTo>
                    <a:pt x="12693" y="1635"/>
                  </a:lnTo>
                  <a:lnTo>
                    <a:pt x="12687" y="1599"/>
                  </a:lnTo>
                  <a:lnTo>
                    <a:pt x="12683" y="1565"/>
                  </a:lnTo>
                  <a:lnTo>
                    <a:pt x="12679" y="1533"/>
                  </a:lnTo>
                  <a:lnTo>
                    <a:pt x="12676" y="1504"/>
                  </a:lnTo>
                  <a:lnTo>
                    <a:pt x="12675" y="1476"/>
                  </a:lnTo>
                  <a:lnTo>
                    <a:pt x="12676" y="1450"/>
                  </a:lnTo>
                  <a:lnTo>
                    <a:pt x="12678" y="1427"/>
                  </a:lnTo>
                  <a:lnTo>
                    <a:pt x="12682" y="1405"/>
                  </a:lnTo>
                  <a:lnTo>
                    <a:pt x="12688" y="1385"/>
                  </a:lnTo>
                  <a:lnTo>
                    <a:pt x="12697" y="1366"/>
                  </a:lnTo>
                  <a:lnTo>
                    <a:pt x="12707" y="1348"/>
                  </a:lnTo>
                  <a:lnTo>
                    <a:pt x="12720" y="1333"/>
                  </a:lnTo>
                  <a:lnTo>
                    <a:pt x="12737" y="1317"/>
                  </a:lnTo>
                  <a:lnTo>
                    <a:pt x="12752" y="1301"/>
                  </a:lnTo>
                  <a:lnTo>
                    <a:pt x="12769" y="1286"/>
                  </a:lnTo>
                  <a:lnTo>
                    <a:pt x="12786" y="1271"/>
                  </a:lnTo>
                  <a:lnTo>
                    <a:pt x="12805" y="1258"/>
                  </a:lnTo>
                  <a:lnTo>
                    <a:pt x="12825" y="1245"/>
                  </a:lnTo>
                  <a:lnTo>
                    <a:pt x="12845" y="1234"/>
                  </a:lnTo>
                  <a:lnTo>
                    <a:pt x="12890" y="1213"/>
                  </a:lnTo>
                  <a:lnTo>
                    <a:pt x="12938" y="1196"/>
                  </a:lnTo>
                  <a:lnTo>
                    <a:pt x="12989" y="1179"/>
                  </a:lnTo>
                  <a:lnTo>
                    <a:pt x="13041" y="1165"/>
                  </a:lnTo>
                  <a:lnTo>
                    <a:pt x="13096" y="1150"/>
                  </a:lnTo>
                  <a:lnTo>
                    <a:pt x="13153" y="1133"/>
                  </a:lnTo>
                  <a:lnTo>
                    <a:pt x="13210" y="1117"/>
                  </a:lnTo>
                  <a:lnTo>
                    <a:pt x="13267" y="1096"/>
                  </a:lnTo>
                  <a:lnTo>
                    <a:pt x="13326" y="1073"/>
                  </a:lnTo>
                  <a:lnTo>
                    <a:pt x="13355" y="1061"/>
                  </a:lnTo>
                  <a:lnTo>
                    <a:pt x="13383" y="1047"/>
                  </a:lnTo>
                  <a:lnTo>
                    <a:pt x="13412" y="1031"/>
                  </a:lnTo>
                  <a:lnTo>
                    <a:pt x="13440" y="1015"/>
                  </a:lnTo>
                  <a:lnTo>
                    <a:pt x="13468" y="997"/>
                  </a:lnTo>
                  <a:lnTo>
                    <a:pt x="13496" y="978"/>
                  </a:lnTo>
                  <a:lnTo>
                    <a:pt x="13522" y="957"/>
                  </a:lnTo>
                  <a:lnTo>
                    <a:pt x="13549" y="934"/>
                  </a:lnTo>
                  <a:lnTo>
                    <a:pt x="13569" y="919"/>
                  </a:lnTo>
                  <a:lnTo>
                    <a:pt x="13588" y="903"/>
                  </a:lnTo>
                  <a:lnTo>
                    <a:pt x="13625" y="868"/>
                  </a:lnTo>
                  <a:lnTo>
                    <a:pt x="13658" y="830"/>
                  </a:lnTo>
                  <a:lnTo>
                    <a:pt x="13689" y="791"/>
                  </a:lnTo>
                  <a:lnTo>
                    <a:pt x="13717" y="750"/>
                  </a:lnTo>
                  <a:lnTo>
                    <a:pt x="13745" y="709"/>
                  </a:lnTo>
                  <a:lnTo>
                    <a:pt x="13772" y="667"/>
                  </a:lnTo>
                  <a:lnTo>
                    <a:pt x="13799" y="626"/>
                  </a:lnTo>
                  <a:lnTo>
                    <a:pt x="13825" y="588"/>
                  </a:lnTo>
                  <a:lnTo>
                    <a:pt x="13852" y="552"/>
                  </a:lnTo>
                  <a:lnTo>
                    <a:pt x="13865" y="536"/>
                  </a:lnTo>
                  <a:lnTo>
                    <a:pt x="13880" y="520"/>
                  </a:lnTo>
                  <a:lnTo>
                    <a:pt x="13894" y="506"/>
                  </a:lnTo>
                  <a:lnTo>
                    <a:pt x="13908" y="491"/>
                  </a:lnTo>
                  <a:lnTo>
                    <a:pt x="13924" y="479"/>
                  </a:lnTo>
                  <a:lnTo>
                    <a:pt x="13939" y="469"/>
                  </a:lnTo>
                  <a:lnTo>
                    <a:pt x="13956" y="458"/>
                  </a:lnTo>
                  <a:lnTo>
                    <a:pt x="13972" y="451"/>
                  </a:lnTo>
                  <a:lnTo>
                    <a:pt x="13990" y="444"/>
                  </a:lnTo>
                  <a:lnTo>
                    <a:pt x="14009" y="440"/>
                  </a:lnTo>
                  <a:lnTo>
                    <a:pt x="14028" y="437"/>
                  </a:lnTo>
                  <a:lnTo>
                    <a:pt x="14048" y="436"/>
                  </a:lnTo>
                  <a:lnTo>
                    <a:pt x="14063" y="438"/>
                  </a:lnTo>
                  <a:lnTo>
                    <a:pt x="14081" y="442"/>
                  </a:lnTo>
                  <a:lnTo>
                    <a:pt x="14100" y="450"/>
                  </a:lnTo>
                  <a:lnTo>
                    <a:pt x="14122" y="463"/>
                  </a:lnTo>
                  <a:lnTo>
                    <a:pt x="14145" y="478"/>
                  </a:lnTo>
                  <a:lnTo>
                    <a:pt x="14170" y="498"/>
                  </a:lnTo>
                  <a:lnTo>
                    <a:pt x="14182" y="509"/>
                  </a:lnTo>
                  <a:lnTo>
                    <a:pt x="14195" y="521"/>
                  </a:lnTo>
                  <a:lnTo>
                    <a:pt x="14209" y="535"/>
                  </a:lnTo>
                  <a:lnTo>
                    <a:pt x="14222" y="549"/>
                  </a:lnTo>
                  <a:lnTo>
                    <a:pt x="14236" y="565"/>
                  </a:lnTo>
                  <a:lnTo>
                    <a:pt x="14250" y="582"/>
                  </a:lnTo>
                  <a:lnTo>
                    <a:pt x="14265" y="600"/>
                  </a:lnTo>
                  <a:lnTo>
                    <a:pt x="14279" y="619"/>
                  </a:lnTo>
                  <a:lnTo>
                    <a:pt x="14294" y="639"/>
                  </a:lnTo>
                  <a:lnTo>
                    <a:pt x="14308" y="660"/>
                  </a:lnTo>
                  <a:lnTo>
                    <a:pt x="14323" y="683"/>
                  </a:lnTo>
                  <a:lnTo>
                    <a:pt x="14338" y="707"/>
                  </a:lnTo>
                  <a:lnTo>
                    <a:pt x="14353" y="732"/>
                  </a:lnTo>
                  <a:lnTo>
                    <a:pt x="14369" y="759"/>
                  </a:lnTo>
                  <a:lnTo>
                    <a:pt x="14384" y="787"/>
                  </a:lnTo>
                  <a:lnTo>
                    <a:pt x="14399" y="816"/>
                  </a:lnTo>
                  <a:lnTo>
                    <a:pt x="14414" y="847"/>
                  </a:lnTo>
                  <a:lnTo>
                    <a:pt x="14430" y="879"/>
                  </a:lnTo>
                  <a:lnTo>
                    <a:pt x="14445" y="912"/>
                  </a:lnTo>
                  <a:lnTo>
                    <a:pt x="14461" y="947"/>
                  </a:lnTo>
                  <a:lnTo>
                    <a:pt x="14476" y="983"/>
                  </a:lnTo>
                  <a:lnTo>
                    <a:pt x="14492" y="1020"/>
                  </a:lnTo>
                  <a:lnTo>
                    <a:pt x="14506" y="1059"/>
                  </a:lnTo>
                  <a:lnTo>
                    <a:pt x="14522" y="1100"/>
                  </a:lnTo>
                  <a:lnTo>
                    <a:pt x="14536" y="1142"/>
                  </a:lnTo>
                  <a:lnTo>
                    <a:pt x="14552" y="1186"/>
                  </a:lnTo>
                  <a:lnTo>
                    <a:pt x="14566" y="1231"/>
                  </a:lnTo>
                  <a:lnTo>
                    <a:pt x="14580" y="1277"/>
                  </a:lnTo>
                  <a:lnTo>
                    <a:pt x="14595" y="1326"/>
                  </a:lnTo>
                  <a:lnTo>
                    <a:pt x="14608" y="1376"/>
                  </a:lnTo>
                  <a:lnTo>
                    <a:pt x="14623" y="1428"/>
                  </a:lnTo>
                  <a:lnTo>
                    <a:pt x="14636" y="1481"/>
                  </a:lnTo>
                  <a:lnTo>
                    <a:pt x="14650" y="1536"/>
                  </a:lnTo>
                  <a:lnTo>
                    <a:pt x="14663" y="1593"/>
                  </a:lnTo>
                  <a:lnTo>
                    <a:pt x="14675" y="1651"/>
                  </a:lnTo>
                  <a:lnTo>
                    <a:pt x="14688" y="1712"/>
                  </a:lnTo>
                  <a:lnTo>
                    <a:pt x="14700" y="1774"/>
                  </a:lnTo>
                  <a:lnTo>
                    <a:pt x="14712" y="1838"/>
                  </a:lnTo>
                  <a:lnTo>
                    <a:pt x="14723" y="1903"/>
                  </a:lnTo>
                  <a:lnTo>
                    <a:pt x="14734" y="1971"/>
                  </a:lnTo>
                  <a:lnTo>
                    <a:pt x="14745" y="2040"/>
                  </a:lnTo>
                  <a:lnTo>
                    <a:pt x="14754" y="2111"/>
                  </a:lnTo>
                  <a:lnTo>
                    <a:pt x="14764" y="2184"/>
                  </a:lnTo>
                  <a:lnTo>
                    <a:pt x="14774" y="2259"/>
                  </a:lnTo>
                  <a:lnTo>
                    <a:pt x="14782" y="2335"/>
                  </a:lnTo>
                  <a:lnTo>
                    <a:pt x="14790" y="2414"/>
                  </a:lnTo>
                  <a:lnTo>
                    <a:pt x="14797" y="2495"/>
                  </a:lnTo>
                  <a:lnTo>
                    <a:pt x="14805" y="2578"/>
                  </a:lnTo>
                  <a:lnTo>
                    <a:pt x="14812" y="2663"/>
                  </a:lnTo>
                  <a:lnTo>
                    <a:pt x="14817" y="2749"/>
                  </a:lnTo>
                  <a:lnTo>
                    <a:pt x="14822" y="2839"/>
                  </a:lnTo>
                  <a:lnTo>
                    <a:pt x="14827" y="2930"/>
                  </a:lnTo>
                  <a:lnTo>
                    <a:pt x="14830" y="3041"/>
                  </a:lnTo>
                  <a:lnTo>
                    <a:pt x="14832" y="3151"/>
                  </a:lnTo>
                  <a:lnTo>
                    <a:pt x="14831" y="3260"/>
                  </a:lnTo>
                  <a:lnTo>
                    <a:pt x="14829" y="3366"/>
                  </a:lnTo>
                  <a:lnTo>
                    <a:pt x="14825" y="3471"/>
                  </a:lnTo>
                  <a:lnTo>
                    <a:pt x="14819" y="3575"/>
                  </a:lnTo>
                  <a:lnTo>
                    <a:pt x="14811" y="3677"/>
                  </a:lnTo>
                  <a:lnTo>
                    <a:pt x="14800" y="3777"/>
                  </a:lnTo>
                  <a:lnTo>
                    <a:pt x="14789" y="3876"/>
                  </a:lnTo>
                  <a:lnTo>
                    <a:pt x="14777" y="3974"/>
                  </a:lnTo>
                  <a:lnTo>
                    <a:pt x="14761" y="4069"/>
                  </a:lnTo>
                  <a:lnTo>
                    <a:pt x="14746" y="4162"/>
                  </a:lnTo>
                  <a:lnTo>
                    <a:pt x="14727" y="4255"/>
                  </a:lnTo>
                  <a:lnTo>
                    <a:pt x="14707" y="4346"/>
                  </a:lnTo>
                  <a:lnTo>
                    <a:pt x="14687" y="4434"/>
                  </a:lnTo>
                  <a:lnTo>
                    <a:pt x="14664" y="4522"/>
                  </a:lnTo>
                  <a:lnTo>
                    <a:pt x="14640" y="4607"/>
                  </a:lnTo>
                  <a:lnTo>
                    <a:pt x="14615" y="4691"/>
                  </a:lnTo>
                  <a:lnTo>
                    <a:pt x="14589" y="4773"/>
                  </a:lnTo>
                  <a:lnTo>
                    <a:pt x="14560" y="4854"/>
                  </a:lnTo>
                  <a:lnTo>
                    <a:pt x="14531" y="4932"/>
                  </a:lnTo>
                  <a:lnTo>
                    <a:pt x="14500" y="5009"/>
                  </a:lnTo>
                  <a:lnTo>
                    <a:pt x="14469" y="5085"/>
                  </a:lnTo>
                  <a:lnTo>
                    <a:pt x="14436" y="5159"/>
                  </a:lnTo>
                  <a:lnTo>
                    <a:pt x="14402" y="5231"/>
                  </a:lnTo>
                  <a:lnTo>
                    <a:pt x="14366" y="5301"/>
                  </a:lnTo>
                  <a:lnTo>
                    <a:pt x="14330" y="5370"/>
                  </a:lnTo>
                  <a:lnTo>
                    <a:pt x="14292" y="5437"/>
                  </a:lnTo>
                  <a:lnTo>
                    <a:pt x="14254" y="5502"/>
                  </a:lnTo>
                  <a:lnTo>
                    <a:pt x="14215" y="5565"/>
                  </a:lnTo>
                  <a:lnTo>
                    <a:pt x="14175" y="5627"/>
                  </a:lnTo>
                  <a:lnTo>
                    <a:pt x="14134" y="5687"/>
                  </a:lnTo>
                  <a:lnTo>
                    <a:pt x="14091" y="5746"/>
                  </a:lnTo>
                  <a:lnTo>
                    <a:pt x="14048" y="5802"/>
                  </a:lnTo>
                  <a:lnTo>
                    <a:pt x="14004" y="5857"/>
                  </a:lnTo>
                  <a:lnTo>
                    <a:pt x="13960" y="5909"/>
                  </a:lnTo>
                  <a:lnTo>
                    <a:pt x="13915" y="5961"/>
                  </a:lnTo>
                  <a:lnTo>
                    <a:pt x="13869" y="6010"/>
                  </a:lnTo>
                  <a:lnTo>
                    <a:pt x="13823" y="6059"/>
                  </a:lnTo>
                  <a:lnTo>
                    <a:pt x="13775" y="6104"/>
                  </a:lnTo>
                  <a:lnTo>
                    <a:pt x="13728" y="6148"/>
                  </a:lnTo>
                  <a:lnTo>
                    <a:pt x="13679" y="6192"/>
                  </a:lnTo>
                  <a:lnTo>
                    <a:pt x="13631" y="6232"/>
                  </a:lnTo>
                  <a:lnTo>
                    <a:pt x="13581" y="6271"/>
                  </a:lnTo>
                  <a:lnTo>
                    <a:pt x="13532" y="6308"/>
                  </a:lnTo>
                  <a:lnTo>
                    <a:pt x="13482" y="6343"/>
                  </a:lnTo>
                  <a:lnTo>
                    <a:pt x="13432" y="6377"/>
                  </a:lnTo>
                  <a:lnTo>
                    <a:pt x="13381" y="6409"/>
                  </a:lnTo>
                  <a:lnTo>
                    <a:pt x="13329" y="6439"/>
                  </a:lnTo>
                  <a:lnTo>
                    <a:pt x="13278" y="6467"/>
                  </a:lnTo>
                  <a:lnTo>
                    <a:pt x="13226" y="6493"/>
                  </a:lnTo>
                  <a:lnTo>
                    <a:pt x="13174" y="6517"/>
                  </a:lnTo>
                  <a:lnTo>
                    <a:pt x="13123" y="6541"/>
                  </a:lnTo>
                  <a:lnTo>
                    <a:pt x="13071" y="6561"/>
                  </a:lnTo>
                  <a:lnTo>
                    <a:pt x="13019" y="6580"/>
                  </a:lnTo>
                  <a:lnTo>
                    <a:pt x="12967" y="6598"/>
                  </a:lnTo>
                  <a:lnTo>
                    <a:pt x="12914" y="6613"/>
                  </a:lnTo>
                  <a:lnTo>
                    <a:pt x="12863" y="6626"/>
                  </a:lnTo>
                  <a:lnTo>
                    <a:pt x="12810" y="6638"/>
                  </a:lnTo>
                  <a:lnTo>
                    <a:pt x="12758" y="6648"/>
                  </a:lnTo>
                  <a:lnTo>
                    <a:pt x="12707" y="6656"/>
                  </a:lnTo>
                  <a:lnTo>
                    <a:pt x="12655" y="6662"/>
                  </a:lnTo>
                  <a:lnTo>
                    <a:pt x="12604" y="6667"/>
                  </a:lnTo>
                  <a:lnTo>
                    <a:pt x="12552" y="6669"/>
                  </a:lnTo>
                  <a:lnTo>
                    <a:pt x="12458" y="6669"/>
                  </a:lnTo>
                  <a:lnTo>
                    <a:pt x="12375" y="6668"/>
                  </a:lnTo>
                  <a:lnTo>
                    <a:pt x="12294" y="6665"/>
                  </a:lnTo>
                  <a:lnTo>
                    <a:pt x="12214" y="6660"/>
                  </a:lnTo>
                  <a:lnTo>
                    <a:pt x="12136" y="6654"/>
                  </a:lnTo>
                  <a:lnTo>
                    <a:pt x="12059" y="6647"/>
                  </a:lnTo>
                  <a:lnTo>
                    <a:pt x="11982" y="6638"/>
                  </a:lnTo>
                  <a:lnTo>
                    <a:pt x="11908" y="6627"/>
                  </a:lnTo>
                  <a:lnTo>
                    <a:pt x="11835" y="6615"/>
                  </a:lnTo>
                  <a:lnTo>
                    <a:pt x="11762" y="6602"/>
                  </a:lnTo>
                  <a:lnTo>
                    <a:pt x="11691" y="6587"/>
                  </a:lnTo>
                  <a:lnTo>
                    <a:pt x="11622" y="6571"/>
                  </a:lnTo>
                  <a:lnTo>
                    <a:pt x="11554" y="6553"/>
                  </a:lnTo>
                  <a:lnTo>
                    <a:pt x="11487" y="6536"/>
                  </a:lnTo>
                  <a:lnTo>
                    <a:pt x="11422" y="6516"/>
                  </a:lnTo>
                  <a:lnTo>
                    <a:pt x="11358" y="6496"/>
                  </a:lnTo>
                  <a:lnTo>
                    <a:pt x="11295" y="6474"/>
                  </a:lnTo>
                  <a:lnTo>
                    <a:pt x="11233" y="6451"/>
                  </a:lnTo>
                  <a:lnTo>
                    <a:pt x="11173" y="6429"/>
                  </a:lnTo>
                  <a:lnTo>
                    <a:pt x="11114" y="6404"/>
                  </a:lnTo>
                  <a:lnTo>
                    <a:pt x="11056" y="6379"/>
                  </a:lnTo>
                  <a:lnTo>
                    <a:pt x="11000" y="6354"/>
                  </a:lnTo>
                  <a:lnTo>
                    <a:pt x="10946" y="6328"/>
                  </a:lnTo>
                  <a:lnTo>
                    <a:pt x="10892" y="6302"/>
                  </a:lnTo>
                  <a:lnTo>
                    <a:pt x="10839" y="6274"/>
                  </a:lnTo>
                  <a:lnTo>
                    <a:pt x="10788" y="6246"/>
                  </a:lnTo>
                  <a:lnTo>
                    <a:pt x="10738" y="6218"/>
                  </a:lnTo>
                  <a:lnTo>
                    <a:pt x="10690" y="6191"/>
                  </a:lnTo>
                  <a:lnTo>
                    <a:pt x="10643" y="6162"/>
                  </a:lnTo>
                  <a:lnTo>
                    <a:pt x="10597" y="6133"/>
                  </a:lnTo>
                  <a:lnTo>
                    <a:pt x="10552" y="6104"/>
                  </a:lnTo>
                  <a:lnTo>
                    <a:pt x="10509" y="6074"/>
                  </a:lnTo>
                  <a:lnTo>
                    <a:pt x="10468" y="6045"/>
                  </a:lnTo>
                  <a:lnTo>
                    <a:pt x="10426" y="6017"/>
                  </a:lnTo>
                  <a:lnTo>
                    <a:pt x="10387" y="5987"/>
                  </a:lnTo>
                  <a:lnTo>
                    <a:pt x="10349" y="5958"/>
                  </a:lnTo>
                  <a:lnTo>
                    <a:pt x="10313" y="5929"/>
                  </a:lnTo>
                  <a:lnTo>
                    <a:pt x="10278" y="5900"/>
                  </a:lnTo>
                  <a:lnTo>
                    <a:pt x="10243" y="5872"/>
                  </a:lnTo>
                  <a:lnTo>
                    <a:pt x="10211" y="5845"/>
                  </a:lnTo>
                  <a:lnTo>
                    <a:pt x="10179" y="5817"/>
                  </a:lnTo>
                  <a:lnTo>
                    <a:pt x="10149" y="5790"/>
                  </a:lnTo>
                  <a:lnTo>
                    <a:pt x="10120" y="5763"/>
                  </a:lnTo>
                  <a:lnTo>
                    <a:pt x="10092" y="5736"/>
                  </a:lnTo>
                  <a:lnTo>
                    <a:pt x="10066" y="5712"/>
                  </a:lnTo>
                  <a:lnTo>
                    <a:pt x="10040" y="5687"/>
                  </a:lnTo>
                  <a:lnTo>
                    <a:pt x="10017" y="5662"/>
                  </a:lnTo>
                  <a:lnTo>
                    <a:pt x="9994" y="5640"/>
                  </a:lnTo>
                  <a:lnTo>
                    <a:pt x="9973" y="5617"/>
                  </a:lnTo>
                  <a:lnTo>
                    <a:pt x="9954" y="5595"/>
                  </a:lnTo>
                  <a:lnTo>
                    <a:pt x="9935" y="5575"/>
                  </a:lnTo>
                  <a:lnTo>
                    <a:pt x="9918" y="5556"/>
                  </a:lnTo>
                  <a:lnTo>
                    <a:pt x="9901" y="5538"/>
                  </a:lnTo>
                  <a:lnTo>
                    <a:pt x="9887" y="5520"/>
                  </a:lnTo>
                  <a:lnTo>
                    <a:pt x="9873" y="5504"/>
                  </a:lnTo>
                  <a:lnTo>
                    <a:pt x="9861" y="5489"/>
                  </a:lnTo>
                  <a:lnTo>
                    <a:pt x="9850" y="5476"/>
                  </a:lnTo>
                  <a:lnTo>
                    <a:pt x="9840" y="5463"/>
                  </a:lnTo>
                  <a:lnTo>
                    <a:pt x="9832" y="5453"/>
                  </a:lnTo>
                  <a:lnTo>
                    <a:pt x="9826" y="5444"/>
                  </a:lnTo>
                  <a:lnTo>
                    <a:pt x="9819" y="5437"/>
                  </a:lnTo>
                  <a:lnTo>
                    <a:pt x="9815" y="5430"/>
                  </a:lnTo>
                  <a:lnTo>
                    <a:pt x="9812" y="5426"/>
                  </a:lnTo>
                  <a:lnTo>
                    <a:pt x="9810" y="5423"/>
                  </a:lnTo>
                  <a:lnTo>
                    <a:pt x="9809" y="5422"/>
                  </a:lnTo>
                  <a:lnTo>
                    <a:pt x="9809" y="5423"/>
                  </a:lnTo>
                  <a:lnTo>
                    <a:pt x="9808" y="5427"/>
                  </a:lnTo>
                  <a:lnTo>
                    <a:pt x="9807" y="5434"/>
                  </a:lnTo>
                  <a:lnTo>
                    <a:pt x="9806" y="5443"/>
                  </a:lnTo>
                  <a:lnTo>
                    <a:pt x="9805" y="5454"/>
                  </a:lnTo>
                  <a:lnTo>
                    <a:pt x="9803" y="5468"/>
                  </a:lnTo>
                  <a:lnTo>
                    <a:pt x="9801" y="5484"/>
                  </a:lnTo>
                  <a:lnTo>
                    <a:pt x="9799" y="5502"/>
                  </a:lnTo>
                  <a:lnTo>
                    <a:pt x="9797" y="5521"/>
                  </a:lnTo>
                  <a:lnTo>
                    <a:pt x="9795" y="5543"/>
                  </a:lnTo>
                  <a:lnTo>
                    <a:pt x="9792" y="5567"/>
                  </a:lnTo>
                  <a:lnTo>
                    <a:pt x="9790" y="5592"/>
                  </a:lnTo>
                  <a:lnTo>
                    <a:pt x="9786" y="5620"/>
                  </a:lnTo>
                  <a:lnTo>
                    <a:pt x="9784" y="5649"/>
                  </a:lnTo>
                  <a:lnTo>
                    <a:pt x="9781" y="5679"/>
                  </a:lnTo>
                  <a:lnTo>
                    <a:pt x="9779" y="5711"/>
                  </a:lnTo>
                  <a:lnTo>
                    <a:pt x="9777" y="5745"/>
                  </a:lnTo>
                  <a:lnTo>
                    <a:pt x="9775" y="5779"/>
                  </a:lnTo>
                  <a:lnTo>
                    <a:pt x="9773" y="5815"/>
                  </a:lnTo>
                  <a:lnTo>
                    <a:pt x="9772" y="5852"/>
                  </a:lnTo>
                  <a:lnTo>
                    <a:pt x="9770" y="5890"/>
                  </a:lnTo>
                  <a:lnTo>
                    <a:pt x="9769" y="5928"/>
                  </a:lnTo>
                  <a:lnTo>
                    <a:pt x="9768" y="6009"/>
                  </a:lnTo>
                  <a:lnTo>
                    <a:pt x="9769" y="6093"/>
                  </a:lnTo>
                  <a:lnTo>
                    <a:pt x="9771" y="6178"/>
                  </a:lnTo>
                  <a:lnTo>
                    <a:pt x="9775" y="6265"/>
                  </a:lnTo>
                  <a:lnTo>
                    <a:pt x="9782" y="6353"/>
                  </a:lnTo>
                  <a:lnTo>
                    <a:pt x="9792" y="6442"/>
                  </a:lnTo>
                  <a:lnTo>
                    <a:pt x="9804" y="6530"/>
                  </a:lnTo>
                  <a:lnTo>
                    <a:pt x="9819" y="6617"/>
                  </a:lnTo>
                  <a:lnTo>
                    <a:pt x="9838" y="6702"/>
                  </a:lnTo>
                  <a:lnTo>
                    <a:pt x="9861" y="6785"/>
                  </a:lnTo>
                  <a:lnTo>
                    <a:pt x="9873" y="6825"/>
                  </a:lnTo>
                  <a:lnTo>
                    <a:pt x="9888" y="6865"/>
                  </a:lnTo>
                  <a:lnTo>
                    <a:pt x="9902" y="6903"/>
                  </a:lnTo>
                  <a:lnTo>
                    <a:pt x="9919" y="6942"/>
                  </a:lnTo>
                  <a:lnTo>
                    <a:pt x="9935" y="6978"/>
                  </a:lnTo>
                  <a:lnTo>
                    <a:pt x="9954" y="7014"/>
                  </a:lnTo>
                  <a:lnTo>
                    <a:pt x="9973" y="7048"/>
                  </a:lnTo>
                  <a:lnTo>
                    <a:pt x="9994" y="7081"/>
                  </a:lnTo>
                  <a:lnTo>
                    <a:pt x="10016" y="7112"/>
                  </a:lnTo>
                  <a:lnTo>
                    <a:pt x="10039" y="7141"/>
                  </a:lnTo>
                  <a:lnTo>
                    <a:pt x="10064" y="7170"/>
                  </a:lnTo>
                  <a:lnTo>
                    <a:pt x="10090" y="7197"/>
                  </a:lnTo>
                  <a:lnTo>
                    <a:pt x="10118" y="7222"/>
                  </a:lnTo>
                  <a:lnTo>
                    <a:pt x="10147" y="7244"/>
                  </a:lnTo>
                  <a:lnTo>
                    <a:pt x="10177" y="7266"/>
                  </a:lnTo>
                  <a:lnTo>
                    <a:pt x="10209" y="7286"/>
                  </a:lnTo>
                  <a:lnTo>
                    <a:pt x="10242" y="7302"/>
                  </a:lnTo>
                  <a:lnTo>
                    <a:pt x="10277" y="7318"/>
                  </a:lnTo>
                  <a:lnTo>
                    <a:pt x="10313" y="7330"/>
                  </a:lnTo>
                  <a:lnTo>
                    <a:pt x="10351" y="7341"/>
                  </a:lnTo>
                  <a:lnTo>
                    <a:pt x="10391" y="7349"/>
                  </a:lnTo>
                  <a:lnTo>
                    <a:pt x="10433" y="7355"/>
                  </a:lnTo>
                  <a:lnTo>
                    <a:pt x="10495" y="7355"/>
                  </a:lnTo>
                  <a:lnTo>
                    <a:pt x="10535" y="7353"/>
                  </a:lnTo>
                  <a:lnTo>
                    <a:pt x="10574" y="7348"/>
                  </a:lnTo>
                  <a:lnTo>
                    <a:pt x="10612" y="7340"/>
                  </a:lnTo>
                  <a:lnTo>
                    <a:pt x="10649" y="7329"/>
                  </a:lnTo>
                  <a:lnTo>
                    <a:pt x="10686" y="7315"/>
                  </a:lnTo>
                  <a:lnTo>
                    <a:pt x="10720" y="7300"/>
                  </a:lnTo>
                  <a:lnTo>
                    <a:pt x="10754" y="7282"/>
                  </a:lnTo>
                  <a:lnTo>
                    <a:pt x="10786" y="7262"/>
                  </a:lnTo>
                  <a:lnTo>
                    <a:pt x="10817" y="7240"/>
                  </a:lnTo>
                  <a:lnTo>
                    <a:pt x="10847" y="7218"/>
                  </a:lnTo>
                  <a:lnTo>
                    <a:pt x="10876" y="7193"/>
                  </a:lnTo>
                  <a:lnTo>
                    <a:pt x="10903" y="7167"/>
                  </a:lnTo>
                  <a:lnTo>
                    <a:pt x="10929" y="7140"/>
                  </a:lnTo>
                  <a:lnTo>
                    <a:pt x="10955" y="7114"/>
                  </a:lnTo>
                  <a:lnTo>
                    <a:pt x="10979" y="7086"/>
                  </a:lnTo>
                  <a:lnTo>
                    <a:pt x="11001" y="7059"/>
                  </a:lnTo>
                  <a:lnTo>
                    <a:pt x="11022" y="7031"/>
                  </a:lnTo>
                  <a:lnTo>
                    <a:pt x="11043" y="7003"/>
                  </a:lnTo>
                  <a:lnTo>
                    <a:pt x="11061" y="6977"/>
                  </a:lnTo>
                  <a:lnTo>
                    <a:pt x="11078" y="6950"/>
                  </a:lnTo>
                  <a:lnTo>
                    <a:pt x="11094" y="6924"/>
                  </a:lnTo>
                  <a:lnTo>
                    <a:pt x="11109" y="6899"/>
                  </a:lnTo>
                  <a:lnTo>
                    <a:pt x="11122" y="6877"/>
                  </a:lnTo>
                  <a:lnTo>
                    <a:pt x="11135" y="6855"/>
                  </a:lnTo>
                  <a:lnTo>
                    <a:pt x="11145" y="6835"/>
                  </a:lnTo>
                  <a:lnTo>
                    <a:pt x="11154" y="6817"/>
                  </a:lnTo>
                  <a:lnTo>
                    <a:pt x="11162" y="6801"/>
                  </a:lnTo>
                  <a:lnTo>
                    <a:pt x="11169" y="6788"/>
                  </a:lnTo>
                  <a:lnTo>
                    <a:pt x="11174" y="6777"/>
                  </a:lnTo>
                  <a:lnTo>
                    <a:pt x="11177" y="6769"/>
                  </a:lnTo>
                  <a:lnTo>
                    <a:pt x="11179" y="6764"/>
                  </a:lnTo>
                  <a:lnTo>
                    <a:pt x="11180" y="6762"/>
                  </a:lnTo>
                  <a:lnTo>
                    <a:pt x="11336" y="6793"/>
                  </a:lnTo>
                  <a:lnTo>
                    <a:pt x="11336" y="6794"/>
                  </a:lnTo>
                  <a:lnTo>
                    <a:pt x="11335" y="6796"/>
                  </a:lnTo>
                  <a:lnTo>
                    <a:pt x="11334" y="6799"/>
                  </a:lnTo>
                  <a:lnTo>
                    <a:pt x="11333" y="6804"/>
                  </a:lnTo>
                  <a:lnTo>
                    <a:pt x="11332" y="6810"/>
                  </a:lnTo>
                  <a:lnTo>
                    <a:pt x="11330" y="6816"/>
                  </a:lnTo>
                  <a:lnTo>
                    <a:pt x="11327" y="6824"/>
                  </a:lnTo>
                  <a:lnTo>
                    <a:pt x="11324" y="6833"/>
                  </a:lnTo>
                  <a:lnTo>
                    <a:pt x="11317" y="6855"/>
                  </a:lnTo>
                  <a:lnTo>
                    <a:pt x="11308" y="6880"/>
                  </a:lnTo>
                  <a:lnTo>
                    <a:pt x="11298" y="6908"/>
                  </a:lnTo>
                  <a:lnTo>
                    <a:pt x="11286" y="6939"/>
                  </a:lnTo>
                  <a:lnTo>
                    <a:pt x="11272" y="6973"/>
                  </a:lnTo>
                  <a:lnTo>
                    <a:pt x="11256" y="7011"/>
                  </a:lnTo>
                  <a:lnTo>
                    <a:pt x="11239" y="7049"/>
                  </a:lnTo>
                  <a:lnTo>
                    <a:pt x="11219" y="7089"/>
                  </a:lnTo>
                  <a:lnTo>
                    <a:pt x="11198" y="7131"/>
                  </a:lnTo>
                  <a:lnTo>
                    <a:pt x="11175" y="7173"/>
                  </a:lnTo>
                  <a:lnTo>
                    <a:pt x="11149" y="7218"/>
                  </a:lnTo>
                  <a:lnTo>
                    <a:pt x="11122" y="7261"/>
                  </a:lnTo>
                  <a:lnTo>
                    <a:pt x="11092" y="7305"/>
                  </a:lnTo>
                  <a:lnTo>
                    <a:pt x="11061" y="7348"/>
                  </a:lnTo>
                  <a:lnTo>
                    <a:pt x="11027" y="7391"/>
                  </a:lnTo>
                  <a:lnTo>
                    <a:pt x="10991" y="7433"/>
                  </a:lnTo>
                  <a:lnTo>
                    <a:pt x="10953" y="7473"/>
                  </a:lnTo>
                  <a:lnTo>
                    <a:pt x="10912" y="7511"/>
                  </a:lnTo>
                  <a:lnTo>
                    <a:pt x="10869" y="7548"/>
                  </a:lnTo>
                  <a:lnTo>
                    <a:pt x="10824" y="7582"/>
                  </a:lnTo>
                  <a:lnTo>
                    <a:pt x="10776" y="7614"/>
                  </a:lnTo>
                  <a:lnTo>
                    <a:pt x="10726" y="7642"/>
                  </a:lnTo>
                  <a:lnTo>
                    <a:pt x="10673" y="7667"/>
                  </a:lnTo>
                  <a:lnTo>
                    <a:pt x="10617" y="7688"/>
                  </a:lnTo>
                  <a:lnTo>
                    <a:pt x="10590" y="7698"/>
                  </a:lnTo>
                  <a:lnTo>
                    <a:pt x="10560" y="7706"/>
                  </a:lnTo>
                  <a:lnTo>
                    <a:pt x="10530" y="7712"/>
                  </a:lnTo>
                  <a:lnTo>
                    <a:pt x="10500" y="7718"/>
                  </a:lnTo>
                  <a:lnTo>
                    <a:pt x="10469" y="7722"/>
                  </a:lnTo>
                  <a:lnTo>
                    <a:pt x="10437" y="7725"/>
                  </a:lnTo>
                  <a:lnTo>
                    <a:pt x="10404" y="7727"/>
                  </a:lnTo>
                  <a:lnTo>
                    <a:pt x="10371" y="7729"/>
                  </a:lnTo>
                  <a:lnTo>
                    <a:pt x="10324" y="7727"/>
                  </a:lnTo>
                  <a:lnTo>
                    <a:pt x="10277" y="7722"/>
                  </a:lnTo>
                  <a:lnTo>
                    <a:pt x="10230" y="7715"/>
                  </a:lnTo>
                  <a:lnTo>
                    <a:pt x="10184" y="7705"/>
                  </a:lnTo>
                  <a:lnTo>
                    <a:pt x="10136" y="7692"/>
                  </a:lnTo>
                  <a:lnTo>
                    <a:pt x="10090" y="7676"/>
                  </a:lnTo>
                  <a:lnTo>
                    <a:pt x="10042" y="7656"/>
                  </a:lnTo>
                  <a:lnTo>
                    <a:pt x="9996" y="7635"/>
                  </a:lnTo>
                  <a:lnTo>
                    <a:pt x="9943" y="7610"/>
                  </a:lnTo>
                  <a:lnTo>
                    <a:pt x="9889" y="7581"/>
                  </a:lnTo>
                  <a:lnTo>
                    <a:pt x="9833" y="7549"/>
                  </a:lnTo>
                  <a:lnTo>
                    <a:pt x="9778" y="7515"/>
                  </a:lnTo>
                  <a:lnTo>
                    <a:pt x="9721" y="7478"/>
                  </a:lnTo>
                  <a:lnTo>
                    <a:pt x="9666" y="7439"/>
                  </a:lnTo>
                  <a:lnTo>
                    <a:pt x="9611" y="7398"/>
                  </a:lnTo>
                  <a:lnTo>
                    <a:pt x="9556" y="7355"/>
                  </a:lnTo>
                  <a:lnTo>
                    <a:pt x="9503" y="7310"/>
                  </a:lnTo>
                  <a:lnTo>
                    <a:pt x="9450" y="7264"/>
                  </a:lnTo>
                  <a:lnTo>
                    <a:pt x="9400" y="7218"/>
                  </a:lnTo>
                  <a:lnTo>
                    <a:pt x="9352" y="7170"/>
                  </a:lnTo>
                  <a:lnTo>
                    <a:pt x="9305" y="7123"/>
                  </a:lnTo>
                  <a:lnTo>
                    <a:pt x="9263" y="7075"/>
                  </a:lnTo>
                  <a:lnTo>
                    <a:pt x="9223" y="7028"/>
                  </a:lnTo>
                  <a:lnTo>
                    <a:pt x="9186" y="6981"/>
                  </a:lnTo>
                  <a:lnTo>
                    <a:pt x="9136" y="6968"/>
                  </a:lnTo>
                  <a:lnTo>
                    <a:pt x="9086" y="6953"/>
                  </a:lnTo>
                  <a:lnTo>
                    <a:pt x="9038" y="6936"/>
                  </a:lnTo>
                  <a:lnTo>
                    <a:pt x="8989" y="6918"/>
                  </a:lnTo>
                  <a:lnTo>
                    <a:pt x="8941" y="6898"/>
                  </a:lnTo>
                  <a:lnTo>
                    <a:pt x="8894" y="6877"/>
                  </a:lnTo>
                  <a:lnTo>
                    <a:pt x="8847" y="6854"/>
                  </a:lnTo>
                  <a:lnTo>
                    <a:pt x="8802" y="6830"/>
                  </a:lnTo>
                  <a:lnTo>
                    <a:pt x="8756" y="6807"/>
                  </a:lnTo>
                  <a:lnTo>
                    <a:pt x="8713" y="6781"/>
                  </a:lnTo>
                  <a:lnTo>
                    <a:pt x="8669" y="6755"/>
                  </a:lnTo>
                  <a:lnTo>
                    <a:pt x="8627" y="6728"/>
                  </a:lnTo>
                  <a:lnTo>
                    <a:pt x="8587" y="6703"/>
                  </a:lnTo>
                  <a:lnTo>
                    <a:pt x="8548" y="6676"/>
                  </a:lnTo>
                  <a:lnTo>
                    <a:pt x="8509" y="6649"/>
                  </a:lnTo>
                  <a:lnTo>
                    <a:pt x="8473" y="6622"/>
                  </a:lnTo>
                  <a:lnTo>
                    <a:pt x="8438" y="6596"/>
                  </a:lnTo>
                  <a:lnTo>
                    <a:pt x="8404" y="6571"/>
                  </a:lnTo>
                  <a:lnTo>
                    <a:pt x="8373" y="6546"/>
                  </a:lnTo>
                  <a:lnTo>
                    <a:pt x="8343" y="6522"/>
                  </a:lnTo>
                  <a:lnTo>
                    <a:pt x="8315" y="6499"/>
                  </a:lnTo>
                  <a:lnTo>
                    <a:pt x="8290" y="6477"/>
                  </a:lnTo>
                  <a:lnTo>
                    <a:pt x="8266" y="6456"/>
                  </a:lnTo>
                  <a:lnTo>
                    <a:pt x="8244" y="6438"/>
                  </a:lnTo>
                  <a:lnTo>
                    <a:pt x="8225" y="6420"/>
                  </a:lnTo>
                  <a:lnTo>
                    <a:pt x="8207" y="6404"/>
                  </a:lnTo>
                  <a:lnTo>
                    <a:pt x="8193" y="6390"/>
                  </a:lnTo>
                  <a:lnTo>
                    <a:pt x="8180" y="6379"/>
                  </a:lnTo>
                  <a:lnTo>
                    <a:pt x="8170" y="6370"/>
                  </a:lnTo>
                  <a:lnTo>
                    <a:pt x="8164" y="6363"/>
                  </a:lnTo>
                  <a:lnTo>
                    <a:pt x="8158" y="6359"/>
                  </a:lnTo>
                  <a:lnTo>
                    <a:pt x="8157" y="6358"/>
                  </a:lnTo>
                  <a:lnTo>
                    <a:pt x="8157" y="6360"/>
                  </a:lnTo>
                  <a:lnTo>
                    <a:pt x="8159" y="6365"/>
                  </a:lnTo>
                  <a:lnTo>
                    <a:pt x="8162" y="6374"/>
                  </a:lnTo>
                  <a:lnTo>
                    <a:pt x="8166" y="6385"/>
                  </a:lnTo>
                  <a:lnTo>
                    <a:pt x="8171" y="6401"/>
                  </a:lnTo>
                  <a:lnTo>
                    <a:pt x="8177" y="6420"/>
                  </a:lnTo>
                  <a:lnTo>
                    <a:pt x="8185" y="6442"/>
                  </a:lnTo>
                  <a:lnTo>
                    <a:pt x="8197" y="6467"/>
                  </a:lnTo>
                  <a:lnTo>
                    <a:pt x="8209" y="6495"/>
                  </a:lnTo>
                  <a:lnTo>
                    <a:pt x="8225" y="6524"/>
                  </a:lnTo>
                  <a:lnTo>
                    <a:pt x="8242" y="6558"/>
                  </a:lnTo>
                  <a:lnTo>
                    <a:pt x="8263" y="6594"/>
                  </a:lnTo>
                  <a:lnTo>
                    <a:pt x="8285" y="6633"/>
                  </a:lnTo>
                  <a:lnTo>
                    <a:pt x="8312" y="6674"/>
                  </a:lnTo>
                  <a:lnTo>
                    <a:pt x="8342" y="6717"/>
                  </a:lnTo>
                  <a:lnTo>
                    <a:pt x="8375" y="6762"/>
                  </a:lnTo>
                  <a:lnTo>
                    <a:pt x="8424" y="6820"/>
                  </a:lnTo>
                  <a:lnTo>
                    <a:pt x="8473" y="6876"/>
                  </a:lnTo>
                  <a:lnTo>
                    <a:pt x="8526" y="6930"/>
                  </a:lnTo>
                  <a:lnTo>
                    <a:pt x="8579" y="6982"/>
                  </a:lnTo>
                  <a:lnTo>
                    <a:pt x="8630" y="7031"/>
                  </a:lnTo>
                  <a:lnTo>
                    <a:pt x="8682" y="7078"/>
                  </a:lnTo>
                  <a:lnTo>
                    <a:pt x="8732" y="7121"/>
                  </a:lnTo>
                  <a:lnTo>
                    <a:pt x="8781" y="7160"/>
                  </a:lnTo>
                  <a:lnTo>
                    <a:pt x="8826" y="7196"/>
                  </a:lnTo>
                  <a:lnTo>
                    <a:pt x="8847" y="7212"/>
                  </a:lnTo>
                  <a:lnTo>
                    <a:pt x="8868" y="7228"/>
                  </a:lnTo>
                  <a:lnTo>
                    <a:pt x="8886" y="7243"/>
                  </a:lnTo>
                  <a:lnTo>
                    <a:pt x="8905" y="7257"/>
                  </a:lnTo>
                  <a:lnTo>
                    <a:pt x="8921" y="7269"/>
                  </a:lnTo>
                  <a:lnTo>
                    <a:pt x="8937" y="7279"/>
                  </a:lnTo>
                  <a:lnTo>
                    <a:pt x="8950" y="7290"/>
                  </a:lnTo>
                  <a:lnTo>
                    <a:pt x="8963" y="7299"/>
                  </a:lnTo>
                  <a:lnTo>
                    <a:pt x="8973" y="7306"/>
                  </a:lnTo>
                  <a:lnTo>
                    <a:pt x="8982" y="7312"/>
                  </a:lnTo>
                  <a:lnTo>
                    <a:pt x="8989" y="7318"/>
                  </a:lnTo>
                  <a:lnTo>
                    <a:pt x="8995" y="7321"/>
                  </a:lnTo>
                  <a:lnTo>
                    <a:pt x="8998" y="7323"/>
                  </a:lnTo>
                  <a:lnTo>
                    <a:pt x="8999" y="7324"/>
                  </a:lnTo>
                  <a:lnTo>
                    <a:pt x="8999" y="7325"/>
                  </a:lnTo>
                  <a:lnTo>
                    <a:pt x="8997" y="7329"/>
                  </a:lnTo>
                  <a:lnTo>
                    <a:pt x="8995" y="7334"/>
                  </a:lnTo>
                  <a:lnTo>
                    <a:pt x="8992" y="7342"/>
                  </a:lnTo>
                  <a:lnTo>
                    <a:pt x="8987" y="7353"/>
                  </a:lnTo>
                  <a:lnTo>
                    <a:pt x="8983" y="7365"/>
                  </a:lnTo>
                  <a:lnTo>
                    <a:pt x="8978" y="7379"/>
                  </a:lnTo>
                  <a:lnTo>
                    <a:pt x="8971" y="7396"/>
                  </a:lnTo>
                  <a:lnTo>
                    <a:pt x="8965" y="7413"/>
                  </a:lnTo>
                  <a:lnTo>
                    <a:pt x="8956" y="7434"/>
                  </a:lnTo>
                  <a:lnTo>
                    <a:pt x="8948" y="7456"/>
                  </a:lnTo>
                  <a:lnTo>
                    <a:pt x="8939" y="7479"/>
                  </a:lnTo>
                  <a:lnTo>
                    <a:pt x="8930" y="7504"/>
                  </a:lnTo>
                  <a:lnTo>
                    <a:pt x="8918" y="7531"/>
                  </a:lnTo>
                  <a:lnTo>
                    <a:pt x="8908" y="7559"/>
                  </a:lnTo>
                  <a:lnTo>
                    <a:pt x="8896" y="7588"/>
                  </a:lnTo>
                  <a:lnTo>
                    <a:pt x="8884" y="7619"/>
                  </a:lnTo>
                  <a:lnTo>
                    <a:pt x="8871" y="7652"/>
                  </a:lnTo>
                  <a:lnTo>
                    <a:pt x="8857" y="7685"/>
                  </a:lnTo>
                  <a:lnTo>
                    <a:pt x="8844" y="7720"/>
                  </a:lnTo>
                  <a:lnTo>
                    <a:pt x="8829" y="7756"/>
                  </a:lnTo>
                  <a:lnTo>
                    <a:pt x="8815" y="7792"/>
                  </a:lnTo>
                  <a:lnTo>
                    <a:pt x="8783" y="7870"/>
                  </a:lnTo>
                  <a:lnTo>
                    <a:pt x="8751" y="7949"/>
                  </a:lnTo>
                  <a:lnTo>
                    <a:pt x="8717" y="8032"/>
                  </a:lnTo>
                  <a:lnTo>
                    <a:pt x="8681" y="8117"/>
                  </a:lnTo>
                  <a:lnTo>
                    <a:pt x="8645" y="8204"/>
                  </a:lnTo>
                  <a:lnTo>
                    <a:pt x="8606" y="8292"/>
                  </a:lnTo>
                  <a:lnTo>
                    <a:pt x="8568" y="8381"/>
                  </a:lnTo>
                  <a:lnTo>
                    <a:pt x="8489" y="8559"/>
                  </a:lnTo>
                  <a:lnTo>
                    <a:pt x="8449" y="8647"/>
                  </a:lnTo>
                  <a:lnTo>
                    <a:pt x="8408" y="8734"/>
                  </a:lnTo>
                  <a:lnTo>
                    <a:pt x="8368" y="8818"/>
                  </a:lnTo>
                  <a:lnTo>
                    <a:pt x="8328" y="8901"/>
                  </a:lnTo>
                  <a:lnTo>
                    <a:pt x="8289" y="8981"/>
                  </a:lnTo>
                  <a:lnTo>
                    <a:pt x="8249" y="9057"/>
                  </a:lnTo>
                  <a:lnTo>
                    <a:pt x="8230" y="9093"/>
                  </a:lnTo>
                  <a:lnTo>
                    <a:pt x="8210" y="9129"/>
                  </a:lnTo>
                  <a:lnTo>
                    <a:pt x="8191" y="9163"/>
                  </a:lnTo>
                  <a:lnTo>
                    <a:pt x="8173" y="9196"/>
                  </a:lnTo>
                  <a:lnTo>
                    <a:pt x="8154" y="9228"/>
                  </a:lnTo>
                  <a:lnTo>
                    <a:pt x="8136" y="9259"/>
                  </a:lnTo>
                  <a:lnTo>
                    <a:pt x="8117" y="9288"/>
                  </a:lnTo>
                  <a:lnTo>
                    <a:pt x="8100" y="9316"/>
                  </a:lnTo>
                  <a:lnTo>
                    <a:pt x="8082" y="9343"/>
                  </a:lnTo>
                  <a:lnTo>
                    <a:pt x="8066" y="9367"/>
                  </a:lnTo>
                  <a:lnTo>
                    <a:pt x="8049" y="9390"/>
                  </a:lnTo>
                  <a:lnTo>
                    <a:pt x="8032" y="9412"/>
                  </a:lnTo>
                  <a:lnTo>
                    <a:pt x="7999" y="9452"/>
                  </a:lnTo>
                  <a:lnTo>
                    <a:pt x="7966" y="9492"/>
                  </a:lnTo>
                  <a:lnTo>
                    <a:pt x="7896" y="9571"/>
                  </a:lnTo>
                  <a:lnTo>
                    <a:pt x="7822" y="9647"/>
                  </a:lnTo>
                  <a:lnTo>
                    <a:pt x="7744" y="9723"/>
                  </a:lnTo>
                  <a:lnTo>
                    <a:pt x="7664" y="9797"/>
                  </a:lnTo>
                  <a:lnTo>
                    <a:pt x="7581" y="9869"/>
                  </a:lnTo>
                  <a:lnTo>
                    <a:pt x="7497" y="9941"/>
                  </a:lnTo>
                  <a:lnTo>
                    <a:pt x="7409" y="10011"/>
                  </a:lnTo>
                  <a:lnTo>
                    <a:pt x="7321" y="10081"/>
                  </a:lnTo>
                  <a:lnTo>
                    <a:pt x="7231" y="10150"/>
                  </a:lnTo>
                  <a:lnTo>
                    <a:pt x="7051" y="10288"/>
                  </a:lnTo>
                  <a:lnTo>
                    <a:pt x="6870" y="10425"/>
                  </a:lnTo>
                  <a:lnTo>
                    <a:pt x="6781" y="10494"/>
                  </a:lnTo>
                  <a:lnTo>
                    <a:pt x="6693" y="10564"/>
                  </a:lnTo>
                  <a:lnTo>
                    <a:pt x="6658" y="10592"/>
                  </a:lnTo>
                  <a:lnTo>
                    <a:pt x="6625" y="10618"/>
                  </a:lnTo>
                  <a:lnTo>
                    <a:pt x="6593" y="10643"/>
                  </a:lnTo>
                  <a:lnTo>
                    <a:pt x="6564" y="10664"/>
                  </a:lnTo>
                  <a:lnTo>
                    <a:pt x="6534" y="10684"/>
                  </a:lnTo>
                  <a:lnTo>
                    <a:pt x="6506" y="10701"/>
                  </a:lnTo>
                  <a:lnTo>
                    <a:pt x="6478" y="10718"/>
                  </a:lnTo>
                  <a:lnTo>
                    <a:pt x="6451" y="10732"/>
                  </a:lnTo>
                  <a:lnTo>
                    <a:pt x="6425" y="10744"/>
                  </a:lnTo>
                  <a:lnTo>
                    <a:pt x="6400" y="10755"/>
                  </a:lnTo>
                  <a:lnTo>
                    <a:pt x="6376" y="10763"/>
                  </a:lnTo>
                  <a:lnTo>
                    <a:pt x="6351" y="10770"/>
                  </a:lnTo>
                  <a:lnTo>
                    <a:pt x="6327" y="10775"/>
                  </a:lnTo>
                  <a:lnTo>
                    <a:pt x="6303" y="10779"/>
                  </a:lnTo>
                  <a:lnTo>
                    <a:pt x="6281" y="10782"/>
                  </a:lnTo>
                  <a:lnTo>
                    <a:pt x="6257" y="10783"/>
                  </a:lnTo>
                  <a:lnTo>
                    <a:pt x="6239" y="10782"/>
                  </a:lnTo>
                  <a:lnTo>
                    <a:pt x="6222" y="10781"/>
                  </a:lnTo>
                  <a:lnTo>
                    <a:pt x="6204" y="10777"/>
                  </a:lnTo>
                  <a:lnTo>
                    <a:pt x="6188" y="10773"/>
                  </a:lnTo>
                  <a:lnTo>
                    <a:pt x="6170" y="10769"/>
                  </a:lnTo>
                  <a:lnTo>
                    <a:pt x="6154" y="10763"/>
                  </a:lnTo>
                  <a:lnTo>
                    <a:pt x="6136" y="10756"/>
                  </a:lnTo>
                  <a:lnTo>
                    <a:pt x="6119" y="10747"/>
                  </a:lnTo>
                  <a:lnTo>
                    <a:pt x="6101" y="10737"/>
                  </a:lnTo>
                  <a:lnTo>
                    <a:pt x="6083" y="10727"/>
                  </a:lnTo>
                  <a:lnTo>
                    <a:pt x="6066" y="10715"/>
                  </a:lnTo>
                  <a:lnTo>
                    <a:pt x="6047" y="10702"/>
                  </a:lnTo>
                  <a:lnTo>
                    <a:pt x="6029" y="10688"/>
                  </a:lnTo>
                  <a:lnTo>
                    <a:pt x="6010" y="10672"/>
                  </a:lnTo>
                  <a:lnTo>
                    <a:pt x="5992" y="10656"/>
                  </a:lnTo>
                  <a:lnTo>
                    <a:pt x="5972" y="10638"/>
                  </a:lnTo>
                  <a:lnTo>
                    <a:pt x="5951" y="10620"/>
                  </a:lnTo>
                  <a:lnTo>
                    <a:pt x="5932" y="10599"/>
                  </a:lnTo>
                  <a:lnTo>
                    <a:pt x="5910" y="10578"/>
                  </a:lnTo>
                  <a:lnTo>
                    <a:pt x="5888" y="10556"/>
                  </a:lnTo>
                  <a:lnTo>
                    <a:pt x="5867" y="10532"/>
                  </a:lnTo>
                  <a:lnTo>
                    <a:pt x="5844" y="10508"/>
                  </a:lnTo>
                  <a:lnTo>
                    <a:pt x="5820" y="10481"/>
                  </a:lnTo>
                  <a:lnTo>
                    <a:pt x="5795" y="10454"/>
                  </a:lnTo>
                  <a:lnTo>
                    <a:pt x="5771" y="10425"/>
                  </a:lnTo>
                  <a:lnTo>
                    <a:pt x="5745" y="10395"/>
                  </a:lnTo>
                  <a:lnTo>
                    <a:pt x="5718" y="10364"/>
                  </a:lnTo>
                  <a:lnTo>
                    <a:pt x="5690" y="10332"/>
                  </a:lnTo>
                  <a:lnTo>
                    <a:pt x="5662" y="10298"/>
                  </a:lnTo>
                  <a:lnTo>
                    <a:pt x="5632" y="10263"/>
                  </a:lnTo>
                  <a:lnTo>
                    <a:pt x="5602" y="10227"/>
                  </a:lnTo>
                  <a:lnTo>
                    <a:pt x="5570" y="10190"/>
                  </a:lnTo>
                  <a:lnTo>
                    <a:pt x="5570" y="10190"/>
                  </a:lnTo>
                  <a:close/>
                  <a:moveTo>
                    <a:pt x="9965" y="3553"/>
                  </a:moveTo>
                  <a:lnTo>
                    <a:pt x="10041" y="3496"/>
                  </a:lnTo>
                  <a:lnTo>
                    <a:pt x="10117" y="3444"/>
                  </a:lnTo>
                  <a:lnTo>
                    <a:pt x="10190" y="3394"/>
                  </a:lnTo>
                  <a:lnTo>
                    <a:pt x="10262" y="3348"/>
                  </a:lnTo>
                  <a:lnTo>
                    <a:pt x="10333" y="3305"/>
                  </a:lnTo>
                  <a:lnTo>
                    <a:pt x="10400" y="3267"/>
                  </a:lnTo>
                  <a:lnTo>
                    <a:pt x="10432" y="3250"/>
                  </a:lnTo>
                  <a:lnTo>
                    <a:pt x="10464" y="3233"/>
                  </a:lnTo>
                  <a:lnTo>
                    <a:pt x="10494" y="3217"/>
                  </a:lnTo>
                  <a:lnTo>
                    <a:pt x="10522" y="3201"/>
                  </a:lnTo>
                  <a:lnTo>
                    <a:pt x="10550" y="3188"/>
                  </a:lnTo>
                  <a:lnTo>
                    <a:pt x="10577" y="3175"/>
                  </a:lnTo>
                  <a:lnTo>
                    <a:pt x="10602" y="3162"/>
                  </a:lnTo>
                  <a:lnTo>
                    <a:pt x="10626" y="3151"/>
                  </a:lnTo>
                  <a:lnTo>
                    <a:pt x="10648" y="3141"/>
                  </a:lnTo>
                  <a:lnTo>
                    <a:pt x="10669" y="3130"/>
                  </a:lnTo>
                  <a:lnTo>
                    <a:pt x="10689" y="3122"/>
                  </a:lnTo>
                  <a:lnTo>
                    <a:pt x="10706" y="3114"/>
                  </a:lnTo>
                  <a:lnTo>
                    <a:pt x="10722" y="3108"/>
                  </a:lnTo>
                  <a:lnTo>
                    <a:pt x="10735" y="3102"/>
                  </a:lnTo>
                  <a:lnTo>
                    <a:pt x="10747" y="3096"/>
                  </a:lnTo>
                  <a:lnTo>
                    <a:pt x="10757" y="3092"/>
                  </a:lnTo>
                  <a:lnTo>
                    <a:pt x="10765" y="3089"/>
                  </a:lnTo>
                  <a:lnTo>
                    <a:pt x="10771" y="3087"/>
                  </a:lnTo>
                  <a:lnTo>
                    <a:pt x="10774" y="3085"/>
                  </a:lnTo>
                  <a:lnTo>
                    <a:pt x="10775" y="3085"/>
                  </a:lnTo>
                  <a:lnTo>
                    <a:pt x="10774" y="3085"/>
                  </a:lnTo>
                  <a:lnTo>
                    <a:pt x="10770" y="3085"/>
                  </a:lnTo>
                  <a:lnTo>
                    <a:pt x="10763" y="3085"/>
                  </a:lnTo>
                  <a:lnTo>
                    <a:pt x="10754" y="3086"/>
                  </a:lnTo>
                  <a:lnTo>
                    <a:pt x="10742" y="3087"/>
                  </a:lnTo>
                  <a:lnTo>
                    <a:pt x="10729" y="3088"/>
                  </a:lnTo>
                  <a:lnTo>
                    <a:pt x="10714" y="3090"/>
                  </a:lnTo>
                  <a:lnTo>
                    <a:pt x="10697" y="3093"/>
                  </a:lnTo>
                  <a:lnTo>
                    <a:pt x="10679" y="3096"/>
                  </a:lnTo>
                  <a:lnTo>
                    <a:pt x="10660" y="3101"/>
                  </a:lnTo>
                  <a:lnTo>
                    <a:pt x="10639" y="3106"/>
                  </a:lnTo>
                  <a:lnTo>
                    <a:pt x="10617" y="3112"/>
                  </a:lnTo>
                  <a:lnTo>
                    <a:pt x="10595" y="3119"/>
                  </a:lnTo>
                  <a:lnTo>
                    <a:pt x="10572" y="3127"/>
                  </a:lnTo>
                  <a:lnTo>
                    <a:pt x="10549" y="3137"/>
                  </a:lnTo>
                  <a:lnTo>
                    <a:pt x="10526" y="3148"/>
                  </a:lnTo>
                  <a:lnTo>
                    <a:pt x="10504" y="3154"/>
                  </a:lnTo>
                  <a:lnTo>
                    <a:pt x="10483" y="3159"/>
                  </a:lnTo>
                  <a:lnTo>
                    <a:pt x="10466" y="3165"/>
                  </a:lnTo>
                  <a:lnTo>
                    <a:pt x="10449" y="3171"/>
                  </a:lnTo>
                  <a:lnTo>
                    <a:pt x="10435" y="3176"/>
                  </a:lnTo>
                  <a:lnTo>
                    <a:pt x="10422" y="3181"/>
                  </a:lnTo>
                  <a:lnTo>
                    <a:pt x="10411" y="3186"/>
                  </a:lnTo>
                  <a:lnTo>
                    <a:pt x="10402" y="3190"/>
                  </a:lnTo>
                  <a:lnTo>
                    <a:pt x="10393" y="3194"/>
                  </a:lnTo>
                  <a:lnTo>
                    <a:pt x="10387" y="3198"/>
                  </a:lnTo>
                  <a:lnTo>
                    <a:pt x="10382" y="3201"/>
                  </a:lnTo>
                  <a:lnTo>
                    <a:pt x="10378" y="3205"/>
                  </a:lnTo>
                  <a:lnTo>
                    <a:pt x="10375" y="3207"/>
                  </a:lnTo>
                  <a:lnTo>
                    <a:pt x="10373" y="3209"/>
                  </a:lnTo>
                  <a:lnTo>
                    <a:pt x="10371" y="3210"/>
                  </a:lnTo>
                  <a:lnTo>
                    <a:pt x="10371" y="3208"/>
                  </a:lnTo>
                  <a:lnTo>
                    <a:pt x="10371" y="3202"/>
                  </a:lnTo>
                  <a:lnTo>
                    <a:pt x="10370" y="3194"/>
                  </a:lnTo>
                  <a:lnTo>
                    <a:pt x="10369" y="3184"/>
                  </a:lnTo>
                  <a:lnTo>
                    <a:pt x="10367" y="3170"/>
                  </a:lnTo>
                  <a:lnTo>
                    <a:pt x="10365" y="3154"/>
                  </a:lnTo>
                  <a:lnTo>
                    <a:pt x="10360" y="3136"/>
                  </a:lnTo>
                  <a:lnTo>
                    <a:pt x="10355" y="3116"/>
                  </a:lnTo>
                  <a:lnTo>
                    <a:pt x="10348" y="3095"/>
                  </a:lnTo>
                  <a:lnTo>
                    <a:pt x="10340" y="3073"/>
                  </a:lnTo>
                  <a:lnTo>
                    <a:pt x="10330" y="3050"/>
                  </a:lnTo>
                  <a:lnTo>
                    <a:pt x="10318" y="3026"/>
                  </a:lnTo>
                  <a:lnTo>
                    <a:pt x="10304" y="3002"/>
                  </a:lnTo>
                  <a:lnTo>
                    <a:pt x="10287" y="2977"/>
                  </a:lnTo>
                  <a:lnTo>
                    <a:pt x="10267" y="2953"/>
                  </a:lnTo>
                  <a:lnTo>
                    <a:pt x="10246" y="2930"/>
                  </a:lnTo>
                  <a:lnTo>
                    <a:pt x="10228" y="2907"/>
                  </a:lnTo>
                  <a:lnTo>
                    <a:pt x="10210" y="2887"/>
                  </a:lnTo>
                  <a:lnTo>
                    <a:pt x="10191" y="2869"/>
                  </a:lnTo>
                  <a:lnTo>
                    <a:pt x="10172" y="2852"/>
                  </a:lnTo>
                  <a:lnTo>
                    <a:pt x="10154" y="2838"/>
                  </a:lnTo>
                  <a:lnTo>
                    <a:pt x="10135" y="2825"/>
                  </a:lnTo>
                  <a:lnTo>
                    <a:pt x="10118" y="2814"/>
                  </a:lnTo>
                  <a:lnTo>
                    <a:pt x="10101" y="2805"/>
                  </a:lnTo>
                  <a:lnTo>
                    <a:pt x="10086" y="2797"/>
                  </a:lnTo>
                  <a:lnTo>
                    <a:pt x="10071" y="2789"/>
                  </a:lnTo>
                  <a:lnTo>
                    <a:pt x="10059" y="2784"/>
                  </a:lnTo>
                  <a:lnTo>
                    <a:pt x="10048" y="2780"/>
                  </a:lnTo>
                  <a:lnTo>
                    <a:pt x="10039" y="2777"/>
                  </a:lnTo>
                  <a:lnTo>
                    <a:pt x="10032" y="2775"/>
                  </a:lnTo>
                  <a:lnTo>
                    <a:pt x="10028" y="2773"/>
                  </a:lnTo>
                  <a:lnTo>
                    <a:pt x="10027" y="2773"/>
                  </a:lnTo>
                  <a:lnTo>
                    <a:pt x="10027" y="2772"/>
                  </a:lnTo>
                  <a:lnTo>
                    <a:pt x="10029" y="2768"/>
                  </a:lnTo>
                  <a:lnTo>
                    <a:pt x="10031" y="2765"/>
                  </a:lnTo>
                  <a:lnTo>
                    <a:pt x="10033" y="2762"/>
                  </a:lnTo>
                  <a:lnTo>
                    <a:pt x="10037" y="2758"/>
                  </a:lnTo>
                  <a:lnTo>
                    <a:pt x="10042" y="2753"/>
                  </a:lnTo>
                  <a:lnTo>
                    <a:pt x="10050" y="2749"/>
                  </a:lnTo>
                  <a:lnTo>
                    <a:pt x="10058" y="2744"/>
                  </a:lnTo>
                  <a:lnTo>
                    <a:pt x="10067" y="2739"/>
                  </a:lnTo>
                  <a:lnTo>
                    <a:pt x="10080" y="2734"/>
                  </a:lnTo>
                  <a:lnTo>
                    <a:pt x="10094" y="2729"/>
                  </a:lnTo>
                  <a:lnTo>
                    <a:pt x="10111" y="2722"/>
                  </a:lnTo>
                  <a:lnTo>
                    <a:pt x="10130" y="2717"/>
                  </a:lnTo>
                  <a:lnTo>
                    <a:pt x="10152" y="2711"/>
                  </a:lnTo>
                  <a:lnTo>
                    <a:pt x="10175" y="2705"/>
                  </a:lnTo>
                  <a:lnTo>
                    <a:pt x="10196" y="2700"/>
                  </a:lnTo>
                  <a:lnTo>
                    <a:pt x="10216" y="2694"/>
                  </a:lnTo>
                  <a:lnTo>
                    <a:pt x="10233" y="2688"/>
                  </a:lnTo>
                  <a:lnTo>
                    <a:pt x="10251" y="2683"/>
                  </a:lnTo>
                  <a:lnTo>
                    <a:pt x="10265" y="2678"/>
                  </a:lnTo>
                  <a:lnTo>
                    <a:pt x="10280" y="2673"/>
                  </a:lnTo>
                  <a:lnTo>
                    <a:pt x="10292" y="2668"/>
                  </a:lnTo>
                  <a:lnTo>
                    <a:pt x="10303" y="2664"/>
                  </a:lnTo>
                  <a:lnTo>
                    <a:pt x="10313" y="2660"/>
                  </a:lnTo>
                  <a:lnTo>
                    <a:pt x="10320" y="2657"/>
                  </a:lnTo>
                  <a:lnTo>
                    <a:pt x="10327" y="2653"/>
                  </a:lnTo>
                  <a:lnTo>
                    <a:pt x="10333" y="2651"/>
                  </a:lnTo>
                  <a:lnTo>
                    <a:pt x="10336" y="2649"/>
                  </a:lnTo>
                  <a:lnTo>
                    <a:pt x="10338" y="2648"/>
                  </a:lnTo>
                  <a:lnTo>
                    <a:pt x="10339" y="2648"/>
                  </a:lnTo>
                  <a:lnTo>
                    <a:pt x="10335" y="2648"/>
                  </a:lnTo>
                  <a:lnTo>
                    <a:pt x="10329" y="2648"/>
                  </a:lnTo>
                  <a:lnTo>
                    <a:pt x="10322" y="2648"/>
                  </a:lnTo>
                  <a:lnTo>
                    <a:pt x="10313" y="2649"/>
                  </a:lnTo>
                  <a:lnTo>
                    <a:pt x="10303" y="2649"/>
                  </a:lnTo>
                  <a:lnTo>
                    <a:pt x="10290" y="2650"/>
                  </a:lnTo>
                  <a:lnTo>
                    <a:pt x="10277" y="2651"/>
                  </a:lnTo>
                  <a:lnTo>
                    <a:pt x="10261" y="2652"/>
                  </a:lnTo>
                  <a:lnTo>
                    <a:pt x="10245" y="2653"/>
                  </a:lnTo>
                  <a:lnTo>
                    <a:pt x="10227" y="2656"/>
                  </a:lnTo>
                  <a:lnTo>
                    <a:pt x="10208" y="2659"/>
                  </a:lnTo>
                  <a:lnTo>
                    <a:pt x="10187" y="2662"/>
                  </a:lnTo>
                  <a:lnTo>
                    <a:pt x="10165" y="2665"/>
                  </a:lnTo>
                  <a:lnTo>
                    <a:pt x="10143" y="2669"/>
                  </a:lnTo>
                  <a:lnTo>
                    <a:pt x="10119" y="2674"/>
                  </a:lnTo>
                  <a:lnTo>
                    <a:pt x="10094" y="2679"/>
                  </a:lnTo>
                  <a:lnTo>
                    <a:pt x="10040" y="2693"/>
                  </a:lnTo>
                  <a:lnTo>
                    <a:pt x="9984" y="2709"/>
                  </a:lnTo>
                  <a:lnTo>
                    <a:pt x="9924" y="2730"/>
                  </a:lnTo>
                  <a:lnTo>
                    <a:pt x="9893" y="2741"/>
                  </a:lnTo>
                  <a:lnTo>
                    <a:pt x="9862" y="2754"/>
                  </a:lnTo>
                  <a:lnTo>
                    <a:pt x="9829" y="2768"/>
                  </a:lnTo>
                  <a:lnTo>
                    <a:pt x="9797" y="2782"/>
                  </a:lnTo>
                  <a:lnTo>
                    <a:pt x="9763" y="2799"/>
                  </a:lnTo>
                  <a:lnTo>
                    <a:pt x="9730" y="2816"/>
                  </a:lnTo>
                  <a:lnTo>
                    <a:pt x="9696" y="2835"/>
                  </a:lnTo>
                  <a:lnTo>
                    <a:pt x="9660" y="2854"/>
                  </a:lnTo>
                  <a:lnTo>
                    <a:pt x="9626" y="2876"/>
                  </a:lnTo>
                  <a:lnTo>
                    <a:pt x="9591" y="2899"/>
                  </a:lnTo>
                  <a:lnTo>
                    <a:pt x="9557" y="2920"/>
                  </a:lnTo>
                  <a:lnTo>
                    <a:pt x="9523" y="2942"/>
                  </a:lnTo>
                  <a:lnTo>
                    <a:pt x="9490" y="2966"/>
                  </a:lnTo>
                  <a:lnTo>
                    <a:pt x="9458" y="2990"/>
                  </a:lnTo>
                  <a:lnTo>
                    <a:pt x="9398" y="3043"/>
                  </a:lnTo>
                  <a:lnTo>
                    <a:pt x="9341" y="3097"/>
                  </a:lnTo>
                  <a:lnTo>
                    <a:pt x="9288" y="3154"/>
                  </a:lnTo>
                  <a:lnTo>
                    <a:pt x="9263" y="3182"/>
                  </a:lnTo>
                  <a:lnTo>
                    <a:pt x="9239" y="3211"/>
                  </a:lnTo>
                  <a:lnTo>
                    <a:pt x="9217" y="3240"/>
                  </a:lnTo>
                  <a:lnTo>
                    <a:pt x="9195" y="3267"/>
                  </a:lnTo>
                  <a:lnTo>
                    <a:pt x="9174" y="3295"/>
                  </a:lnTo>
                  <a:lnTo>
                    <a:pt x="9155" y="3323"/>
                  </a:lnTo>
                  <a:lnTo>
                    <a:pt x="9136" y="3350"/>
                  </a:lnTo>
                  <a:lnTo>
                    <a:pt x="9120" y="3376"/>
                  </a:lnTo>
                  <a:lnTo>
                    <a:pt x="9103" y="3400"/>
                  </a:lnTo>
                  <a:lnTo>
                    <a:pt x="9088" y="3424"/>
                  </a:lnTo>
                  <a:lnTo>
                    <a:pt x="9074" y="3447"/>
                  </a:lnTo>
                  <a:lnTo>
                    <a:pt x="9061" y="3468"/>
                  </a:lnTo>
                  <a:lnTo>
                    <a:pt x="9049" y="3489"/>
                  </a:lnTo>
                  <a:lnTo>
                    <a:pt x="9039" y="3507"/>
                  </a:lnTo>
                  <a:lnTo>
                    <a:pt x="9030" y="3524"/>
                  </a:lnTo>
                  <a:lnTo>
                    <a:pt x="9021" y="3539"/>
                  </a:lnTo>
                  <a:lnTo>
                    <a:pt x="9014" y="3552"/>
                  </a:lnTo>
                  <a:lnTo>
                    <a:pt x="9009" y="3563"/>
                  </a:lnTo>
                  <a:lnTo>
                    <a:pt x="9005" y="3572"/>
                  </a:lnTo>
                  <a:lnTo>
                    <a:pt x="9002" y="3578"/>
                  </a:lnTo>
                  <a:lnTo>
                    <a:pt x="9000" y="3583"/>
                  </a:lnTo>
                  <a:lnTo>
                    <a:pt x="8999" y="3584"/>
                  </a:lnTo>
                  <a:lnTo>
                    <a:pt x="9000" y="3583"/>
                  </a:lnTo>
                  <a:lnTo>
                    <a:pt x="9004" y="3578"/>
                  </a:lnTo>
                  <a:lnTo>
                    <a:pt x="9011" y="3571"/>
                  </a:lnTo>
                  <a:lnTo>
                    <a:pt x="9019" y="3563"/>
                  </a:lnTo>
                  <a:lnTo>
                    <a:pt x="9030" y="3553"/>
                  </a:lnTo>
                  <a:lnTo>
                    <a:pt x="9041" y="3541"/>
                  </a:lnTo>
                  <a:lnTo>
                    <a:pt x="9054" y="3528"/>
                  </a:lnTo>
                  <a:lnTo>
                    <a:pt x="9069" y="3514"/>
                  </a:lnTo>
                  <a:lnTo>
                    <a:pt x="9099" y="3484"/>
                  </a:lnTo>
                  <a:lnTo>
                    <a:pt x="9130" y="3453"/>
                  </a:lnTo>
                  <a:lnTo>
                    <a:pt x="9160" y="3423"/>
                  </a:lnTo>
                  <a:lnTo>
                    <a:pt x="9173" y="3410"/>
                  </a:lnTo>
                  <a:lnTo>
                    <a:pt x="9186" y="3397"/>
                  </a:lnTo>
                  <a:lnTo>
                    <a:pt x="9209" y="3376"/>
                  </a:lnTo>
                  <a:lnTo>
                    <a:pt x="9232" y="3356"/>
                  </a:lnTo>
                  <a:lnTo>
                    <a:pt x="9253" y="3339"/>
                  </a:lnTo>
                  <a:lnTo>
                    <a:pt x="9271" y="3327"/>
                  </a:lnTo>
                  <a:lnTo>
                    <a:pt x="9288" y="3317"/>
                  </a:lnTo>
                  <a:lnTo>
                    <a:pt x="9294" y="3313"/>
                  </a:lnTo>
                  <a:lnTo>
                    <a:pt x="9300" y="3310"/>
                  </a:lnTo>
                  <a:lnTo>
                    <a:pt x="9304" y="3307"/>
                  </a:lnTo>
                  <a:lnTo>
                    <a:pt x="9307" y="3304"/>
                  </a:lnTo>
                  <a:lnTo>
                    <a:pt x="9309" y="3303"/>
                  </a:lnTo>
                  <a:lnTo>
                    <a:pt x="9311" y="3303"/>
                  </a:lnTo>
                  <a:lnTo>
                    <a:pt x="9311" y="3310"/>
                  </a:lnTo>
                  <a:lnTo>
                    <a:pt x="9312" y="3318"/>
                  </a:lnTo>
                  <a:lnTo>
                    <a:pt x="9314" y="3327"/>
                  </a:lnTo>
                  <a:lnTo>
                    <a:pt x="9317" y="3337"/>
                  </a:lnTo>
                  <a:lnTo>
                    <a:pt x="9325" y="3360"/>
                  </a:lnTo>
                  <a:lnTo>
                    <a:pt x="9331" y="3372"/>
                  </a:lnTo>
                  <a:lnTo>
                    <a:pt x="9337" y="3385"/>
                  </a:lnTo>
                  <a:lnTo>
                    <a:pt x="9346" y="3398"/>
                  </a:lnTo>
                  <a:lnTo>
                    <a:pt x="9355" y="3412"/>
                  </a:lnTo>
                  <a:lnTo>
                    <a:pt x="9365" y="3426"/>
                  </a:lnTo>
                  <a:lnTo>
                    <a:pt x="9377" y="3439"/>
                  </a:lnTo>
                  <a:lnTo>
                    <a:pt x="9389" y="3453"/>
                  </a:lnTo>
                  <a:lnTo>
                    <a:pt x="9403" y="3465"/>
                  </a:lnTo>
                  <a:lnTo>
                    <a:pt x="9419" y="3478"/>
                  </a:lnTo>
                  <a:lnTo>
                    <a:pt x="9435" y="3490"/>
                  </a:lnTo>
                  <a:lnTo>
                    <a:pt x="9458" y="3513"/>
                  </a:lnTo>
                  <a:lnTo>
                    <a:pt x="9481" y="3532"/>
                  </a:lnTo>
                  <a:lnTo>
                    <a:pt x="9501" y="3551"/>
                  </a:lnTo>
                  <a:lnTo>
                    <a:pt x="9522" y="3567"/>
                  </a:lnTo>
                  <a:lnTo>
                    <a:pt x="9542" y="3582"/>
                  </a:lnTo>
                  <a:lnTo>
                    <a:pt x="9559" y="3594"/>
                  </a:lnTo>
                  <a:lnTo>
                    <a:pt x="9576" y="3605"/>
                  </a:lnTo>
                  <a:lnTo>
                    <a:pt x="9591" y="3615"/>
                  </a:lnTo>
                  <a:lnTo>
                    <a:pt x="9605" y="3623"/>
                  </a:lnTo>
                  <a:lnTo>
                    <a:pt x="9617" y="3630"/>
                  </a:lnTo>
                  <a:lnTo>
                    <a:pt x="9627" y="3635"/>
                  </a:lnTo>
                  <a:lnTo>
                    <a:pt x="9637" y="3639"/>
                  </a:lnTo>
                  <a:lnTo>
                    <a:pt x="9644" y="3642"/>
                  </a:lnTo>
                  <a:lnTo>
                    <a:pt x="9649" y="3644"/>
                  </a:lnTo>
                  <a:lnTo>
                    <a:pt x="9652" y="3646"/>
                  </a:lnTo>
                  <a:lnTo>
                    <a:pt x="9653" y="3646"/>
                  </a:lnTo>
                  <a:lnTo>
                    <a:pt x="9652" y="3647"/>
                  </a:lnTo>
                  <a:lnTo>
                    <a:pt x="9649" y="3651"/>
                  </a:lnTo>
                  <a:lnTo>
                    <a:pt x="9645" y="3656"/>
                  </a:lnTo>
                  <a:lnTo>
                    <a:pt x="9638" y="3663"/>
                  </a:lnTo>
                  <a:lnTo>
                    <a:pt x="9631" y="3671"/>
                  </a:lnTo>
                  <a:lnTo>
                    <a:pt x="9622" y="3680"/>
                  </a:lnTo>
                  <a:lnTo>
                    <a:pt x="9613" y="3692"/>
                  </a:lnTo>
                  <a:lnTo>
                    <a:pt x="9603" y="3704"/>
                  </a:lnTo>
                  <a:lnTo>
                    <a:pt x="9592" y="3719"/>
                  </a:lnTo>
                  <a:lnTo>
                    <a:pt x="9582" y="3733"/>
                  </a:lnTo>
                  <a:lnTo>
                    <a:pt x="9561" y="3764"/>
                  </a:lnTo>
                  <a:lnTo>
                    <a:pt x="9543" y="3798"/>
                  </a:lnTo>
                  <a:lnTo>
                    <a:pt x="9535" y="3815"/>
                  </a:lnTo>
                  <a:lnTo>
                    <a:pt x="9528" y="3833"/>
                  </a:lnTo>
                  <a:lnTo>
                    <a:pt x="9507" y="3869"/>
                  </a:lnTo>
                  <a:lnTo>
                    <a:pt x="9488" y="3907"/>
                  </a:lnTo>
                  <a:lnTo>
                    <a:pt x="9472" y="3943"/>
                  </a:lnTo>
                  <a:lnTo>
                    <a:pt x="9465" y="3961"/>
                  </a:lnTo>
                  <a:lnTo>
                    <a:pt x="9459" y="3977"/>
                  </a:lnTo>
                  <a:lnTo>
                    <a:pt x="9453" y="3993"/>
                  </a:lnTo>
                  <a:lnTo>
                    <a:pt x="9449" y="4007"/>
                  </a:lnTo>
                  <a:lnTo>
                    <a:pt x="9445" y="4019"/>
                  </a:lnTo>
                  <a:lnTo>
                    <a:pt x="9442" y="4031"/>
                  </a:lnTo>
                  <a:lnTo>
                    <a:pt x="9439" y="4039"/>
                  </a:lnTo>
                  <a:lnTo>
                    <a:pt x="9436" y="4046"/>
                  </a:lnTo>
                  <a:lnTo>
                    <a:pt x="9435" y="4050"/>
                  </a:lnTo>
                  <a:lnTo>
                    <a:pt x="9435" y="4051"/>
                  </a:lnTo>
                  <a:lnTo>
                    <a:pt x="9436" y="4050"/>
                  </a:lnTo>
                  <a:lnTo>
                    <a:pt x="9439" y="4048"/>
                  </a:lnTo>
                  <a:lnTo>
                    <a:pt x="9442" y="4044"/>
                  </a:lnTo>
                  <a:lnTo>
                    <a:pt x="9447" y="4039"/>
                  </a:lnTo>
                  <a:lnTo>
                    <a:pt x="9453" y="4032"/>
                  </a:lnTo>
                  <a:lnTo>
                    <a:pt x="9460" y="4024"/>
                  </a:lnTo>
                  <a:lnTo>
                    <a:pt x="9468" y="4014"/>
                  </a:lnTo>
                  <a:lnTo>
                    <a:pt x="9479" y="4004"/>
                  </a:lnTo>
                  <a:lnTo>
                    <a:pt x="9490" y="3993"/>
                  </a:lnTo>
                  <a:lnTo>
                    <a:pt x="9501" y="3979"/>
                  </a:lnTo>
                  <a:lnTo>
                    <a:pt x="9515" y="3966"/>
                  </a:lnTo>
                  <a:lnTo>
                    <a:pt x="9529" y="3951"/>
                  </a:lnTo>
                  <a:lnTo>
                    <a:pt x="9560" y="3919"/>
                  </a:lnTo>
                  <a:lnTo>
                    <a:pt x="9595" y="3884"/>
                  </a:lnTo>
                  <a:lnTo>
                    <a:pt x="9633" y="3846"/>
                  </a:lnTo>
                  <a:lnTo>
                    <a:pt x="9674" y="3806"/>
                  </a:lnTo>
                  <a:lnTo>
                    <a:pt x="9718" y="3765"/>
                  </a:lnTo>
                  <a:lnTo>
                    <a:pt x="9764" y="3723"/>
                  </a:lnTo>
                  <a:lnTo>
                    <a:pt x="9812" y="3679"/>
                  </a:lnTo>
                  <a:lnTo>
                    <a:pt x="9862" y="3637"/>
                  </a:lnTo>
                  <a:lnTo>
                    <a:pt x="9912" y="3594"/>
                  </a:lnTo>
                  <a:lnTo>
                    <a:pt x="9965" y="3553"/>
                  </a:lnTo>
                  <a:lnTo>
                    <a:pt x="9965" y="3553"/>
                  </a:lnTo>
                  <a:close/>
                  <a:moveTo>
                    <a:pt x="5828" y="2799"/>
                  </a:moveTo>
                  <a:lnTo>
                    <a:pt x="5843" y="2776"/>
                  </a:lnTo>
                  <a:lnTo>
                    <a:pt x="5857" y="2754"/>
                  </a:lnTo>
                  <a:lnTo>
                    <a:pt x="5871" y="2734"/>
                  </a:lnTo>
                  <a:lnTo>
                    <a:pt x="5884" y="2714"/>
                  </a:lnTo>
                  <a:lnTo>
                    <a:pt x="5909" y="2678"/>
                  </a:lnTo>
                  <a:lnTo>
                    <a:pt x="5933" y="2645"/>
                  </a:lnTo>
                  <a:lnTo>
                    <a:pt x="5955" y="2616"/>
                  </a:lnTo>
                  <a:lnTo>
                    <a:pt x="5976" y="2592"/>
                  </a:lnTo>
                  <a:lnTo>
                    <a:pt x="5995" y="2569"/>
                  </a:lnTo>
                  <a:lnTo>
                    <a:pt x="6011" y="2550"/>
                  </a:lnTo>
                  <a:lnTo>
                    <a:pt x="6027" y="2534"/>
                  </a:lnTo>
                  <a:lnTo>
                    <a:pt x="6040" y="2521"/>
                  </a:lnTo>
                  <a:lnTo>
                    <a:pt x="6051" y="2510"/>
                  </a:lnTo>
                  <a:lnTo>
                    <a:pt x="6061" y="2501"/>
                  </a:lnTo>
                  <a:lnTo>
                    <a:pt x="6068" y="2495"/>
                  </a:lnTo>
                  <a:lnTo>
                    <a:pt x="6073" y="2491"/>
                  </a:lnTo>
                  <a:lnTo>
                    <a:pt x="6076" y="2489"/>
                  </a:lnTo>
                  <a:lnTo>
                    <a:pt x="6077" y="2488"/>
                  </a:lnTo>
                  <a:lnTo>
                    <a:pt x="6076" y="2490"/>
                  </a:lnTo>
                  <a:lnTo>
                    <a:pt x="6075" y="2495"/>
                  </a:lnTo>
                  <a:lnTo>
                    <a:pt x="6072" y="2503"/>
                  </a:lnTo>
                  <a:lnTo>
                    <a:pt x="6068" y="2514"/>
                  </a:lnTo>
                  <a:lnTo>
                    <a:pt x="6064" y="2528"/>
                  </a:lnTo>
                  <a:lnTo>
                    <a:pt x="6060" y="2543"/>
                  </a:lnTo>
                  <a:lnTo>
                    <a:pt x="6055" y="2562"/>
                  </a:lnTo>
                  <a:lnTo>
                    <a:pt x="6050" y="2581"/>
                  </a:lnTo>
                  <a:lnTo>
                    <a:pt x="6046" y="2602"/>
                  </a:lnTo>
                  <a:lnTo>
                    <a:pt x="6042" y="2625"/>
                  </a:lnTo>
                  <a:lnTo>
                    <a:pt x="6040" y="2647"/>
                  </a:lnTo>
                  <a:lnTo>
                    <a:pt x="6038" y="2671"/>
                  </a:lnTo>
                  <a:lnTo>
                    <a:pt x="6038" y="2696"/>
                  </a:lnTo>
                  <a:lnTo>
                    <a:pt x="6039" y="2720"/>
                  </a:lnTo>
                  <a:lnTo>
                    <a:pt x="6041" y="2744"/>
                  </a:lnTo>
                  <a:lnTo>
                    <a:pt x="6046" y="2768"/>
                  </a:lnTo>
                  <a:lnTo>
                    <a:pt x="6053" y="2819"/>
                  </a:lnTo>
                  <a:lnTo>
                    <a:pt x="6061" y="2870"/>
                  </a:lnTo>
                  <a:lnTo>
                    <a:pt x="6069" y="2918"/>
                  </a:lnTo>
                  <a:lnTo>
                    <a:pt x="6079" y="2965"/>
                  </a:lnTo>
                  <a:lnTo>
                    <a:pt x="6089" y="3008"/>
                  </a:lnTo>
                  <a:lnTo>
                    <a:pt x="6100" y="3049"/>
                  </a:lnTo>
                  <a:lnTo>
                    <a:pt x="6110" y="3087"/>
                  </a:lnTo>
                  <a:lnTo>
                    <a:pt x="6121" y="3122"/>
                  </a:lnTo>
                  <a:lnTo>
                    <a:pt x="6131" y="3154"/>
                  </a:lnTo>
                  <a:lnTo>
                    <a:pt x="6140" y="3183"/>
                  </a:lnTo>
                  <a:lnTo>
                    <a:pt x="6149" y="3208"/>
                  </a:lnTo>
                  <a:lnTo>
                    <a:pt x="6153" y="3218"/>
                  </a:lnTo>
                  <a:lnTo>
                    <a:pt x="6156" y="3228"/>
                  </a:lnTo>
                  <a:lnTo>
                    <a:pt x="6160" y="3236"/>
                  </a:lnTo>
                  <a:lnTo>
                    <a:pt x="6162" y="3245"/>
                  </a:lnTo>
                  <a:lnTo>
                    <a:pt x="6165" y="3251"/>
                  </a:lnTo>
                  <a:lnTo>
                    <a:pt x="6167" y="3256"/>
                  </a:lnTo>
                  <a:lnTo>
                    <a:pt x="6169" y="3261"/>
                  </a:lnTo>
                  <a:lnTo>
                    <a:pt x="6170" y="3264"/>
                  </a:lnTo>
                  <a:lnTo>
                    <a:pt x="6171" y="3265"/>
                  </a:lnTo>
                  <a:lnTo>
                    <a:pt x="6171" y="3266"/>
                  </a:lnTo>
                  <a:lnTo>
                    <a:pt x="6171" y="3264"/>
                  </a:lnTo>
                  <a:lnTo>
                    <a:pt x="6171" y="3260"/>
                  </a:lnTo>
                  <a:lnTo>
                    <a:pt x="6172" y="3252"/>
                  </a:lnTo>
                  <a:lnTo>
                    <a:pt x="6173" y="3241"/>
                  </a:lnTo>
                  <a:lnTo>
                    <a:pt x="6174" y="3226"/>
                  </a:lnTo>
                  <a:lnTo>
                    <a:pt x="6175" y="3210"/>
                  </a:lnTo>
                  <a:lnTo>
                    <a:pt x="6177" y="3191"/>
                  </a:lnTo>
                  <a:lnTo>
                    <a:pt x="6179" y="3170"/>
                  </a:lnTo>
                  <a:lnTo>
                    <a:pt x="6183" y="3146"/>
                  </a:lnTo>
                  <a:lnTo>
                    <a:pt x="6185" y="3120"/>
                  </a:lnTo>
                  <a:lnTo>
                    <a:pt x="6189" y="3093"/>
                  </a:lnTo>
                  <a:lnTo>
                    <a:pt x="6193" y="3064"/>
                  </a:lnTo>
                  <a:lnTo>
                    <a:pt x="6197" y="3034"/>
                  </a:lnTo>
                  <a:lnTo>
                    <a:pt x="6202" y="3002"/>
                  </a:lnTo>
                  <a:lnTo>
                    <a:pt x="6207" y="2969"/>
                  </a:lnTo>
                  <a:lnTo>
                    <a:pt x="6214" y="2936"/>
                  </a:lnTo>
                  <a:lnTo>
                    <a:pt x="6228" y="2865"/>
                  </a:lnTo>
                  <a:lnTo>
                    <a:pt x="6246" y="2794"/>
                  </a:lnTo>
                  <a:lnTo>
                    <a:pt x="6266" y="2720"/>
                  </a:lnTo>
                  <a:lnTo>
                    <a:pt x="6289" y="2648"/>
                  </a:lnTo>
                  <a:lnTo>
                    <a:pt x="6316" y="2578"/>
                  </a:lnTo>
                  <a:lnTo>
                    <a:pt x="6331" y="2544"/>
                  </a:lnTo>
                  <a:lnTo>
                    <a:pt x="6347" y="2512"/>
                  </a:lnTo>
                  <a:lnTo>
                    <a:pt x="6363" y="2480"/>
                  </a:lnTo>
                  <a:lnTo>
                    <a:pt x="6382" y="2450"/>
                  </a:lnTo>
                  <a:lnTo>
                    <a:pt x="6400" y="2421"/>
                  </a:lnTo>
                  <a:lnTo>
                    <a:pt x="6420" y="2394"/>
                  </a:lnTo>
                  <a:lnTo>
                    <a:pt x="6444" y="2365"/>
                  </a:lnTo>
                  <a:lnTo>
                    <a:pt x="6470" y="2338"/>
                  </a:lnTo>
                  <a:lnTo>
                    <a:pt x="6496" y="2313"/>
                  </a:lnTo>
                  <a:lnTo>
                    <a:pt x="6525" y="2289"/>
                  </a:lnTo>
                  <a:lnTo>
                    <a:pt x="6554" y="2265"/>
                  </a:lnTo>
                  <a:lnTo>
                    <a:pt x="6585" y="2244"/>
                  </a:lnTo>
                  <a:lnTo>
                    <a:pt x="6617" y="2223"/>
                  </a:lnTo>
                  <a:lnTo>
                    <a:pt x="6650" y="2203"/>
                  </a:lnTo>
                  <a:lnTo>
                    <a:pt x="6684" y="2185"/>
                  </a:lnTo>
                  <a:lnTo>
                    <a:pt x="6719" y="2167"/>
                  </a:lnTo>
                  <a:lnTo>
                    <a:pt x="6793" y="2135"/>
                  </a:lnTo>
                  <a:lnTo>
                    <a:pt x="6869" y="2108"/>
                  </a:lnTo>
                  <a:lnTo>
                    <a:pt x="6950" y="2083"/>
                  </a:lnTo>
                  <a:lnTo>
                    <a:pt x="6992" y="2069"/>
                  </a:lnTo>
                  <a:lnTo>
                    <a:pt x="7035" y="2054"/>
                  </a:lnTo>
                  <a:lnTo>
                    <a:pt x="7080" y="2036"/>
                  </a:lnTo>
                  <a:lnTo>
                    <a:pt x="7125" y="2017"/>
                  </a:lnTo>
                  <a:lnTo>
                    <a:pt x="7169" y="1997"/>
                  </a:lnTo>
                  <a:lnTo>
                    <a:pt x="7214" y="1977"/>
                  </a:lnTo>
                  <a:lnTo>
                    <a:pt x="7256" y="1955"/>
                  </a:lnTo>
                  <a:lnTo>
                    <a:pt x="7297" y="1934"/>
                  </a:lnTo>
                  <a:lnTo>
                    <a:pt x="7335" y="1915"/>
                  </a:lnTo>
                  <a:lnTo>
                    <a:pt x="7370" y="1896"/>
                  </a:lnTo>
                  <a:lnTo>
                    <a:pt x="7386" y="1887"/>
                  </a:lnTo>
                  <a:lnTo>
                    <a:pt x="7402" y="1879"/>
                  </a:lnTo>
                  <a:lnTo>
                    <a:pt x="7415" y="1871"/>
                  </a:lnTo>
                  <a:lnTo>
                    <a:pt x="7429" y="1863"/>
                  </a:lnTo>
                  <a:lnTo>
                    <a:pt x="7440" y="1857"/>
                  </a:lnTo>
                  <a:lnTo>
                    <a:pt x="7450" y="1851"/>
                  </a:lnTo>
                  <a:lnTo>
                    <a:pt x="7459" y="1846"/>
                  </a:lnTo>
                  <a:lnTo>
                    <a:pt x="7467" y="1842"/>
                  </a:lnTo>
                  <a:lnTo>
                    <a:pt x="7472" y="1839"/>
                  </a:lnTo>
                  <a:lnTo>
                    <a:pt x="7477" y="1836"/>
                  </a:lnTo>
                  <a:lnTo>
                    <a:pt x="7479" y="1835"/>
                  </a:lnTo>
                  <a:lnTo>
                    <a:pt x="7480" y="1834"/>
                  </a:lnTo>
                  <a:lnTo>
                    <a:pt x="7479" y="1834"/>
                  </a:lnTo>
                  <a:lnTo>
                    <a:pt x="7478" y="1835"/>
                  </a:lnTo>
                  <a:lnTo>
                    <a:pt x="7475" y="1836"/>
                  </a:lnTo>
                  <a:lnTo>
                    <a:pt x="7471" y="1837"/>
                  </a:lnTo>
                  <a:lnTo>
                    <a:pt x="7467" y="1838"/>
                  </a:lnTo>
                  <a:lnTo>
                    <a:pt x="7461" y="1840"/>
                  </a:lnTo>
                  <a:lnTo>
                    <a:pt x="7453" y="1842"/>
                  </a:lnTo>
                  <a:lnTo>
                    <a:pt x="7444" y="1844"/>
                  </a:lnTo>
                  <a:lnTo>
                    <a:pt x="7435" y="1847"/>
                  </a:lnTo>
                  <a:lnTo>
                    <a:pt x="7424" y="1850"/>
                  </a:lnTo>
                  <a:lnTo>
                    <a:pt x="7412" y="1853"/>
                  </a:lnTo>
                  <a:lnTo>
                    <a:pt x="7400" y="1856"/>
                  </a:lnTo>
                  <a:lnTo>
                    <a:pt x="7385" y="1860"/>
                  </a:lnTo>
                  <a:lnTo>
                    <a:pt x="7370" y="1864"/>
                  </a:lnTo>
                  <a:lnTo>
                    <a:pt x="7353" y="1869"/>
                  </a:lnTo>
                  <a:lnTo>
                    <a:pt x="7336" y="1873"/>
                  </a:lnTo>
                  <a:lnTo>
                    <a:pt x="7317" y="1877"/>
                  </a:lnTo>
                  <a:lnTo>
                    <a:pt x="7296" y="1881"/>
                  </a:lnTo>
                  <a:lnTo>
                    <a:pt x="7276" y="1886"/>
                  </a:lnTo>
                  <a:lnTo>
                    <a:pt x="7253" y="1891"/>
                  </a:lnTo>
                  <a:lnTo>
                    <a:pt x="7229" y="1896"/>
                  </a:lnTo>
                  <a:lnTo>
                    <a:pt x="7205" y="1902"/>
                  </a:lnTo>
                  <a:lnTo>
                    <a:pt x="7179" y="1907"/>
                  </a:lnTo>
                  <a:lnTo>
                    <a:pt x="7151" y="1912"/>
                  </a:lnTo>
                  <a:lnTo>
                    <a:pt x="7122" y="1918"/>
                  </a:lnTo>
                  <a:lnTo>
                    <a:pt x="7093" y="1923"/>
                  </a:lnTo>
                  <a:lnTo>
                    <a:pt x="7062" y="1929"/>
                  </a:lnTo>
                  <a:lnTo>
                    <a:pt x="7029" y="1934"/>
                  </a:lnTo>
                  <a:lnTo>
                    <a:pt x="6996" y="1941"/>
                  </a:lnTo>
                  <a:lnTo>
                    <a:pt x="6961" y="1947"/>
                  </a:lnTo>
                  <a:lnTo>
                    <a:pt x="6925" y="1952"/>
                  </a:lnTo>
                  <a:lnTo>
                    <a:pt x="6888" y="1958"/>
                  </a:lnTo>
                  <a:lnTo>
                    <a:pt x="6818" y="1968"/>
                  </a:lnTo>
                  <a:lnTo>
                    <a:pt x="6752" y="1978"/>
                  </a:lnTo>
                  <a:lnTo>
                    <a:pt x="6687" y="1985"/>
                  </a:lnTo>
                  <a:lnTo>
                    <a:pt x="6624" y="1990"/>
                  </a:lnTo>
                  <a:lnTo>
                    <a:pt x="6565" y="1995"/>
                  </a:lnTo>
                  <a:lnTo>
                    <a:pt x="6507" y="2000"/>
                  </a:lnTo>
                  <a:lnTo>
                    <a:pt x="6451" y="2005"/>
                  </a:lnTo>
                  <a:lnTo>
                    <a:pt x="6397" y="2009"/>
                  </a:lnTo>
                  <a:lnTo>
                    <a:pt x="6346" y="2013"/>
                  </a:lnTo>
                  <a:lnTo>
                    <a:pt x="6296" y="2019"/>
                  </a:lnTo>
                  <a:lnTo>
                    <a:pt x="6249" y="2025"/>
                  </a:lnTo>
                  <a:lnTo>
                    <a:pt x="6204" y="2032"/>
                  </a:lnTo>
                  <a:lnTo>
                    <a:pt x="6161" y="2042"/>
                  </a:lnTo>
                  <a:lnTo>
                    <a:pt x="6121" y="2053"/>
                  </a:lnTo>
                  <a:lnTo>
                    <a:pt x="6082" y="2066"/>
                  </a:lnTo>
                  <a:lnTo>
                    <a:pt x="6046" y="2083"/>
                  </a:lnTo>
                  <a:lnTo>
                    <a:pt x="5996" y="2113"/>
                  </a:lnTo>
                  <a:lnTo>
                    <a:pt x="5948" y="2146"/>
                  </a:lnTo>
                  <a:lnTo>
                    <a:pt x="5904" y="2181"/>
                  </a:lnTo>
                  <a:lnTo>
                    <a:pt x="5863" y="2218"/>
                  </a:lnTo>
                  <a:lnTo>
                    <a:pt x="5824" y="2258"/>
                  </a:lnTo>
                  <a:lnTo>
                    <a:pt x="5788" y="2300"/>
                  </a:lnTo>
                  <a:lnTo>
                    <a:pt x="5754" y="2345"/>
                  </a:lnTo>
                  <a:lnTo>
                    <a:pt x="5723" y="2394"/>
                  </a:lnTo>
                  <a:lnTo>
                    <a:pt x="5693" y="2445"/>
                  </a:lnTo>
                  <a:lnTo>
                    <a:pt x="5664" y="2499"/>
                  </a:lnTo>
                  <a:lnTo>
                    <a:pt x="5638" y="2557"/>
                  </a:lnTo>
                  <a:lnTo>
                    <a:pt x="5613" y="2617"/>
                  </a:lnTo>
                  <a:lnTo>
                    <a:pt x="5588" y="2680"/>
                  </a:lnTo>
                  <a:lnTo>
                    <a:pt x="5563" y="2748"/>
                  </a:lnTo>
                  <a:lnTo>
                    <a:pt x="5540" y="2818"/>
                  </a:lnTo>
                  <a:lnTo>
                    <a:pt x="5517" y="2892"/>
                  </a:lnTo>
                  <a:lnTo>
                    <a:pt x="5502" y="2937"/>
                  </a:lnTo>
                  <a:lnTo>
                    <a:pt x="5490" y="2981"/>
                  </a:lnTo>
                  <a:lnTo>
                    <a:pt x="5466" y="3073"/>
                  </a:lnTo>
                  <a:lnTo>
                    <a:pt x="5448" y="3164"/>
                  </a:lnTo>
                  <a:lnTo>
                    <a:pt x="5431" y="3255"/>
                  </a:lnTo>
                  <a:lnTo>
                    <a:pt x="5419" y="3346"/>
                  </a:lnTo>
                  <a:lnTo>
                    <a:pt x="5408" y="3433"/>
                  </a:lnTo>
                  <a:lnTo>
                    <a:pt x="5404" y="3476"/>
                  </a:lnTo>
                  <a:lnTo>
                    <a:pt x="5401" y="3518"/>
                  </a:lnTo>
                  <a:lnTo>
                    <a:pt x="5398" y="3559"/>
                  </a:lnTo>
                  <a:lnTo>
                    <a:pt x="5396" y="3598"/>
                  </a:lnTo>
                  <a:lnTo>
                    <a:pt x="5394" y="3636"/>
                  </a:lnTo>
                  <a:lnTo>
                    <a:pt x="5392" y="3672"/>
                  </a:lnTo>
                  <a:lnTo>
                    <a:pt x="5391" y="3707"/>
                  </a:lnTo>
                  <a:lnTo>
                    <a:pt x="5391" y="3740"/>
                  </a:lnTo>
                  <a:lnTo>
                    <a:pt x="5390" y="3771"/>
                  </a:lnTo>
                  <a:lnTo>
                    <a:pt x="5390" y="3801"/>
                  </a:lnTo>
                  <a:lnTo>
                    <a:pt x="5390" y="3828"/>
                  </a:lnTo>
                  <a:lnTo>
                    <a:pt x="5390" y="3852"/>
                  </a:lnTo>
                  <a:lnTo>
                    <a:pt x="5390" y="3875"/>
                  </a:lnTo>
                  <a:lnTo>
                    <a:pt x="5390" y="3895"/>
                  </a:lnTo>
                  <a:lnTo>
                    <a:pt x="5391" y="3912"/>
                  </a:lnTo>
                  <a:lnTo>
                    <a:pt x="5391" y="3926"/>
                  </a:lnTo>
                  <a:lnTo>
                    <a:pt x="5391" y="3937"/>
                  </a:lnTo>
                  <a:lnTo>
                    <a:pt x="5392" y="3945"/>
                  </a:lnTo>
                  <a:lnTo>
                    <a:pt x="5392" y="3950"/>
                  </a:lnTo>
                  <a:lnTo>
                    <a:pt x="5392" y="3952"/>
                  </a:lnTo>
                  <a:lnTo>
                    <a:pt x="5392" y="3951"/>
                  </a:lnTo>
                  <a:lnTo>
                    <a:pt x="5393" y="3950"/>
                  </a:lnTo>
                  <a:lnTo>
                    <a:pt x="5393" y="3947"/>
                  </a:lnTo>
                  <a:lnTo>
                    <a:pt x="5394" y="3943"/>
                  </a:lnTo>
                  <a:lnTo>
                    <a:pt x="5396" y="3938"/>
                  </a:lnTo>
                  <a:lnTo>
                    <a:pt x="5397" y="3932"/>
                  </a:lnTo>
                  <a:lnTo>
                    <a:pt x="5399" y="3924"/>
                  </a:lnTo>
                  <a:lnTo>
                    <a:pt x="5402" y="3915"/>
                  </a:lnTo>
                  <a:lnTo>
                    <a:pt x="5407" y="3896"/>
                  </a:lnTo>
                  <a:lnTo>
                    <a:pt x="5413" y="3873"/>
                  </a:lnTo>
                  <a:lnTo>
                    <a:pt x="5421" y="3846"/>
                  </a:lnTo>
                  <a:lnTo>
                    <a:pt x="5429" y="3816"/>
                  </a:lnTo>
                  <a:lnTo>
                    <a:pt x="5438" y="3783"/>
                  </a:lnTo>
                  <a:lnTo>
                    <a:pt x="5449" y="3747"/>
                  </a:lnTo>
                  <a:lnTo>
                    <a:pt x="5460" y="3709"/>
                  </a:lnTo>
                  <a:lnTo>
                    <a:pt x="5472" y="3670"/>
                  </a:lnTo>
                  <a:lnTo>
                    <a:pt x="5485" y="3628"/>
                  </a:lnTo>
                  <a:lnTo>
                    <a:pt x="5499" y="3584"/>
                  </a:lnTo>
                  <a:lnTo>
                    <a:pt x="5513" y="3539"/>
                  </a:lnTo>
                  <a:lnTo>
                    <a:pt x="5528" y="3493"/>
                  </a:lnTo>
                  <a:lnTo>
                    <a:pt x="5560" y="3397"/>
                  </a:lnTo>
                  <a:lnTo>
                    <a:pt x="5594" y="3301"/>
                  </a:lnTo>
                  <a:lnTo>
                    <a:pt x="5630" y="3205"/>
                  </a:lnTo>
                  <a:lnTo>
                    <a:pt x="5649" y="3157"/>
                  </a:lnTo>
                  <a:lnTo>
                    <a:pt x="5668" y="3111"/>
                  </a:lnTo>
                  <a:lnTo>
                    <a:pt x="5687" y="3065"/>
                  </a:lnTo>
                  <a:lnTo>
                    <a:pt x="5707" y="3021"/>
                  </a:lnTo>
                  <a:lnTo>
                    <a:pt x="5727" y="2979"/>
                  </a:lnTo>
                  <a:lnTo>
                    <a:pt x="5747" y="2938"/>
                  </a:lnTo>
                  <a:lnTo>
                    <a:pt x="5768" y="2900"/>
                  </a:lnTo>
                  <a:lnTo>
                    <a:pt x="5787" y="2864"/>
                  </a:lnTo>
                  <a:lnTo>
                    <a:pt x="5808" y="2830"/>
                  </a:lnTo>
                  <a:lnTo>
                    <a:pt x="5828" y="2799"/>
                  </a:lnTo>
                  <a:lnTo>
                    <a:pt x="5828" y="2799"/>
                  </a:lnTo>
                  <a:close/>
                  <a:moveTo>
                    <a:pt x="8937" y="2088"/>
                  </a:moveTo>
                  <a:lnTo>
                    <a:pt x="8957" y="2070"/>
                  </a:lnTo>
                  <a:lnTo>
                    <a:pt x="8979" y="2055"/>
                  </a:lnTo>
                  <a:lnTo>
                    <a:pt x="9002" y="2040"/>
                  </a:lnTo>
                  <a:lnTo>
                    <a:pt x="9025" y="2026"/>
                  </a:lnTo>
                  <a:lnTo>
                    <a:pt x="9072" y="2001"/>
                  </a:lnTo>
                  <a:lnTo>
                    <a:pt x="9122" y="1980"/>
                  </a:lnTo>
                  <a:lnTo>
                    <a:pt x="9170" y="1961"/>
                  </a:lnTo>
                  <a:lnTo>
                    <a:pt x="9220" y="1946"/>
                  </a:lnTo>
                  <a:lnTo>
                    <a:pt x="9268" y="1933"/>
                  </a:lnTo>
                  <a:lnTo>
                    <a:pt x="9315" y="1924"/>
                  </a:lnTo>
                  <a:lnTo>
                    <a:pt x="9358" y="1916"/>
                  </a:lnTo>
                  <a:lnTo>
                    <a:pt x="9398" y="1911"/>
                  </a:lnTo>
                  <a:lnTo>
                    <a:pt x="9418" y="1908"/>
                  </a:lnTo>
                  <a:lnTo>
                    <a:pt x="9435" y="1907"/>
                  </a:lnTo>
                  <a:lnTo>
                    <a:pt x="9452" y="1905"/>
                  </a:lnTo>
                  <a:lnTo>
                    <a:pt x="9466" y="1904"/>
                  </a:lnTo>
                  <a:lnTo>
                    <a:pt x="9480" y="1903"/>
                  </a:lnTo>
                  <a:lnTo>
                    <a:pt x="9492" y="1902"/>
                  </a:lnTo>
                  <a:lnTo>
                    <a:pt x="9503" y="1902"/>
                  </a:lnTo>
                  <a:lnTo>
                    <a:pt x="9512" y="1901"/>
                  </a:lnTo>
                  <a:lnTo>
                    <a:pt x="9519" y="1901"/>
                  </a:lnTo>
                  <a:lnTo>
                    <a:pt x="9524" y="1901"/>
                  </a:lnTo>
                  <a:lnTo>
                    <a:pt x="9527" y="1901"/>
                  </a:lnTo>
                  <a:lnTo>
                    <a:pt x="9528" y="1901"/>
                  </a:lnTo>
                  <a:lnTo>
                    <a:pt x="9527" y="1901"/>
                  </a:lnTo>
                  <a:lnTo>
                    <a:pt x="9525" y="1899"/>
                  </a:lnTo>
                  <a:lnTo>
                    <a:pt x="9520" y="1898"/>
                  </a:lnTo>
                  <a:lnTo>
                    <a:pt x="9515" y="1896"/>
                  </a:lnTo>
                  <a:lnTo>
                    <a:pt x="9507" y="1894"/>
                  </a:lnTo>
                  <a:lnTo>
                    <a:pt x="9498" y="1892"/>
                  </a:lnTo>
                  <a:lnTo>
                    <a:pt x="9488" y="1889"/>
                  </a:lnTo>
                  <a:lnTo>
                    <a:pt x="9476" y="1886"/>
                  </a:lnTo>
                  <a:lnTo>
                    <a:pt x="9463" y="1883"/>
                  </a:lnTo>
                  <a:lnTo>
                    <a:pt x="9449" y="1879"/>
                  </a:lnTo>
                  <a:lnTo>
                    <a:pt x="9433" y="1875"/>
                  </a:lnTo>
                  <a:lnTo>
                    <a:pt x="9417" y="1872"/>
                  </a:lnTo>
                  <a:lnTo>
                    <a:pt x="9381" y="1862"/>
                  </a:lnTo>
                  <a:lnTo>
                    <a:pt x="9341" y="1854"/>
                  </a:lnTo>
                  <a:lnTo>
                    <a:pt x="9299" y="1846"/>
                  </a:lnTo>
                  <a:lnTo>
                    <a:pt x="9255" y="1838"/>
                  </a:lnTo>
                  <a:lnTo>
                    <a:pt x="9208" y="1829"/>
                  </a:lnTo>
                  <a:lnTo>
                    <a:pt x="9161" y="1822"/>
                  </a:lnTo>
                  <a:lnTo>
                    <a:pt x="9112" y="1816"/>
                  </a:lnTo>
                  <a:lnTo>
                    <a:pt x="9064" y="1812"/>
                  </a:lnTo>
                  <a:lnTo>
                    <a:pt x="9015" y="1809"/>
                  </a:lnTo>
                  <a:lnTo>
                    <a:pt x="8968" y="1808"/>
                  </a:lnTo>
                  <a:lnTo>
                    <a:pt x="8933" y="1808"/>
                  </a:lnTo>
                  <a:lnTo>
                    <a:pt x="8898" y="1809"/>
                  </a:lnTo>
                  <a:lnTo>
                    <a:pt x="8865" y="1811"/>
                  </a:lnTo>
                  <a:lnTo>
                    <a:pt x="8832" y="1816"/>
                  </a:lnTo>
                  <a:lnTo>
                    <a:pt x="8800" y="1823"/>
                  </a:lnTo>
                  <a:lnTo>
                    <a:pt x="8785" y="1828"/>
                  </a:lnTo>
                  <a:lnTo>
                    <a:pt x="8771" y="1834"/>
                  </a:lnTo>
                  <a:lnTo>
                    <a:pt x="8756" y="1841"/>
                  </a:lnTo>
                  <a:lnTo>
                    <a:pt x="8743" y="1849"/>
                  </a:lnTo>
                  <a:lnTo>
                    <a:pt x="8730" y="1858"/>
                  </a:lnTo>
                  <a:lnTo>
                    <a:pt x="8718" y="1870"/>
                  </a:lnTo>
                  <a:lnTo>
                    <a:pt x="8711" y="1875"/>
                  </a:lnTo>
                  <a:lnTo>
                    <a:pt x="8704" y="1881"/>
                  </a:lnTo>
                  <a:lnTo>
                    <a:pt x="8689" y="1895"/>
                  </a:lnTo>
                  <a:lnTo>
                    <a:pt x="8676" y="1914"/>
                  </a:lnTo>
                  <a:lnTo>
                    <a:pt x="8662" y="1937"/>
                  </a:lnTo>
                  <a:lnTo>
                    <a:pt x="8650" y="1962"/>
                  </a:lnTo>
                  <a:lnTo>
                    <a:pt x="8637" y="1991"/>
                  </a:lnTo>
                  <a:lnTo>
                    <a:pt x="8625" y="2022"/>
                  </a:lnTo>
                  <a:lnTo>
                    <a:pt x="8614" y="2055"/>
                  </a:lnTo>
                  <a:lnTo>
                    <a:pt x="8602" y="2091"/>
                  </a:lnTo>
                  <a:lnTo>
                    <a:pt x="8591" y="2128"/>
                  </a:lnTo>
                  <a:lnTo>
                    <a:pt x="8581" y="2167"/>
                  </a:lnTo>
                  <a:lnTo>
                    <a:pt x="8570" y="2206"/>
                  </a:lnTo>
                  <a:lnTo>
                    <a:pt x="8552" y="2289"/>
                  </a:lnTo>
                  <a:lnTo>
                    <a:pt x="8535" y="2372"/>
                  </a:lnTo>
                  <a:lnTo>
                    <a:pt x="8520" y="2455"/>
                  </a:lnTo>
                  <a:lnTo>
                    <a:pt x="8514" y="2495"/>
                  </a:lnTo>
                  <a:lnTo>
                    <a:pt x="8506" y="2534"/>
                  </a:lnTo>
                  <a:lnTo>
                    <a:pt x="8501" y="2571"/>
                  </a:lnTo>
                  <a:lnTo>
                    <a:pt x="8496" y="2607"/>
                  </a:lnTo>
                  <a:lnTo>
                    <a:pt x="8491" y="2640"/>
                  </a:lnTo>
                  <a:lnTo>
                    <a:pt x="8486" y="2672"/>
                  </a:lnTo>
                  <a:lnTo>
                    <a:pt x="8483" y="2701"/>
                  </a:lnTo>
                  <a:lnTo>
                    <a:pt x="8478" y="2727"/>
                  </a:lnTo>
                  <a:lnTo>
                    <a:pt x="8476" y="2749"/>
                  </a:lnTo>
                  <a:lnTo>
                    <a:pt x="8473" y="2769"/>
                  </a:lnTo>
                  <a:lnTo>
                    <a:pt x="8471" y="2784"/>
                  </a:lnTo>
                  <a:lnTo>
                    <a:pt x="8471" y="2790"/>
                  </a:lnTo>
                  <a:lnTo>
                    <a:pt x="8470" y="2796"/>
                  </a:lnTo>
                  <a:lnTo>
                    <a:pt x="8470" y="2800"/>
                  </a:lnTo>
                  <a:lnTo>
                    <a:pt x="8469" y="2803"/>
                  </a:lnTo>
                  <a:lnTo>
                    <a:pt x="8469" y="2804"/>
                  </a:lnTo>
                  <a:lnTo>
                    <a:pt x="8469" y="2805"/>
                  </a:lnTo>
                  <a:lnTo>
                    <a:pt x="8470" y="2803"/>
                  </a:lnTo>
                  <a:lnTo>
                    <a:pt x="8472" y="2799"/>
                  </a:lnTo>
                  <a:lnTo>
                    <a:pt x="8476" y="2790"/>
                  </a:lnTo>
                  <a:lnTo>
                    <a:pt x="8482" y="2780"/>
                  </a:lnTo>
                  <a:lnTo>
                    <a:pt x="8489" y="2768"/>
                  </a:lnTo>
                  <a:lnTo>
                    <a:pt x="8496" y="2752"/>
                  </a:lnTo>
                  <a:lnTo>
                    <a:pt x="8505" y="2735"/>
                  </a:lnTo>
                  <a:lnTo>
                    <a:pt x="8516" y="2715"/>
                  </a:lnTo>
                  <a:lnTo>
                    <a:pt x="8528" y="2694"/>
                  </a:lnTo>
                  <a:lnTo>
                    <a:pt x="8540" y="2670"/>
                  </a:lnTo>
                  <a:lnTo>
                    <a:pt x="8554" y="2645"/>
                  </a:lnTo>
                  <a:lnTo>
                    <a:pt x="8568" y="2619"/>
                  </a:lnTo>
                  <a:lnTo>
                    <a:pt x="8583" y="2592"/>
                  </a:lnTo>
                  <a:lnTo>
                    <a:pt x="8599" y="2564"/>
                  </a:lnTo>
                  <a:lnTo>
                    <a:pt x="8633" y="2505"/>
                  </a:lnTo>
                  <a:lnTo>
                    <a:pt x="8669" y="2444"/>
                  </a:lnTo>
                  <a:lnTo>
                    <a:pt x="8707" y="2384"/>
                  </a:lnTo>
                  <a:lnTo>
                    <a:pt x="8746" y="2323"/>
                  </a:lnTo>
                  <a:lnTo>
                    <a:pt x="8785" y="2265"/>
                  </a:lnTo>
                  <a:lnTo>
                    <a:pt x="8805" y="2238"/>
                  </a:lnTo>
                  <a:lnTo>
                    <a:pt x="8824" y="2212"/>
                  </a:lnTo>
                  <a:lnTo>
                    <a:pt x="8844" y="2187"/>
                  </a:lnTo>
                  <a:lnTo>
                    <a:pt x="8864" y="2163"/>
                  </a:lnTo>
                  <a:lnTo>
                    <a:pt x="8882" y="2142"/>
                  </a:lnTo>
                  <a:lnTo>
                    <a:pt x="8901" y="2122"/>
                  </a:lnTo>
                  <a:lnTo>
                    <a:pt x="8919" y="2103"/>
                  </a:lnTo>
                  <a:lnTo>
                    <a:pt x="8937" y="2088"/>
                  </a:lnTo>
                  <a:lnTo>
                    <a:pt x="8937" y="2088"/>
                  </a:lnTo>
                  <a:close/>
                  <a:moveTo>
                    <a:pt x="13635" y="1364"/>
                  </a:moveTo>
                  <a:lnTo>
                    <a:pt x="13659" y="1346"/>
                  </a:lnTo>
                  <a:lnTo>
                    <a:pt x="13681" y="1327"/>
                  </a:lnTo>
                  <a:lnTo>
                    <a:pt x="13726" y="1287"/>
                  </a:lnTo>
                  <a:lnTo>
                    <a:pt x="13768" y="1242"/>
                  </a:lnTo>
                  <a:lnTo>
                    <a:pt x="13807" y="1196"/>
                  </a:lnTo>
                  <a:lnTo>
                    <a:pt x="13845" y="1149"/>
                  </a:lnTo>
                  <a:lnTo>
                    <a:pt x="13880" y="1100"/>
                  </a:lnTo>
                  <a:lnTo>
                    <a:pt x="13912" y="1051"/>
                  </a:lnTo>
                  <a:lnTo>
                    <a:pt x="13939" y="1002"/>
                  </a:lnTo>
                  <a:lnTo>
                    <a:pt x="13963" y="955"/>
                  </a:lnTo>
                  <a:lnTo>
                    <a:pt x="13975" y="931"/>
                  </a:lnTo>
                  <a:lnTo>
                    <a:pt x="13984" y="909"/>
                  </a:lnTo>
                  <a:lnTo>
                    <a:pt x="13993" y="887"/>
                  </a:lnTo>
                  <a:lnTo>
                    <a:pt x="14000" y="865"/>
                  </a:lnTo>
                  <a:lnTo>
                    <a:pt x="14007" y="845"/>
                  </a:lnTo>
                  <a:lnTo>
                    <a:pt x="14013" y="825"/>
                  </a:lnTo>
                  <a:lnTo>
                    <a:pt x="14017" y="807"/>
                  </a:lnTo>
                  <a:lnTo>
                    <a:pt x="14020" y="789"/>
                  </a:lnTo>
                  <a:lnTo>
                    <a:pt x="14021" y="773"/>
                  </a:lnTo>
                  <a:lnTo>
                    <a:pt x="14022" y="757"/>
                  </a:lnTo>
                  <a:lnTo>
                    <a:pt x="14021" y="743"/>
                  </a:lnTo>
                  <a:lnTo>
                    <a:pt x="14019" y="730"/>
                  </a:lnTo>
                  <a:lnTo>
                    <a:pt x="14015" y="719"/>
                  </a:lnTo>
                  <a:lnTo>
                    <a:pt x="14010" y="710"/>
                  </a:lnTo>
                  <a:lnTo>
                    <a:pt x="14010" y="709"/>
                  </a:lnTo>
                  <a:lnTo>
                    <a:pt x="14010" y="705"/>
                  </a:lnTo>
                  <a:lnTo>
                    <a:pt x="14008" y="701"/>
                  </a:lnTo>
                  <a:lnTo>
                    <a:pt x="14005" y="694"/>
                  </a:lnTo>
                  <a:lnTo>
                    <a:pt x="14001" y="689"/>
                  </a:lnTo>
                  <a:lnTo>
                    <a:pt x="13996" y="684"/>
                  </a:lnTo>
                  <a:lnTo>
                    <a:pt x="13988" y="680"/>
                  </a:lnTo>
                  <a:lnTo>
                    <a:pt x="13978" y="679"/>
                  </a:lnTo>
                  <a:lnTo>
                    <a:pt x="13968" y="680"/>
                  </a:lnTo>
                  <a:lnTo>
                    <a:pt x="13959" y="683"/>
                  </a:lnTo>
                  <a:lnTo>
                    <a:pt x="13950" y="687"/>
                  </a:lnTo>
                  <a:lnTo>
                    <a:pt x="13939" y="694"/>
                  </a:lnTo>
                  <a:lnTo>
                    <a:pt x="13929" y="702"/>
                  </a:lnTo>
                  <a:lnTo>
                    <a:pt x="13919" y="712"/>
                  </a:lnTo>
                  <a:lnTo>
                    <a:pt x="13907" y="722"/>
                  </a:lnTo>
                  <a:lnTo>
                    <a:pt x="13896" y="734"/>
                  </a:lnTo>
                  <a:lnTo>
                    <a:pt x="13885" y="748"/>
                  </a:lnTo>
                  <a:lnTo>
                    <a:pt x="13872" y="763"/>
                  </a:lnTo>
                  <a:lnTo>
                    <a:pt x="13860" y="779"/>
                  </a:lnTo>
                  <a:lnTo>
                    <a:pt x="13847" y="795"/>
                  </a:lnTo>
                  <a:lnTo>
                    <a:pt x="13820" y="831"/>
                  </a:lnTo>
                  <a:lnTo>
                    <a:pt x="13791" y="869"/>
                  </a:lnTo>
                  <a:lnTo>
                    <a:pt x="13761" y="910"/>
                  </a:lnTo>
                  <a:lnTo>
                    <a:pt x="13730" y="951"/>
                  </a:lnTo>
                  <a:lnTo>
                    <a:pt x="13697" y="992"/>
                  </a:lnTo>
                  <a:lnTo>
                    <a:pt x="13663" y="1033"/>
                  </a:lnTo>
                  <a:lnTo>
                    <a:pt x="13627" y="1073"/>
                  </a:lnTo>
                  <a:lnTo>
                    <a:pt x="13589" y="1111"/>
                  </a:lnTo>
                  <a:lnTo>
                    <a:pt x="13551" y="1147"/>
                  </a:lnTo>
                  <a:lnTo>
                    <a:pt x="13532" y="1162"/>
                  </a:lnTo>
                  <a:lnTo>
                    <a:pt x="13511" y="1177"/>
                  </a:lnTo>
                  <a:lnTo>
                    <a:pt x="13475" y="1206"/>
                  </a:lnTo>
                  <a:lnTo>
                    <a:pt x="13436" y="1233"/>
                  </a:lnTo>
                  <a:lnTo>
                    <a:pt x="13395" y="1258"/>
                  </a:lnTo>
                  <a:lnTo>
                    <a:pt x="13354" y="1282"/>
                  </a:lnTo>
                  <a:lnTo>
                    <a:pt x="13313" y="1304"/>
                  </a:lnTo>
                  <a:lnTo>
                    <a:pt x="13272" y="1325"/>
                  </a:lnTo>
                  <a:lnTo>
                    <a:pt x="13230" y="1343"/>
                  </a:lnTo>
                  <a:lnTo>
                    <a:pt x="13192" y="1361"/>
                  </a:lnTo>
                  <a:lnTo>
                    <a:pt x="13155" y="1375"/>
                  </a:lnTo>
                  <a:lnTo>
                    <a:pt x="13121" y="1389"/>
                  </a:lnTo>
                  <a:lnTo>
                    <a:pt x="13091" y="1400"/>
                  </a:lnTo>
                  <a:lnTo>
                    <a:pt x="13076" y="1405"/>
                  </a:lnTo>
                  <a:lnTo>
                    <a:pt x="13064" y="1409"/>
                  </a:lnTo>
                  <a:lnTo>
                    <a:pt x="13053" y="1413"/>
                  </a:lnTo>
                  <a:lnTo>
                    <a:pt x="13042" y="1417"/>
                  </a:lnTo>
                  <a:lnTo>
                    <a:pt x="13034" y="1419"/>
                  </a:lnTo>
                  <a:lnTo>
                    <a:pt x="13026" y="1423"/>
                  </a:lnTo>
                  <a:lnTo>
                    <a:pt x="13021" y="1425"/>
                  </a:lnTo>
                  <a:lnTo>
                    <a:pt x="13016" y="1426"/>
                  </a:lnTo>
                  <a:lnTo>
                    <a:pt x="13013" y="1427"/>
                  </a:lnTo>
                  <a:lnTo>
                    <a:pt x="13012" y="1427"/>
                  </a:lnTo>
                  <a:lnTo>
                    <a:pt x="13011" y="1427"/>
                  </a:lnTo>
                  <a:lnTo>
                    <a:pt x="13009" y="1427"/>
                  </a:lnTo>
                  <a:lnTo>
                    <a:pt x="13003" y="1428"/>
                  </a:lnTo>
                  <a:lnTo>
                    <a:pt x="12994" y="1432"/>
                  </a:lnTo>
                  <a:lnTo>
                    <a:pt x="12990" y="1435"/>
                  </a:lnTo>
                  <a:lnTo>
                    <a:pt x="12985" y="1438"/>
                  </a:lnTo>
                  <a:lnTo>
                    <a:pt x="12980" y="1443"/>
                  </a:lnTo>
                  <a:lnTo>
                    <a:pt x="12977" y="1449"/>
                  </a:lnTo>
                  <a:lnTo>
                    <a:pt x="12974" y="1457"/>
                  </a:lnTo>
                  <a:lnTo>
                    <a:pt x="12972" y="1466"/>
                  </a:lnTo>
                  <a:lnTo>
                    <a:pt x="12972" y="1476"/>
                  </a:lnTo>
                  <a:lnTo>
                    <a:pt x="12973" y="1488"/>
                  </a:lnTo>
                  <a:lnTo>
                    <a:pt x="12975" y="1503"/>
                  </a:lnTo>
                  <a:lnTo>
                    <a:pt x="12980" y="1519"/>
                  </a:lnTo>
                  <a:lnTo>
                    <a:pt x="12993" y="1532"/>
                  </a:lnTo>
                  <a:lnTo>
                    <a:pt x="13005" y="1543"/>
                  </a:lnTo>
                  <a:lnTo>
                    <a:pt x="13020" y="1553"/>
                  </a:lnTo>
                  <a:lnTo>
                    <a:pt x="13035" y="1563"/>
                  </a:lnTo>
                  <a:lnTo>
                    <a:pt x="13055" y="1571"/>
                  </a:lnTo>
                  <a:lnTo>
                    <a:pt x="13065" y="1574"/>
                  </a:lnTo>
                  <a:lnTo>
                    <a:pt x="13077" y="1577"/>
                  </a:lnTo>
                  <a:lnTo>
                    <a:pt x="13090" y="1579"/>
                  </a:lnTo>
                  <a:lnTo>
                    <a:pt x="13104" y="1581"/>
                  </a:lnTo>
                  <a:lnTo>
                    <a:pt x="13120" y="1582"/>
                  </a:lnTo>
                  <a:lnTo>
                    <a:pt x="13136" y="1582"/>
                  </a:lnTo>
                  <a:lnTo>
                    <a:pt x="13160" y="1581"/>
                  </a:lnTo>
                  <a:lnTo>
                    <a:pt x="13186" y="1579"/>
                  </a:lnTo>
                  <a:lnTo>
                    <a:pt x="13213" y="1575"/>
                  </a:lnTo>
                  <a:lnTo>
                    <a:pt x="13241" y="1570"/>
                  </a:lnTo>
                  <a:lnTo>
                    <a:pt x="13269" y="1563"/>
                  </a:lnTo>
                  <a:lnTo>
                    <a:pt x="13299" y="1554"/>
                  </a:lnTo>
                  <a:lnTo>
                    <a:pt x="13330" y="1544"/>
                  </a:lnTo>
                  <a:lnTo>
                    <a:pt x="13362" y="1532"/>
                  </a:lnTo>
                  <a:lnTo>
                    <a:pt x="13394" y="1517"/>
                  </a:lnTo>
                  <a:lnTo>
                    <a:pt x="13428" y="1501"/>
                  </a:lnTo>
                  <a:lnTo>
                    <a:pt x="13461" y="1483"/>
                  </a:lnTo>
                  <a:lnTo>
                    <a:pt x="13496" y="1464"/>
                  </a:lnTo>
                  <a:lnTo>
                    <a:pt x="13531" y="1442"/>
                  </a:lnTo>
                  <a:lnTo>
                    <a:pt x="13565" y="1417"/>
                  </a:lnTo>
                  <a:lnTo>
                    <a:pt x="13600" y="1392"/>
                  </a:lnTo>
                  <a:lnTo>
                    <a:pt x="13635" y="1364"/>
                  </a:lnTo>
                  <a:lnTo>
                    <a:pt x="13635" y="1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a:solidFill>
                  <a:srgbClr val="FFFFFF"/>
                </a:solidFill>
              </a:endParaRPr>
            </a:p>
          </p:txBody>
        </p:sp>
        <p:sp>
          <p:nvSpPr>
            <p:cNvPr id="10" name="Freeform 50"/>
            <p:cNvSpPr>
              <a:spLocks/>
            </p:cNvSpPr>
            <p:nvPr/>
          </p:nvSpPr>
          <p:spPr bwMode="auto">
            <a:xfrm>
              <a:off x="3376613" y="4881563"/>
              <a:ext cx="173037" cy="225425"/>
            </a:xfrm>
            <a:custGeom>
              <a:avLst/>
              <a:gdLst>
                <a:gd name="T0" fmla="*/ 51 w 1624"/>
                <a:gd name="T1" fmla="*/ 1213 h 2120"/>
                <a:gd name="T2" fmla="*/ 44 w 1624"/>
                <a:gd name="T3" fmla="*/ 1202 h 2120"/>
                <a:gd name="T4" fmla="*/ 23 w 1624"/>
                <a:gd name="T5" fmla="*/ 1163 h 2120"/>
                <a:gd name="T6" fmla="*/ 3 w 1624"/>
                <a:gd name="T7" fmla="*/ 1084 h 2120"/>
                <a:gd name="T8" fmla="*/ 2 w 1624"/>
                <a:gd name="T9" fmla="*/ 992 h 2120"/>
                <a:gd name="T10" fmla="*/ 14 w 1624"/>
                <a:gd name="T11" fmla="*/ 926 h 2120"/>
                <a:gd name="T12" fmla="*/ 39 w 1624"/>
                <a:gd name="T13" fmla="*/ 854 h 2120"/>
                <a:gd name="T14" fmla="*/ 79 w 1624"/>
                <a:gd name="T15" fmla="*/ 774 h 2120"/>
                <a:gd name="T16" fmla="*/ 157 w 1624"/>
                <a:gd name="T17" fmla="*/ 663 h 2120"/>
                <a:gd name="T18" fmla="*/ 295 w 1624"/>
                <a:gd name="T19" fmla="*/ 491 h 2120"/>
                <a:gd name="T20" fmla="*/ 434 w 1624"/>
                <a:gd name="T21" fmla="*/ 322 h 2120"/>
                <a:gd name="T22" fmla="*/ 538 w 1624"/>
                <a:gd name="T23" fmla="*/ 197 h 2120"/>
                <a:gd name="T24" fmla="*/ 591 w 1624"/>
                <a:gd name="T25" fmla="*/ 134 h 2120"/>
                <a:gd name="T26" fmla="*/ 632 w 1624"/>
                <a:gd name="T27" fmla="*/ 85 h 2120"/>
                <a:gd name="T28" fmla="*/ 661 w 1624"/>
                <a:gd name="T29" fmla="*/ 49 h 2120"/>
                <a:gd name="T30" fmla="*/ 676 w 1624"/>
                <a:gd name="T31" fmla="*/ 33 h 2120"/>
                <a:gd name="T32" fmla="*/ 735 w 1624"/>
                <a:gd name="T33" fmla="*/ 45 h 2120"/>
                <a:gd name="T34" fmla="*/ 801 w 1624"/>
                <a:gd name="T35" fmla="*/ 214 h 2120"/>
                <a:gd name="T36" fmla="*/ 967 w 1624"/>
                <a:gd name="T37" fmla="*/ 585 h 2120"/>
                <a:gd name="T38" fmla="*/ 1150 w 1624"/>
                <a:gd name="T39" fmla="*/ 944 h 2120"/>
                <a:gd name="T40" fmla="*/ 1242 w 1624"/>
                <a:gd name="T41" fmla="*/ 1111 h 2120"/>
                <a:gd name="T42" fmla="*/ 1332 w 1624"/>
                <a:gd name="T43" fmla="*/ 1269 h 2120"/>
                <a:gd name="T44" fmla="*/ 1417 w 1624"/>
                <a:gd name="T45" fmla="*/ 1413 h 2120"/>
                <a:gd name="T46" fmla="*/ 1495 w 1624"/>
                <a:gd name="T47" fmla="*/ 1542 h 2120"/>
                <a:gd name="T48" fmla="*/ 1566 w 1624"/>
                <a:gd name="T49" fmla="*/ 1652 h 2120"/>
                <a:gd name="T50" fmla="*/ 1624 w 1624"/>
                <a:gd name="T51" fmla="*/ 1742 h 2120"/>
                <a:gd name="T52" fmla="*/ 1616 w 1624"/>
                <a:gd name="T53" fmla="*/ 1790 h 2120"/>
                <a:gd name="T54" fmla="*/ 1602 w 1624"/>
                <a:gd name="T55" fmla="*/ 1850 h 2120"/>
                <a:gd name="T56" fmla="*/ 1547 w 1624"/>
                <a:gd name="T57" fmla="*/ 1941 h 2120"/>
                <a:gd name="T58" fmla="*/ 1459 w 1624"/>
                <a:gd name="T59" fmla="*/ 2020 h 2120"/>
                <a:gd name="T60" fmla="*/ 1389 w 1624"/>
                <a:gd name="T61" fmla="*/ 2068 h 2120"/>
                <a:gd name="T62" fmla="*/ 1315 w 1624"/>
                <a:gd name="T63" fmla="*/ 2102 h 2120"/>
                <a:gd name="T64" fmla="*/ 1234 w 1624"/>
                <a:gd name="T65" fmla="*/ 2119 h 2120"/>
                <a:gd name="T66" fmla="*/ 1091 w 1624"/>
                <a:gd name="T67" fmla="*/ 2119 h 2120"/>
                <a:gd name="T68" fmla="*/ 1025 w 1624"/>
                <a:gd name="T69" fmla="*/ 2110 h 2120"/>
                <a:gd name="T70" fmla="*/ 956 w 1624"/>
                <a:gd name="T71" fmla="*/ 2090 h 2120"/>
                <a:gd name="T72" fmla="*/ 843 w 1624"/>
                <a:gd name="T73" fmla="*/ 2036 h 2120"/>
                <a:gd name="T74" fmla="*/ 706 w 1624"/>
                <a:gd name="T75" fmla="*/ 1946 h 2120"/>
                <a:gd name="T76" fmla="*/ 574 w 1624"/>
                <a:gd name="T77" fmla="*/ 1834 h 2120"/>
                <a:gd name="T78" fmla="*/ 449 w 1624"/>
                <a:gd name="T79" fmla="*/ 1710 h 2120"/>
                <a:gd name="T80" fmla="*/ 334 w 1624"/>
                <a:gd name="T81" fmla="*/ 1583 h 2120"/>
                <a:gd name="T82" fmla="*/ 235 w 1624"/>
                <a:gd name="T83" fmla="*/ 1463 h 2120"/>
                <a:gd name="T84" fmla="*/ 153 w 1624"/>
                <a:gd name="T85" fmla="*/ 1357 h 2120"/>
                <a:gd name="T86" fmla="*/ 95 w 1624"/>
                <a:gd name="T87" fmla="*/ 1275 h 2120"/>
                <a:gd name="T88" fmla="*/ 69 w 1624"/>
                <a:gd name="T89" fmla="*/ 1238 h 2120"/>
                <a:gd name="T90" fmla="*/ 57 w 1624"/>
                <a:gd name="T91" fmla="*/ 1222 h 2120"/>
                <a:gd name="T92" fmla="*/ 53 w 1624"/>
                <a:gd name="T93" fmla="*/ 1216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24" h="2120">
                  <a:moveTo>
                    <a:pt x="53" y="1216"/>
                  </a:moveTo>
                  <a:lnTo>
                    <a:pt x="53" y="1216"/>
                  </a:lnTo>
                  <a:lnTo>
                    <a:pt x="51" y="1213"/>
                  </a:lnTo>
                  <a:lnTo>
                    <a:pt x="49" y="1210"/>
                  </a:lnTo>
                  <a:lnTo>
                    <a:pt x="47" y="1207"/>
                  </a:lnTo>
                  <a:lnTo>
                    <a:pt x="44" y="1202"/>
                  </a:lnTo>
                  <a:lnTo>
                    <a:pt x="40" y="1196"/>
                  </a:lnTo>
                  <a:lnTo>
                    <a:pt x="33" y="1182"/>
                  </a:lnTo>
                  <a:lnTo>
                    <a:pt x="23" y="1163"/>
                  </a:lnTo>
                  <a:lnTo>
                    <a:pt x="15" y="1140"/>
                  </a:lnTo>
                  <a:lnTo>
                    <a:pt x="8" y="1114"/>
                  </a:lnTo>
                  <a:lnTo>
                    <a:pt x="3" y="1084"/>
                  </a:lnTo>
                  <a:lnTo>
                    <a:pt x="0" y="1050"/>
                  </a:lnTo>
                  <a:lnTo>
                    <a:pt x="0" y="1012"/>
                  </a:lnTo>
                  <a:lnTo>
                    <a:pt x="2" y="992"/>
                  </a:lnTo>
                  <a:lnTo>
                    <a:pt x="5" y="971"/>
                  </a:lnTo>
                  <a:lnTo>
                    <a:pt x="8" y="949"/>
                  </a:lnTo>
                  <a:lnTo>
                    <a:pt x="14" y="926"/>
                  </a:lnTo>
                  <a:lnTo>
                    <a:pt x="20" y="903"/>
                  </a:lnTo>
                  <a:lnTo>
                    <a:pt x="28" y="879"/>
                  </a:lnTo>
                  <a:lnTo>
                    <a:pt x="39" y="854"/>
                  </a:lnTo>
                  <a:lnTo>
                    <a:pt x="50" y="828"/>
                  </a:lnTo>
                  <a:lnTo>
                    <a:pt x="64" y="801"/>
                  </a:lnTo>
                  <a:lnTo>
                    <a:pt x="79" y="774"/>
                  </a:lnTo>
                  <a:lnTo>
                    <a:pt x="96" y="746"/>
                  </a:lnTo>
                  <a:lnTo>
                    <a:pt x="115" y="717"/>
                  </a:lnTo>
                  <a:lnTo>
                    <a:pt x="157" y="663"/>
                  </a:lnTo>
                  <a:lnTo>
                    <a:pt x="202" y="607"/>
                  </a:lnTo>
                  <a:lnTo>
                    <a:pt x="248" y="550"/>
                  </a:lnTo>
                  <a:lnTo>
                    <a:pt x="295" y="491"/>
                  </a:lnTo>
                  <a:lnTo>
                    <a:pt x="342" y="434"/>
                  </a:lnTo>
                  <a:lnTo>
                    <a:pt x="389" y="377"/>
                  </a:lnTo>
                  <a:lnTo>
                    <a:pt x="434" y="322"/>
                  </a:lnTo>
                  <a:lnTo>
                    <a:pt x="479" y="270"/>
                  </a:lnTo>
                  <a:lnTo>
                    <a:pt x="519" y="220"/>
                  </a:lnTo>
                  <a:lnTo>
                    <a:pt x="538" y="197"/>
                  </a:lnTo>
                  <a:lnTo>
                    <a:pt x="557" y="175"/>
                  </a:lnTo>
                  <a:lnTo>
                    <a:pt x="575" y="154"/>
                  </a:lnTo>
                  <a:lnTo>
                    <a:pt x="591" y="134"/>
                  </a:lnTo>
                  <a:lnTo>
                    <a:pt x="606" y="116"/>
                  </a:lnTo>
                  <a:lnTo>
                    <a:pt x="620" y="100"/>
                  </a:lnTo>
                  <a:lnTo>
                    <a:pt x="632" y="85"/>
                  </a:lnTo>
                  <a:lnTo>
                    <a:pt x="644" y="71"/>
                  </a:lnTo>
                  <a:lnTo>
                    <a:pt x="653" y="60"/>
                  </a:lnTo>
                  <a:lnTo>
                    <a:pt x="661" y="49"/>
                  </a:lnTo>
                  <a:lnTo>
                    <a:pt x="668" y="42"/>
                  </a:lnTo>
                  <a:lnTo>
                    <a:pt x="673" y="37"/>
                  </a:lnTo>
                  <a:lnTo>
                    <a:pt x="676" y="33"/>
                  </a:lnTo>
                  <a:lnTo>
                    <a:pt x="677" y="32"/>
                  </a:lnTo>
                  <a:lnTo>
                    <a:pt x="717" y="0"/>
                  </a:lnTo>
                  <a:lnTo>
                    <a:pt x="735" y="45"/>
                  </a:lnTo>
                  <a:lnTo>
                    <a:pt x="752" y="91"/>
                  </a:lnTo>
                  <a:lnTo>
                    <a:pt x="776" y="152"/>
                  </a:lnTo>
                  <a:lnTo>
                    <a:pt x="801" y="214"/>
                  </a:lnTo>
                  <a:lnTo>
                    <a:pt x="853" y="338"/>
                  </a:lnTo>
                  <a:lnTo>
                    <a:pt x="909" y="462"/>
                  </a:lnTo>
                  <a:lnTo>
                    <a:pt x="967" y="585"/>
                  </a:lnTo>
                  <a:lnTo>
                    <a:pt x="1027" y="707"/>
                  </a:lnTo>
                  <a:lnTo>
                    <a:pt x="1089" y="827"/>
                  </a:lnTo>
                  <a:lnTo>
                    <a:pt x="1150" y="944"/>
                  </a:lnTo>
                  <a:lnTo>
                    <a:pt x="1181" y="1000"/>
                  </a:lnTo>
                  <a:lnTo>
                    <a:pt x="1211" y="1057"/>
                  </a:lnTo>
                  <a:lnTo>
                    <a:pt x="1242" y="1111"/>
                  </a:lnTo>
                  <a:lnTo>
                    <a:pt x="1272" y="1165"/>
                  </a:lnTo>
                  <a:lnTo>
                    <a:pt x="1302" y="1218"/>
                  </a:lnTo>
                  <a:lnTo>
                    <a:pt x="1332" y="1269"/>
                  </a:lnTo>
                  <a:lnTo>
                    <a:pt x="1361" y="1319"/>
                  </a:lnTo>
                  <a:lnTo>
                    <a:pt x="1389" y="1367"/>
                  </a:lnTo>
                  <a:lnTo>
                    <a:pt x="1417" y="1413"/>
                  </a:lnTo>
                  <a:lnTo>
                    <a:pt x="1445" y="1458"/>
                  </a:lnTo>
                  <a:lnTo>
                    <a:pt x="1471" y="1501"/>
                  </a:lnTo>
                  <a:lnTo>
                    <a:pt x="1495" y="1542"/>
                  </a:lnTo>
                  <a:lnTo>
                    <a:pt x="1520" y="1580"/>
                  </a:lnTo>
                  <a:lnTo>
                    <a:pt x="1544" y="1617"/>
                  </a:lnTo>
                  <a:lnTo>
                    <a:pt x="1566" y="1652"/>
                  </a:lnTo>
                  <a:lnTo>
                    <a:pt x="1586" y="1684"/>
                  </a:lnTo>
                  <a:lnTo>
                    <a:pt x="1606" y="1714"/>
                  </a:lnTo>
                  <a:lnTo>
                    <a:pt x="1624" y="1742"/>
                  </a:lnTo>
                  <a:lnTo>
                    <a:pt x="1622" y="1757"/>
                  </a:lnTo>
                  <a:lnTo>
                    <a:pt x="1619" y="1773"/>
                  </a:lnTo>
                  <a:lnTo>
                    <a:pt x="1616" y="1790"/>
                  </a:lnTo>
                  <a:lnTo>
                    <a:pt x="1612" y="1810"/>
                  </a:lnTo>
                  <a:lnTo>
                    <a:pt x="1607" y="1829"/>
                  </a:lnTo>
                  <a:lnTo>
                    <a:pt x="1602" y="1850"/>
                  </a:lnTo>
                  <a:lnTo>
                    <a:pt x="1596" y="1873"/>
                  </a:lnTo>
                  <a:lnTo>
                    <a:pt x="1589" y="1895"/>
                  </a:lnTo>
                  <a:lnTo>
                    <a:pt x="1547" y="1941"/>
                  </a:lnTo>
                  <a:lnTo>
                    <a:pt x="1504" y="1982"/>
                  </a:lnTo>
                  <a:lnTo>
                    <a:pt x="1482" y="2001"/>
                  </a:lnTo>
                  <a:lnTo>
                    <a:pt x="1459" y="2020"/>
                  </a:lnTo>
                  <a:lnTo>
                    <a:pt x="1437" y="2037"/>
                  </a:lnTo>
                  <a:lnTo>
                    <a:pt x="1413" y="2054"/>
                  </a:lnTo>
                  <a:lnTo>
                    <a:pt x="1389" y="2068"/>
                  </a:lnTo>
                  <a:lnTo>
                    <a:pt x="1364" y="2081"/>
                  </a:lnTo>
                  <a:lnTo>
                    <a:pt x="1339" y="2092"/>
                  </a:lnTo>
                  <a:lnTo>
                    <a:pt x="1315" y="2102"/>
                  </a:lnTo>
                  <a:lnTo>
                    <a:pt x="1288" y="2110"/>
                  </a:lnTo>
                  <a:lnTo>
                    <a:pt x="1262" y="2116"/>
                  </a:lnTo>
                  <a:lnTo>
                    <a:pt x="1234" y="2119"/>
                  </a:lnTo>
                  <a:lnTo>
                    <a:pt x="1206" y="2120"/>
                  </a:lnTo>
                  <a:lnTo>
                    <a:pt x="1112" y="2120"/>
                  </a:lnTo>
                  <a:lnTo>
                    <a:pt x="1091" y="2119"/>
                  </a:lnTo>
                  <a:lnTo>
                    <a:pt x="1069" y="2118"/>
                  </a:lnTo>
                  <a:lnTo>
                    <a:pt x="1046" y="2114"/>
                  </a:lnTo>
                  <a:lnTo>
                    <a:pt x="1025" y="2110"/>
                  </a:lnTo>
                  <a:lnTo>
                    <a:pt x="1002" y="2104"/>
                  </a:lnTo>
                  <a:lnTo>
                    <a:pt x="979" y="2097"/>
                  </a:lnTo>
                  <a:lnTo>
                    <a:pt x="956" y="2090"/>
                  </a:lnTo>
                  <a:lnTo>
                    <a:pt x="934" y="2081"/>
                  </a:lnTo>
                  <a:lnTo>
                    <a:pt x="888" y="2060"/>
                  </a:lnTo>
                  <a:lnTo>
                    <a:pt x="843" y="2036"/>
                  </a:lnTo>
                  <a:lnTo>
                    <a:pt x="796" y="2009"/>
                  </a:lnTo>
                  <a:lnTo>
                    <a:pt x="751" y="1979"/>
                  </a:lnTo>
                  <a:lnTo>
                    <a:pt x="706" y="1946"/>
                  </a:lnTo>
                  <a:lnTo>
                    <a:pt x="661" y="1910"/>
                  </a:lnTo>
                  <a:lnTo>
                    <a:pt x="617" y="1873"/>
                  </a:lnTo>
                  <a:lnTo>
                    <a:pt x="574" y="1834"/>
                  </a:lnTo>
                  <a:lnTo>
                    <a:pt x="531" y="1793"/>
                  </a:lnTo>
                  <a:lnTo>
                    <a:pt x="489" y="1752"/>
                  </a:lnTo>
                  <a:lnTo>
                    <a:pt x="449" y="1710"/>
                  </a:lnTo>
                  <a:lnTo>
                    <a:pt x="409" y="1668"/>
                  </a:lnTo>
                  <a:lnTo>
                    <a:pt x="371" y="1625"/>
                  </a:lnTo>
                  <a:lnTo>
                    <a:pt x="334" y="1583"/>
                  </a:lnTo>
                  <a:lnTo>
                    <a:pt x="299" y="1542"/>
                  </a:lnTo>
                  <a:lnTo>
                    <a:pt x="266" y="1502"/>
                  </a:lnTo>
                  <a:lnTo>
                    <a:pt x="235" y="1463"/>
                  </a:lnTo>
                  <a:lnTo>
                    <a:pt x="206" y="1426"/>
                  </a:lnTo>
                  <a:lnTo>
                    <a:pt x="178" y="1390"/>
                  </a:lnTo>
                  <a:lnTo>
                    <a:pt x="153" y="1357"/>
                  </a:lnTo>
                  <a:lnTo>
                    <a:pt x="131" y="1327"/>
                  </a:lnTo>
                  <a:lnTo>
                    <a:pt x="111" y="1299"/>
                  </a:lnTo>
                  <a:lnTo>
                    <a:pt x="95" y="1275"/>
                  </a:lnTo>
                  <a:lnTo>
                    <a:pt x="80" y="1255"/>
                  </a:lnTo>
                  <a:lnTo>
                    <a:pt x="74" y="1245"/>
                  </a:lnTo>
                  <a:lnTo>
                    <a:pt x="69" y="1238"/>
                  </a:lnTo>
                  <a:lnTo>
                    <a:pt x="64" y="1231"/>
                  </a:lnTo>
                  <a:lnTo>
                    <a:pt x="60" y="1226"/>
                  </a:lnTo>
                  <a:lnTo>
                    <a:pt x="57" y="1222"/>
                  </a:lnTo>
                  <a:lnTo>
                    <a:pt x="55" y="1219"/>
                  </a:lnTo>
                  <a:lnTo>
                    <a:pt x="53" y="1217"/>
                  </a:lnTo>
                  <a:lnTo>
                    <a:pt x="53" y="1216"/>
                  </a:lnTo>
                  <a:lnTo>
                    <a:pt x="53" y="1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a:solidFill>
                  <a:srgbClr val="FFFFFF"/>
                </a:solidFill>
              </a:endParaRPr>
            </a:p>
          </p:txBody>
        </p:sp>
        <p:sp>
          <p:nvSpPr>
            <p:cNvPr id="11" name="Freeform 51"/>
            <p:cNvSpPr>
              <a:spLocks/>
            </p:cNvSpPr>
            <p:nvPr/>
          </p:nvSpPr>
          <p:spPr bwMode="auto">
            <a:xfrm>
              <a:off x="4205288" y="4954588"/>
              <a:ext cx="180975" cy="255588"/>
            </a:xfrm>
            <a:custGeom>
              <a:avLst/>
              <a:gdLst>
                <a:gd name="T0" fmla="*/ 186 w 1703"/>
                <a:gd name="T1" fmla="*/ 2409 h 2413"/>
                <a:gd name="T2" fmla="*/ 136 w 1703"/>
                <a:gd name="T3" fmla="*/ 2400 h 2413"/>
                <a:gd name="T4" fmla="*/ 96 w 1703"/>
                <a:gd name="T5" fmla="*/ 2383 h 2413"/>
                <a:gd name="T6" fmla="*/ 67 w 1703"/>
                <a:gd name="T7" fmla="*/ 2359 h 2413"/>
                <a:gd name="T8" fmla="*/ 32 w 1703"/>
                <a:gd name="T9" fmla="*/ 2300 h 2413"/>
                <a:gd name="T10" fmla="*/ 19 w 1703"/>
                <a:gd name="T11" fmla="*/ 2242 h 2413"/>
                <a:gd name="T12" fmla="*/ 19 w 1703"/>
                <a:gd name="T13" fmla="*/ 2200 h 2413"/>
                <a:gd name="T14" fmla="*/ 20 w 1703"/>
                <a:gd name="T15" fmla="*/ 2192 h 2413"/>
                <a:gd name="T16" fmla="*/ 73 w 1703"/>
                <a:gd name="T17" fmla="*/ 1899 h 2413"/>
                <a:gd name="T18" fmla="*/ 279 w 1703"/>
                <a:gd name="T19" fmla="*/ 1671 h 2413"/>
                <a:gd name="T20" fmla="*/ 351 w 1703"/>
                <a:gd name="T21" fmla="*/ 1570 h 2413"/>
                <a:gd name="T22" fmla="*/ 427 w 1703"/>
                <a:gd name="T23" fmla="*/ 1446 h 2413"/>
                <a:gd name="T24" fmla="*/ 506 w 1703"/>
                <a:gd name="T25" fmla="*/ 1305 h 2413"/>
                <a:gd name="T26" fmla="*/ 588 w 1703"/>
                <a:gd name="T27" fmla="*/ 1149 h 2413"/>
                <a:gd name="T28" fmla="*/ 698 w 1703"/>
                <a:gd name="T29" fmla="*/ 923 h 2413"/>
                <a:gd name="T30" fmla="*/ 861 w 1703"/>
                <a:gd name="T31" fmla="*/ 567 h 2413"/>
                <a:gd name="T32" fmla="*/ 1010 w 1703"/>
                <a:gd name="T33" fmla="*/ 217 h 2413"/>
                <a:gd name="T34" fmla="*/ 1077 w 1703"/>
                <a:gd name="T35" fmla="*/ 53 h 2413"/>
                <a:gd name="T36" fmla="*/ 1164 w 1703"/>
                <a:gd name="T37" fmla="*/ 92 h 2413"/>
                <a:gd name="T38" fmla="*/ 1249 w 1703"/>
                <a:gd name="T39" fmla="*/ 223 h 2413"/>
                <a:gd name="T40" fmla="*/ 1321 w 1703"/>
                <a:gd name="T41" fmla="*/ 358 h 2413"/>
                <a:gd name="T42" fmla="*/ 1389 w 1703"/>
                <a:gd name="T43" fmla="*/ 513 h 2413"/>
                <a:gd name="T44" fmla="*/ 1425 w 1703"/>
                <a:gd name="T45" fmla="*/ 603 h 2413"/>
                <a:gd name="T46" fmla="*/ 1463 w 1703"/>
                <a:gd name="T47" fmla="*/ 703 h 2413"/>
                <a:gd name="T48" fmla="*/ 1505 w 1703"/>
                <a:gd name="T49" fmla="*/ 815 h 2413"/>
                <a:gd name="T50" fmla="*/ 1529 w 1703"/>
                <a:gd name="T51" fmla="*/ 901 h 2413"/>
                <a:gd name="T52" fmla="*/ 1542 w 1703"/>
                <a:gd name="T53" fmla="*/ 983 h 2413"/>
                <a:gd name="T54" fmla="*/ 1550 w 1703"/>
                <a:gd name="T55" fmla="*/ 1079 h 2413"/>
                <a:gd name="T56" fmla="*/ 1556 w 1703"/>
                <a:gd name="T57" fmla="*/ 1288 h 2413"/>
                <a:gd name="T58" fmla="*/ 1556 w 1703"/>
                <a:gd name="T59" fmla="*/ 1457 h 2413"/>
                <a:gd name="T60" fmla="*/ 1554 w 1703"/>
                <a:gd name="T61" fmla="*/ 1544 h 2413"/>
                <a:gd name="T62" fmla="*/ 1551 w 1703"/>
                <a:gd name="T63" fmla="*/ 1617 h 2413"/>
                <a:gd name="T64" fmla="*/ 1549 w 1703"/>
                <a:gd name="T65" fmla="*/ 1669 h 2413"/>
                <a:gd name="T66" fmla="*/ 1548 w 1703"/>
                <a:gd name="T67" fmla="*/ 1694 h 2413"/>
                <a:gd name="T68" fmla="*/ 1550 w 1703"/>
                <a:gd name="T69" fmla="*/ 1698 h 2413"/>
                <a:gd name="T70" fmla="*/ 1563 w 1703"/>
                <a:gd name="T71" fmla="*/ 1714 h 2413"/>
                <a:gd name="T72" fmla="*/ 1598 w 1703"/>
                <a:gd name="T73" fmla="*/ 1765 h 2413"/>
                <a:gd name="T74" fmla="*/ 1640 w 1703"/>
                <a:gd name="T75" fmla="*/ 1840 h 2413"/>
                <a:gd name="T76" fmla="*/ 1679 w 1703"/>
                <a:gd name="T77" fmla="*/ 1933 h 2413"/>
                <a:gd name="T78" fmla="*/ 1702 w 1703"/>
                <a:gd name="T79" fmla="*/ 2036 h 2413"/>
                <a:gd name="T80" fmla="*/ 1697 w 1703"/>
                <a:gd name="T81" fmla="*/ 2139 h 2413"/>
                <a:gd name="T82" fmla="*/ 1668 w 1703"/>
                <a:gd name="T83" fmla="*/ 2232 h 2413"/>
                <a:gd name="T84" fmla="*/ 1617 w 1703"/>
                <a:gd name="T85" fmla="*/ 2312 h 2413"/>
                <a:gd name="T86" fmla="*/ 1546 w 1703"/>
                <a:gd name="T87" fmla="*/ 2370 h 2413"/>
                <a:gd name="T88" fmla="*/ 1458 w 1703"/>
                <a:gd name="T89" fmla="*/ 2405 h 2413"/>
                <a:gd name="T90" fmla="*/ 1391 w 1703"/>
                <a:gd name="T91" fmla="*/ 2413 h 2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03" h="2413">
                  <a:moveTo>
                    <a:pt x="1391" y="2413"/>
                  </a:moveTo>
                  <a:lnTo>
                    <a:pt x="206" y="2410"/>
                  </a:lnTo>
                  <a:lnTo>
                    <a:pt x="186" y="2409"/>
                  </a:lnTo>
                  <a:lnTo>
                    <a:pt x="168" y="2408"/>
                  </a:lnTo>
                  <a:lnTo>
                    <a:pt x="151" y="2404"/>
                  </a:lnTo>
                  <a:lnTo>
                    <a:pt x="136" y="2400"/>
                  </a:lnTo>
                  <a:lnTo>
                    <a:pt x="121" y="2395"/>
                  </a:lnTo>
                  <a:lnTo>
                    <a:pt x="108" y="2389"/>
                  </a:lnTo>
                  <a:lnTo>
                    <a:pt x="96" y="2383"/>
                  </a:lnTo>
                  <a:lnTo>
                    <a:pt x="85" y="2376"/>
                  </a:lnTo>
                  <a:lnTo>
                    <a:pt x="75" y="2367"/>
                  </a:lnTo>
                  <a:lnTo>
                    <a:pt x="67" y="2359"/>
                  </a:lnTo>
                  <a:lnTo>
                    <a:pt x="51" y="2341"/>
                  </a:lnTo>
                  <a:lnTo>
                    <a:pt x="40" y="2321"/>
                  </a:lnTo>
                  <a:lnTo>
                    <a:pt x="32" y="2300"/>
                  </a:lnTo>
                  <a:lnTo>
                    <a:pt x="25" y="2280"/>
                  </a:lnTo>
                  <a:lnTo>
                    <a:pt x="21" y="2260"/>
                  </a:lnTo>
                  <a:lnTo>
                    <a:pt x="19" y="2242"/>
                  </a:lnTo>
                  <a:lnTo>
                    <a:pt x="18" y="2225"/>
                  </a:lnTo>
                  <a:lnTo>
                    <a:pt x="19" y="2212"/>
                  </a:lnTo>
                  <a:lnTo>
                    <a:pt x="19" y="2200"/>
                  </a:lnTo>
                  <a:lnTo>
                    <a:pt x="19" y="2196"/>
                  </a:lnTo>
                  <a:lnTo>
                    <a:pt x="20" y="2193"/>
                  </a:lnTo>
                  <a:lnTo>
                    <a:pt x="20" y="2192"/>
                  </a:lnTo>
                  <a:lnTo>
                    <a:pt x="20" y="2191"/>
                  </a:lnTo>
                  <a:lnTo>
                    <a:pt x="0" y="1972"/>
                  </a:lnTo>
                  <a:lnTo>
                    <a:pt x="73" y="1899"/>
                  </a:lnTo>
                  <a:lnTo>
                    <a:pt x="144" y="1825"/>
                  </a:lnTo>
                  <a:lnTo>
                    <a:pt x="213" y="1748"/>
                  </a:lnTo>
                  <a:lnTo>
                    <a:pt x="279" y="1671"/>
                  </a:lnTo>
                  <a:lnTo>
                    <a:pt x="302" y="1640"/>
                  </a:lnTo>
                  <a:lnTo>
                    <a:pt x="326" y="1606"/>
                  </a:lnTo>
                  <a:lnTo>
                    <a:pt x="351" y="1570"/>
                  </a:lnTo>
                  <a:lnTo>
                    <a:pt x="375" y="1531"/>
                  </a:lnTo>
                  <a:lnTo>
                    <a:pt x="401" y="1490"/>
                  </a:lnTo>
                  <a:lnTo>
                    <a:pt x="427" y="1446"/>
                  </a:lnTo>
                  <a:lnTo>
                    <a:pt x="453" y="1401"/>
                  </a:lnTo>
                  <a:lnTo>
                    <a:pt x="480" y="1354"/>
                  </a:lnTo>
                  <a:lnTo>
                    <a:pt x="506" y="1305"/>
                  </a:lnTo>
                  <a:lnTo>
                    <a:pt x="533" y="1254"/>
                  </a:lnTo>
                  <a:lnTo>
                    <a:pt x="560" y="1202"/>
                  </a:lnTo>
                  <a:lnTo>
                    <a:pt x="588" y="1149"/>
                  </a:lnTo>
                  <a:lnTo>
                    <a:pt x="615" y="1093"/>
                  </a:lnTo>
                  <a:lnTo>
                    <a:pt x="643" y="1038"/>
                  </a:lnTo>
                  <a:lnTo>
                    <a:pt x="698" y="923"/>
                  </a:lnTo>
                  <a:lnTo>
                    <a:pt x="753" y="806"/>
                  </a:lnTo>
                  <a:lnTo>
                    <a:pt x="807" y="686"/>
                  </a:lnTo>
                  <a:lnTo>
                    <a:pt x="861" y="567"/>
                  </a:lnTo>
                  <a:lnTo>
                    <a:pt x="912" y="448"/>
                  </a:lnTo>
                  <a:lnTo>
                    <a:pt x="962" y="331"/>
                  </a:lnTo>
                  <a:lnTo>
                    <a:pt x="1010" y="217"/>
                  </a:lnTo>
                  <a:lnTo>
                    <a:pt x="1033" y="161"/>
                  </a:lnTo>
                  <a:lnTo>
                    <a:pt x="1056" y="106"/>
                  </a:lnTo>
                  <a:lnTo>
                    <a:pt x="1077" y="53"/>
                  </a:lnTo>
                  <a:lnTo>
                    <a:pt x="1098" y="0"/>
                  </a:lnTo>
                  <a:lnTo>
                    <a:pt x="1132" y="47"/>
                  </a:lnTo>
                  <a:lnTo>
                    <a:pt x="1164" y="92"/>
                  </a:lnTo>
                  <a:lnTo>
                    <a:pt x="1194" y="136"/>
                  </a:lnTo>
                  <a:lnTo>
                    <a:pt x="1222" y="180"/>
                  </a:lnTo>
                  <a:lnTo>
                    <a:pt x="1249" y="223"/>
                  </a:lnTo>
                  <a:lnTo>
                    <a:pt x="1273" y="266"/>
                  </a:lnTo>
                  <a:lnTo>
                    <a:pt x="1297" y="311"/>
                  </a:lnTo>
                  <a:lnTo>
                    <a:pt x="1321" y="358"/>
                  </a:lnTo>
                  <a:lnTo>
                    <a:pt x="1344" y="406"/>
                  </a:lnTo>
                  <a:lnTo>
                    <a:pt x="1366" y="458"/>
                  </a:lnTo>
                  <a:lnTo>
                    <a:pt x="1389" y="513"/>
                  </a:lnTo>
                  <a:lnTo>
                    <a:pt x="1401" y="542"/>
                  </a:lnTo>
                  <a:lnTo>
                    <a:pt x="1413" y="572"/>
                  </a:lnTo>
                  <a:lnTo>
                    <a:pt x="1425" y="603"/>
                  </a:lnTo>
                  <a:lnTo>
                    <a:pt x="1438" y="635"/>
                  </a:lnTo>
                  <a:lnTo>
                    <a:pt x="1450" y="668"/>
                  </a:lnTo>
                  <a:lnTo>
                    <a:pt x="1463" y="703"/>
                  </a:lnTo>
                  <a:lnTo>
                    <a:pt x="1477" y="739"/>
                  </a:lnTo>
                  <a:lnTo>
                    <a:pt x="1490" y="776"/>
                  </a:lnTo>
                  <a:lnTo>
                    <a:pt x="1505" y="815"/>
                  </a:lnTo>
                  <a:lnTo>
                    <a:pt x="1519" y="855"/>
                  </a:lnTo>
                  <a:lnTo>
                    <a:pt x="1524" y="877"/>
                  </a:lnTo>
                  <a:lnTo>
                    <a:pt x="1529" y="901"/>
                  </a:lnTo>
                  <a:lnTo>
                    <a:pt x="1535" y="926"/>
                  </a:lnTo>
                  <a:lnTo>
                    <a:pt x="1538" y="954"/>
                  </a:lnTo>
                  <a:lnTo>
                    <a:pt x="1542" y="983"/>
                  </a:lnTo>
                  <a:lnTo>
                    <a:pt x="1545" y="1014"/>
                  </a:lnTo>
                  <a:lnTo>
                    <a:pt x="1547" y="1046"/>
                  </a:lnTo>
                  <a:lnTo>
                    <a:pt x="1550" y="1079"/>
                  </a:lnTo>
                  <a:lnTo>
                    <a:pt x="1553" y="1147"/>
                  </a:lnTo>
                  <a:lnTo>
                    <a:pt x="1555" y="1217"/>
                  </a:lnTo>
                  <a:lnTo>
                    <a:pt x="1556" y="1288"/>
                  </a:lnTo>
                  <a:lnTo>
                    <a:pt x="1557" y="1358"/>
                  </a:lnTo>
                  <a:lnTo>
                    <a:pt x="1556" y="1425"/>
                  </a:lnTo>
                  <a:lnTo>
                    <a:pt x="1556" y="1457"/>
                  </a:lnTo>
                  <a:lnTo>
                    <a:pt x="1555" y="1488"/>
                  </a:lnTo>
                  <a:lnTo>
                    <a:pt x="1554" y="1517"/>
                  </a:lnTo>
                  <a:lnTo>
                    <a:pt x="1554" y="1544"/>
                  </a:lnTo>
                  <a:lnTo>
                    <a:pt x="1553" y="1571"/>
                  </a:lnTo>
                  <a:lnTo>
                    <a:pt x="1552" y="1595"/>
                  </a:lnTo>
                  <a:lnTo>
                    <a:pt x="1551" y="1617"/>
                  </a:lnTo>
                  <a:lnTo>
                    <a:pt x="1551" y="1637"/>
                  </a:lnTo>
                  <a:lnTo>
                    <a:pt x="1550" y="1655"/>
                  </a:lnTo>
                  <a:lnTo>
                    <a:pt x="1549" y="1669"/>
                  </a:lnTo>
                  <a:lnTo>
                    <a:pt x="1549" y="1680"/>
                  </a:lnTo>
                  <a:lnTo>
                    <a:pt x="1548" y="1689"/>
                  </a:lnTo>
                  <a:lnTo>
                    <a:pt x="1548" y="1694"/>
                  </a:lnTo>
                  <a:lnTo>
                    <a:pt x="1548" y="1696"/>
                  </a:lnTo>
                  <a:lnTo>
                    <a:pt x="1548" y="1697"/>
                  </a:lnTo>
                  <a:lnTo>
                    <a:pt x="1550" y="1698"/>
                  </a:lnTo>
                  <a:lnTo>
                    <a:pt x="1552" y="1701"/>
                  </a:lnTo>
                  <a:lnTo>
                    <a:pt x="1555" y="1704"/>
                  </a:lnTo>
                  <a:lnTo>
                    <a:pt x="1563" y="1714"/>
                  </a:lnTo>
                  <a:lnTo>
                    <a:pt x="1573" y="1728"/>
                  </a:lnTo>
                  <a:lnTo>
                    <a:pt x="1584" y="1745"/>
                  </a:lnTo>
                  <a:lnTo>
                    <a:pt x="1598" y="1765"/>
                  </a:lnTo>
                  <a:lnTo>
                    <a:pt x="1611" y="1787"/>
                  </a:lnTo>
                  <a:lnTo>
                    <a:pt x="1625" y="1813"/>
                  </a:lnTo>
                  <a:lnTo>
                    <a:pt x="1640" y="1840"/>
                  </a:lnTo>
                  <a:lnTo>
                    <a:pt x="1654" y="1870"/>
                  </a:lnTo>
                  <a:lnTo>
                    <a:pt x="1668" y="1901"/>
                  </a:lnTo>
                  <a:lnTo>
                    <a:pt x="1679" y="1933"/>
                  </a:lnTo>
                  <a:lnTo>
                    <a:pt x="1689" y="1967"/>
                  </a:lnTo>
                  <a:lnTo>
                    <a:pt x="1697" y="2001"/>
                  </a:lnTo>
                  <a:lnTo>
                    <a:pt x="1702" y="2036"/>
                  </a:lnTo>
                  <a:lnTo>
                    <a:pt x="1703" y="2071"/>
                  </a:lnTo>
                  <a:lnTo>
                    <a:pt x="1702" y="2106"/>
                  </a:lnTo>
                  <a:lnTo>
                    <a:pt x="1697" y="2139"/>
                  </a:lnTo>
                  <a:lnTo>
                    <a:pt x="1691" y="2172"/>
                  </a:lnTo>
                  <a:lnTo>
                    <a:pt x="1680" y="2203"/>
                  </a:lnTo>
                  <a:lnTo>
                    <a:pt x="1668" y="2232"/>
                  </a:lnTo>
                  <a:lnTo>
                    <a:pt x="1653" y="2261"/>
                  </a:lnTo>
                  <a:lnTo>
                    <a:pt x="1637" y="2287"/>
                  </a:lnTo>
                  <a:lnTo>
                    <a:pt x="1617" y="2312"/>
                  </a:lnTo>
                  <a:lnTo>
                    <a:pt x="1596" y="2333"/>
                  </a:lnTo>
                  <a:lnTo>
                    <a:pt x="1572" y="2354"/>
                  </a:lnTo>
                  <a:lnTo>
                    <a:pt x="1546" y="2370"/>
                  </a:lnTo>
                  <a:lnTo>
                    <a:pt x="1519" y="2386"/>
                  </a:lnTo>
                  <a:lnTo>
                    <a:pt x="1489" y="2397"/>
                  </a:lnTo>
                  <a:lnTo>
                    <a:pt x="1458" y="2405"/>
                  </a:lnTo>
                  <a:lnTo>
                    <a:pt x="1425" y="2411"/>
                  </a:lnTo>
                  <a:lnTo>
                    <a:pt x="1391" y="2413"/>
                  </a:lnTo>
                  <a:lnTo>
                    <a:pt x="1391" y="24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13603027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268927" y="286381"/>
            <a:ext cx="11653523" cy="927940"/>
          </a:xfrm>
          <a:prstGeom prst="rect">
            <a:avLst/>
          </a:prstGeom>
        </p:spPr>
        <p:txBody>
          <a:bodyPr vert="horz" wrap="square" lIns="146304" tIns="91440" rIns="146304" bIns="91440" rtlCol="0" anchor="t">
            <a:noAutofit/>
          </a:bodyPr>
          <a:lstStyle>
            <a:lvl1pPr algn="l" defTabSz="913505" rtl="0" eaLnBrk="1" fontAlgn="base" hangingPunct="1">
              <a:lnSpc>
                <a:spcPct val="90000"/>
              </a:lnSpc>
              <a:spcBef>
                <a:spcPct val="0"/>
              </a:spcBef>
              <a:spcAft>
                <a:spcPct val="0"/>
              </a:spcAft>
              <a:defRPr lang="en-US" sz="4800" kern="1200" spc="-10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marL="0" marR="0" lvl="0" indent="0" algn="l" defTabSz="913505" rtl="0" eaLnBrk="1" fontAlgn="base" latinLnBrk="0" hangingPunct="1">
              <a:lnSpc>
                <a:spcPct val="90000"/>
              </a:lnSpc>
              <a:spcBef>
                <a:spcPct val="0"/>
              </a:spcBef>
              <a:spcAft>
                <a:spcPct val="0"/>
              </a:spcAft>
              <a:buClrTx/>
              <a:buSzTx/>
              <a:buFontTx/>
              <a:buNone/>
              <a:tabLst/>
              <a:defRPr/>
            </a:pPr>
            <a:r>
              <a:rPr kumimoji="0" lang="en-US" sz="4800" b="0" i="0" u="none" strike="noStrike" kern="1200" cap="none" spc="-100" normalizeH="0" baseline="0" noProof="0" dirty="0">
                <a:ln w="3175">
                  <a:noFill/>
                </a:ln>
                <a:solidFill>
                  <a:srgbClr val="0070C0"/>
                </a:solidFill>
                <a:effectLst/>
                <a:uLnTx/>
                <a:uFillTx/>
                <a:latin typeface="Segoe UI Light"/>
                <a:ea typeface="ＭＳ Ｐゴシック" charset="0"/>
                <a:cs typeface="Segoe UI" pitchFamily="34" charset="0"/>
              </a:rPr>
              <a:t>Data Lake Store: Technical Requirements</a:t>
            </a:r>
          </a:p>
        </p:txBody>
      </p:sp>
      <p:grpSp>
        <p:nvGrpSpPr>
          <p:cNvPr id="11" name="Group 10"/>
          <p:cNvGrpSpPr/>
          <p:nvPr/>
        </p:nvGrpSpPr>
        <p:grpSpPr>
          <a:xfrm>
            <a:off x="1" y="1274534"/>
            <a:ext cx="11757022" cy="548640"/>
            <a:chOff x="1" y="1274534"/>
            <a:chExt cx="11757022" cy="548640"/>
          </a:xfrm>
        </p:grpSpPr>
        <p:sp>
          <p:nvSpPr>
            <p:cNvPr id="12" name="Rectangle 11"/>
            <p:cNvSpPr/>
            <p:nvPr/>
          </p:nvSpPr>
          <p:spPr bwMode="auto">
            <a:xfrm>
              <a:off x="1" y="1274534"/>
              <a:ext cx="3248024" cy="548640"/>
            </a:xfrm>
            <a:prstGeom prst="rect">
              <a:avLst/>
            </a:prstGeom>
            <a:solidFill>
              <a:srgbClr val="0D163D"/>
            </a:solidFill>
            <a:ln w="9525" cap="flat" cmpd="sng" algn="ctr">
              <a:noFill/>
              <a:prstDash val="solid"/>
              <a:headEnd type="none" w="med" len="med"/>
              <a:tailEnd type="none" w="med" len="med"/>
            </a:ln>
            <a:effectLst/>
          </p:spPr>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	Secure</a:t>
              </a:r>
            </a:p>
          </p:txBody>
        </p:sp>
        <p:sp>
          <p:nvSpPr>
            <p:cNvPr id="13" name="Rectangle 12"/>
            <p:cNvSpPr/>
            <p:nvPr/>
          </p:nvSpPr>
          <p:spPr>
            <a:xfrm>
              <a:off x="3248024" y="1274534"/>
              <a:ext cx="8508999" cy="548640"/>
            </a:xfrm>
            <a:prstGeom prst="rect">
              <a:avLst/>
            </a:prstGeom>
            <a:solidFill>
              <a:srgbClr val="FFFFFF">
                <a:lumMod val="95000"/>
              </a:srgbClr>
            </a:solidFill>
          </p:spPr>
          <p:txBody>
            <a:bodyPr wrap="square" lIns="91440" anchor="ctr">
              <a:noAutofit/>
            </a:bodyPr>
            <a:lstStyle/>
            <a:p>
              <a:pPr marL="53965" marR="0" lvl="1" indent="0" defTabSz="931954" eaLnBrk="1" fontAlgn="auto" latinLnBrk="0" hangingPunct="1">
                <a:lnSpc>
                  <a:spcPct val="100000"/>
                </a:lnSpc>
                <a:spcBef>
                  <a:spcPts val="0"/>
                </a:spcBef>
                <a:spcAft>
                  <a:spcPts val="0"/>
                </a:spcAft>
                <a:buClr>
                  <a:srgbClr val="68217A">
                    <a:lumMod val="50000"/>
                  </a:srgbClr>
                </a:buClr>
                <a:buSzTx/>
                <a:buFontTx/>
                <a:buNone/>
                <a:tabLst>
                  <a:tab pos="658368" algn="l"/>
                </a:tabLst>
                <a:defRPr/>
              </a:pPr>
              <a:r>
                <a:rPr kumimoji="0" lang="en-IN" sz="14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Must be highly secure to prevent unauthorized access (especially as all data is in one place). </a:t>
              </a:r>
            </a:p>
          </p:txBody>
        </p:sp>
        <p:grpSp>
          <p:nvGrpSpPr>
            <p:cNvPr id="14" name="Group 13"/>
            <p:cNvGrpSpPr/>
            <p:nvPr/>
          </p:nvGrpSpPr>
          <p:grpSpPr>
            <a:xfrm>
              <a:off x="759876" y="1341674"/>
              <a:ext cx="254812" cy="414360"/>
              <a:chOff x="825500" y="1389063"/>
              <a:chExt cx="522287" cy="849312"/>
            </a:xfrm>
          </p:grpSpPr>
          <p:sp>
            <p:nvSpPr>
              <p:cNvPr id="15" name="Freeform 10"/>
              <p:cNvSpPr>
                <a:spLocks/>
              </p:cNvSpPr>
              <p:nvPr/>
            </p:nvSpPr>
            <p:spPr bwMode="auto">
              <a:xfrm>
                <a:off x="925513" y="1389063"/>
                <a:ext cx="322262" cy="369887"/>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 name="Rectangle 11"/>
              <p:cNvSpPr>
                <a:spLocks noChangeArrowheads="1"/>
              </p:cNvSpPr>
              <p:nvPr/>
            </p:nvSpPr>
            <p:spPr bwMode="auto">
              <a:xfrm>
                <a:off x="825500" y="1746250"/>
                <a:ext cx="522287" cy="4921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 name="Rectangle 12"/>
              <p:cNvSpPr>
                <a:spLocks noChangeArrowheads="1"/>
              </p:cNvSpPr>
              <p:nvPr/>
            </p:nvSpPr>
            <p:spPr bwMode="auto">
              <a:xfrm>
                <a:off x="825500" y="1746250"/>
                <a:ext cx="134937" cy="4921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 name="Freeform 13"/>
              <p:cNvSpPr>
                <a:spLocks/>
              </p:cNvSpPr>
              <p:nvPr/>
            </p:nvSpPr>
            <p:spPr bwMode="auto">
              <a:xfrm>
                <a:off x="1033463" y="1903413"/>
                <a:ext cx="106362" cy="187325"/>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19" name="Group 18"/>
          <p:cNvGrpSpPr/>
          <p:nvPr/>
        </p:nvGrpSpPr>
        <p:grpSpPr>
          <a:xfrm>
            <a:off x="1" y="4689848"/>
            <a:ext cx="11757022" cy="548640"/>
            <a:chOff x="1" y="4689848"/>
            <a:chExt cx="11757022" cy="548640"/>
          </a:xfrm>
        </p:grpSpPr>
        <p:sp>
          <p:nvSpPr>
            <p:cNvPr id="20" name="Rectangle 19"/>
            <p:cNvSpPr/>
            <p:nvPr/>
          </p:nvSpPr>
          <p:spPr bwMode="auto">
            <a:xfrm>
              <a:off x="1" y="4689848"/>
              <a:ext cx="3248023" cy="548640"/>
            </a:xfrm>
            <a:prstGeom prst="rect">
              <a:avLst/>
            </a:prstGeom>
            <a:solidFill>
              <a:srgbClr val="0D163D"/>
            </a:solidFill>
            <a:ln w="9525" cap="flat" cmpd="sng" algn="ctr">
              <a:noFill/>
              <a:prstDash val="solid"/>
              <a:headEnd type="none" w="med" len="med"/>
              <a:tailEnd type="none" w="med" len="med"/>
            </a:ln>
            <a:effectLst/>
          </p:spPr>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	Native format</a:t>
              </a:r>
            </a:p>
          </p:txBody>
        </p:sp>
        <p:sp>
          <p:nvSpPr>
            <p:cNvPr id="21" name="Rectangle 20"/>
            <p:cNvSpPr/>
            <p:nvPr/>
          </p:nvSpPr>
          <p:spPr>
            <a:xfrm>
              <a:off x="3248024" y="4689848"/>
              <a:ext cx="8508999" cy="548640"/>
            </a:xfrm>
            <a:prstGeom prst="rect">
              <a:avLst/>
            </a:prstGeom>
            <a:solidFill>
              <a:srgbClr val="FFFFFF">
                <a:lumMod val="95000"/>
              </a:srgbClr>
            </a:solidFill>
          </p:spPr>
          <p:txBody>
            <a:bodyPr wrap="square" lIns="91440" anchor="ctr">
              <a:noAutofit/>
            </a:bodyPr>
            <a:lstStyle/>
            <a:p>
              <a:pPr marL="53965" marR="0" lvl="1" indent="0" defTabSz="931954" eaLnBrk="1" fontAlgn="auto" latinLnBrk="0" hangingPunct="1">
                <a:lnSpc>
                  <a:spcPct val="100000"/>
                </a:lnSpc>
                <a:spcBef>
                  <a:spcPts val="0"/>
                </a:spcBef>
                <a:spcAft>
                  <a:spcPts val="0"/>
                </a:spcAft>
                <a:buClr>
                  <a:srgbClr val="68217A">
                    <a:lumMod val="50000"/>
                  </a:srgbClr>
                </a:buClr>
                <a:buSzTx/>
                <a:buFontTx/>
                <a:buNone/>
                <a:tabLst>
                  <a:tab pos="658368" algn="l"/>
                </a:tabLst>
                <a:defRPr/>
              </a:pPr>
              <a:r>
                <a:rPr kumimoji="0" lang="en-IN" sz="14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Must permit data to be stored in its ‘native format’ to track lineage &amp; for data provenance.</a:t>
              </a:r>
            </a:p>
          </p:txBody>
        </p:sp>
        <p:grpSp>
          <p:nvGrpSpPr>
            <p:cNvPr id="22" name="Group 21"/>
            <p:cNvGrpSpPr/>
            <p:nvPr/>
          </p:nvGrpSpPr>
          <p:grpSpPr>
            <a:xfrm>
              <a:off x="678492" y="4718226"/>
              <a:ext cx="417580" cy="491884"/>
              <a:chOff x="1982899" y="2348599"/>
              <a:chExt cx="1315670" cy="1549782"/>
            </a:xfrm>
          </p:grpSpPr>
          <p:sp>
            <p:nvSpPr>
              <p:cNvPr id="23" name="Freeform 32"/>
              <p:cNvSpPr>
                <a:spLocks/>
              </p:cNvSpPr>
              <p:nvPr/>
            </p:nvSpPr>
            <p:spPr bwMode="auto">
              <a:xfrm>
                <a:off x="2126074" y="3089631"/>
                <a:ext cx="1172495" cy="808750"/>
              </a:xfrm>
              <a:custGeom>
                <a:avLst/>
                <a:gdLst>
                  <a:gd name="T0" fmla="*/ 303 w 303"/>
                  <a:gd name="T1" fmla="*/ 209 h 209"/>
                  <a:gd name="T2" fmla="*/ 303 w 303"/>
                  <a:gd name="T3" fmla="*/ 0 h 209"/>
                  <a:gd name="T4" fmla="*/ 152 w 303"/>
                  <a:gd name="T5" fmla="*/ 0 h 209"/>
                  <a:gd name="T6" fmla="*/ 0 w 303"/>
                  <a:gd name="T7" fmla="*/ 0 h 209"/>
                  <a:gd name="T8" fmla="*/ 0 w 303"/>
                  <a:gd name="T9" fmla="*/ 209 h 209"/>
                  <a:gd name="T10" fmla="*/ 152 w 303"/>
                  <a:gd name="T11" fmla="*/ 209 h 209"/>
                  <a:gd name="T12" fmla="*/ 303 w 303"/>
                  <a:gd name="T13" fmla="*/ 209 h 209"/>
                </a:gdLst>
                <a:ahLst/>
                <a:cxnLst>
                  <a:cxn ang="0">
                    <a:pos x="T0" y="T1"/>
                  </a:cxn>
                  <a:cxn ang="0">
                    <a:pos x="T2" y="T3"/>
                  </a:cxn>
                  <a:cxn ang="0">
                    <a:pos x="T4" y="T5"/>
                  </a:cxn>
                  <a:cxn ang="0">
                    <a:pos x="T6" y="T7"/>
                  </a:cxn>
                  <a:cxn ang="0">
                    <a:pos x="T8" y="T9"/>
                  </a:cxn>
                  <a:cxn ang="0">
                    <a:pos x="T10" y="T11"/>
                  </a:cxn>
                  <a:cxn ang="0">
                    <a:pos x="T12" y="T13"/>
                  </a:cxn>
                </a:cxnLst>
                <a:rect l="0" t="0" r="r" b="b"/>
                <a:pathLst>
                  <a:path w="303" h="209">
                    <a:moveTo>
                      <a:pt x="303" y="209"/>
                    </a:moveTo>
                    <a:lnTo>
                      <a:pt x="303" y="0"/>
                    </a:lnTo>
                    <a:lnTo>
                      <a:pt x="152" y="0"/>
                    </a:lnTo>
                    <a:lnTo>
                      <a:pt x="0" y="0"/>
                    </a:lnTo>
                    <a:lnTo>
                      <a:pt x="0" y="209"/>
                    </a:lnTo>
                    <a:lnTo>
                      <a:pt x="152" y="209"/>
                    </a:lnTo>
                    <a:lnTo>
                      <a:pt x="303" y="209"/>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 name="Rectangle 33"/>
              <p:cNvSpPr>
                <a:spLocks noChangeArrowheads="1"/>
              </p:cNvSpPr>
              <p:nvPr/>
            </p:nvSpPr>
            <p:spPr bwMode="auto">
              <a:xfrm>
                <a:off x="2184119" y="3132196"/>
                <a:ext cx="1056406" cy="634617"/>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 name="Freeform 37"/>
              <p:cNvSpPr>
                <a:spLocks/>
              </p:cNvSpPr>
              <p:nvPr/>
            </p:nvSpPr>
            <p:spPr bwMode="auto">
              <a:xfrm>
                <a:off x="1982899" y="2780061"/>
                <a:ext cx="692662" cy="615269"/>
              </a:xfrm>
              <a:custGeom>
                <a:avLst/>
                <a:gdLst>
                  <a:gd name="T0" fmla="*/ 351 w 389"/>
                  <a:gd name="T1" fmla="*/ 128 h 346"/>
                  <a:gd name="T2" fmla="*/ 351 w 389"/>
                  <a:gd name="T3" fmla="*/ 128 h 346"/>
                  <a:gd name="T4" fmla="*/ 311 w 389"/>
                  <a:gd name="T5" fmla="*/ 100 h 346"/>
                  <a:gd name="T6" fmla="*/ 253 w 389"/>
                  <a:gd name="T7" fmla="*/ 59 h 346"/>
                  <a:gd name="T8" fmla="*/ 185 w 389"/>
                  <a:gd name="T9" fmla="*/ 11 h 346"/>
                  <a:gd name="T10" fmla="*/ 195 w 389"/>
                  <a:gd name="T11" fmla="*/ 69 h 346"/>
                  <a:gd name="T12" fmla="*/ 284 w 389"/>
                  <a:gd name="T13" fmla="*/ 132 h 346"/>
                  <a:gd name="T14" fmla="*/ 281 w 389"/>
                  <a:gd name="T15" fmla="*/ 188 h 346"/>
                  <a:gd name="T16" fmla="*/ 189 w 389"/>
                  <a:gd name="T17" fmla="*/ 161 h 346"/>
                  <a:gd name="T18" fmla="*/ 107 w 389"/>
                  <a:gd name="T19" fmla="*/ 73 h 346"/>
                  <a:gd name="T20" fmla="*/ 139 w 389"/>
                  <a:gd name="T21" fmla="*/ 54 h 346"/>
                  <a:gd name="T22" fmla="*/ 154 w 389"/>
                  <a:gd name="T23" fmla="*/ 0 h 346"/>
                  <a:gd name="T24" fmla="*/ 56 w 389"/>
                  <a:gd name="T25" fmla="*/ 56 h 346"/>
                  <a:gd name="T26" fmla="*/ 119 w 389"/>
                  <a:gd name="T27" fmla="*/ 158 h 346"/>
                  <a:gd name="T28" fmla="*/ 58 w 389"/>
                  <a:gd name="T29" fmla="*/ 77 h 346"/>
                  <a:gd name="T30" fmla="*/ 25 w 389"/>
                  <a:gd name="T31" fmla="*/ 103 h 346"/>
                  <a:gd name="T32" fmla="*/ 92 w 389"/>
                  <a:gd name="T33" fmla="*/ 181 h 346"/>
                  <a:gd name="T34" fmla="*/ 30 w 389"/>
                  <a:gd name="T35" fmla="*/ 124 h 346"/>
                  <a:gd name="T36" fmla="*/ 0 w 389"/>
                  <a:gd name="T37" fmla="*/ 152 h 346"/>
                  <a:gd name="T38" fmla="*/ 59 w 389"/>
                  <a:gd name="T39" fmla="*/ 203 h 346"/>
                  <a:gd name="T40" fmla="*/ 16 w 389"/>
                  <a:gd name="T41" fmla="*/ 187 h 346"/>
                  <a:gd name="T42" fmla="*/ 13 w 389"/>
                  <a:gd name="T43" fmla="*/ 230 h 346"/>
                  <a:gd name="T44" fmla="*/ 249 w 389"/>
                  <a:gd name="T45" fmla="*/ 328 h 346"/>
                  <a:gd name="T46" fmla="*/ 260 w 389"/>
                  <a:gd name="T47" fmla="*/ 346 h 346"/>
                  <a:gd name="T48" fmla="*/ 389 w 389"/>
                  <a:gd name="T49" fmla="*/ 278 h 346"/>
                  <a:gd name="T50" fmla="*/ 351 w 389"/>
                  <a:gd name="T51" fmla="*/ 128 h 346"/>
                  <a:gd name="T52" fmla="*/ 351 w 389"/>
                  <a:gd name="T53" fmla="*/ 12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9" h="346">
                    <a:moveTo>
                      <a:pt x="351" y="128"/>
                    </a:moveTo>
                    <a:cubicBezTo>
                      <a:pt x="351" y="128"/>
                      <a:pt x="351" y="128"/>
                      <a:pt x="351" y="128"/>
                    </a:cubicBezTo>
                    <a:cubicBezTo>
                      <a:pt x="311" y="100"/>
                      <a:pt x="311" y="100"/>
                      <a:pt x="311" y="100"/>
                    </a:cubicBezTo>
                    <a:cubicBezTo>
                      <a:pt x="253" y="59"/>
                      <a:pt x="253" y="59"/>
                      <a:pt x="253" y="59"/>
                    </a:cubicBezTo>
                    <a:cubicBezTo>
                      <a:pt x="185" y="11"/>
                      <a:pt x="185" y="11"/>
                      <a:pt x="185" y="11"/>
                    </a:cubicBezTo>
                    <a:cubicBezTo>
                      <a:pt x="171" y="29"/>
                      <a:pt x="176" y="55"/>
                      <a:pt x="195" y="69"/>
                    </a:cubicBezTo>
                    <a:cubicBezTo>
                      <a:pt x="284" y="132"/>
                      <a:pt x="284" y="132"/>
                      <a:pt x="284" y="132"/>
                    </a:cubicBezTo>
                    <a:cubicBezTo>
                      <a:pt x="308" y="151"/>
                      <a:pt x="303" y="173"/>
                      <a:pt x="281" y="188"/>
                    </a:cubicBezTo>
                    <a:cubicBezTo>
                      <a:pt x="231" y="218"/>
                      <a:pt x="189" y="161"/>
                      <a:pt x="189" y="161"/>
                    </a:cubicBezTo>
                    <a:cubicBezTo>
                      <a:pt x="107" y="73"/>
                      <a:pt x="107" y="73"/>
                      <a:pt x="107" y="73"/>
                    </a:cubicBezTo>
                    <a:cubicBezTo>
                      <a:pt x="139" y="54"/>
                      <a:pt x="139" y="54"/>
                      <a:pt x="139" y="54"/>
                    </a:cubicBezTo>
                    <a:cubicBezTo>
                      <a:pt x="158" y="43"/>
                      <a:pt x="165" y="19"/>
                      <a:pt x="154" y="0"/>
                    </a:cubicBezTo>
                    <a:cubicBezTo>
                      <a:pt x="56" y="56"/>
                      <a:pt x="56" y="56"/>
                      <a:pt x="56" y="56"/>
                    </a:cubicBezTo>
                    <a:cubicBezTo>
                      <a:pt x="119" y="158"/>
                      <a:pt x="119" y="158"/>
                      <a:pt x="119" y="158"/>
                    </a:cubicBezTo>
                    <a:cubicBezTo>
                      <a:pt x="58" y="77"/>
                      <a:pt x="58" y="77"/>
                      <a:pt x="58" y="77"/>
                    </a:cubicBezTo>
                    <a:cubicBezTo>
                      <a:pt x="25" y="103"/>
                      <a:pt x="25" y="103"/>
                      <a:pt x="25" y="103"/>
                    </a:cubicBezTo>
                    <a:cubicBezTo>
                      <a:pt x="92" y="181"/>
                      <a:pt x="92" y="181"/>
                      <a:pt x="92" y="181"/>
                    </a:cubicBezTo>
                    <a:cubicBezTo>
                      <a:pt x="30" y="124"/>
                      <a:pt x="30" y="124"/>
                      <a:pt x="30" y="124"/>
                    </a:cubicBezTo>
                    <a:cubicBezTo>
                      <a:pt x="0" y="152"/>
                      <a:pt x="0" y="152"/>
                      <a:pt x="0" y="152"/>
                    </a:cubicBezTo>
                    <a:cubicBezTo>
                      <a:pt x="59" y="203"/>
                      <a:pt x="59" y="203"/>
                      <a:pt x="59" y="203"/>
                    </a:cubicBezTo>
                    <a:cubicBezTo>
                      <a:pt x="16" y="187"/>
                      <a:pt x="16" y="187"/>
                      <a:pt x="16" y="187"/>
                    </a:cubicBezTo>
                    <a:cubicBezTo>
                      <a:pt x="13" y="230"/>
                      <a:pt x="13" y="230"/>
                      <a:pt x="13" y="230"/>
                    </a:cubicBezTo>
                    <a:cubicBezTo>
                      <a:pt x="249" y="328"/>
                      <a:pt x="249" y="328"/>
                      <a:pt x="249" y="328"/>
                    </a:cubicBezTo>
                    <a:cubicBezTo>
                      <a:pt x="260" y="346"/>
                      <a:pt x="260" y="346"/>
                      <a:pt x="260" y="346"/>
                    </a:cubicBezTo>
                    <a:cubicBezTo>
                      <a:pt x="389" y="278"/>
                      <a:pt x="389" y="278"/>
                      <a:pt x="389" y="278"/>
                    </a:cubicBezTo>
                    <a:cubicBezTo>
                      <a:pt x="351" y="128"/>
                      <a:pt x="351" y="128"/>
                      <a:pt x="351" y="128"/>
                    </a:cubicBezTo>
                    <a:cubicBezTo>
                      <a:pt x="351" y="128"/>
                      <a:pt x="351" y="128"/>
                      <a:pt x="351" y="128"/>
                    </a:cubicBezTo>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26" name="Group 25"/>
              <p:cNvGrpSpPr/>
              <p:nvPr/>
            </p:nvGrpSpPr>
            <p:grpSpPr>
              <a:xfrm>
                <a:off x="2273120" y="2348599"/>
                <a:ext cx="568834" cy="564964"/>
                <a:chOff x="4029927" y="3894511"/>
                <a:chExt cx="568834" cy="564964"/>
              </a:xfrm>
            </p:grpSpPr>
            <p:sp>
              <p:nvSpPr>
                <p:cNvPr id="29" name="Rectangle 34"/>
                <p:cNvSpPr>
                  <a:spLocks noChangeArrowheads="1"/>
                </p:cNvSpPr>
                <p:nvPr/>
              </p:nvSpPr>
              <p:spPr bwMode="auto">
                <a:xfrm>
                  <a:off x="4068623" y="3921598"/>
                  <a:ext cx="495311" cy="4914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 name="Rectangle 35"/>
                <p:cNvSpPr>
                  <a:spLocks noChangeArrowheads="1"/>
                </p:cNvSpPr>
                <p:nvPr/>
              </p:nvSpPr>
              <p:spPr bwMode="auto">
                <a:xfrm>
                  <a:off x="4037666" y="3898381"/>
                  <a:ext cx="553356" cy="557225"/>
                </a:xfrm>
                <a:prstGeom prst="rect">
                  <a:avLst/>
                </a:prstGeom>
                <a:solidFill>
                  <a:srgbClr val="0084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 name="Freeform 36"/>
                <p:cNvSpPr>
                  <a:spLocks noEditPoints="1"/>
                </p:cNvSpPr>
                <p:nvPr/>
              </p:nvSpPr>
              <p:spPr bwMode="auto">
                <a:xfrm>
                  <a:off x="4029927" y="3894511"/>
                  <a:ext cx="568834" cy="564964"/>
                </a:xfrm>
                <a:custGeom>
                  <a:avLst/>
                  <a:gdLst>
                    <a:gd name="T0" fmla="*/ 147 w 147"/>
                    <a:gd name="T1" fmla="*/ 0 h 146"/>
                    <a:gd name="T2" fmla="*/ 143 w 147"/>
                    <a:gd name="T3" fmla="*/ 0 h 146"/>
                    <a:gd name="T4" fmla="*/ 4 w 147"/>
                    <a:gd name="T5" fmla="*/ 0 h 146"/>
                    <a:gd name="T6" fmla="*/ 0 w 147"/>
                    <a:gd name="T7" fmla="*/ 0 h 146"/>
                    <a:gd name="T8" fmla="*/ 0 w 147"/>
                    <a:gd name="T9" fmla="*/ 3 h 146"/>
                    <a:gd name="T10" fmla="*/ 0 w 147"/>
                    <a:gd name="T11" fmla="*/ 143 h 146"/>
                    <a:gd name="T12" fmla="*/ 0 w 147"/>
                    <a:gd name="T13" fmla="*/ 146 h 146"/>
                    <a:gd name="T14" fmla="*/ 4 w 147"/>
                    <a:gd name="T15" fmla="*/ 146 h 146"/>
                    <a:gd name="T16" fmla="*/ 143 w 147"/>
                    <a:gd name="T17" fmla="*/ 146 h 146"/>
                    <a:gd name="T18" fmla="*/ 147 w 147"/>
                    <a:gd name="T19" fmla="*/ 146 h 146"/>
                    <a:gd name="T20" fmla="*/ 147 w 147"/>
                    <a:gd name="T21" fmla="*/ 143 h 146"/>
                    <a:gd name="T22" fmla="*/ 147 w 147"/>
                    <a:gd name="T23" fmla="*/ 3 h 146"/>
                    <a:gd name="T24" fmla="*/ 147 w 147"/>
                    <a:gd name="T25" fmla="*/ 0 h 146"/>
                    <a:gd name="T26" fmla="*/ 143 w 147"/>
                    <a:gd name="T27" fmla="*/ 143 h 146"/>
                    <a:gd name="T28" fmla="*/ 4 w 147"/>
                    <a:gd name="T29" fmla="*/ 143 h 146"/>
                    <a:gd name="T30" fmla="*/ 4 w 147"/>
                    <a:gd name="T31" fmla="*/ 3 h 146"/>
                    <a:gd name="T32" fmla="*/ 143 w 147"/>
                    <a:gd name="T33" fmla="*/ 3 h 146"/>
                    <a:gd name="T34" fmla="*/ 143 w 147"/>
                    <a:gd name="T35" fmla="*/ 14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7" h="146">
                      <a:moveTo>
                        <a:pt x="147" y="0"/>
                      </a:moveTo>
                      <a:lnTo>
                        <a:pt x="143" y="0"/>
                      </a:lnTo>
                      <a:lnTo>
                        <a:pt x="4" y="0"/>
                      </a:lnTo>
                      <a:lnTo>
                        <a:pt x="0" y="0"/>
                      </a:lnTo>
                      <a:lnTo>
                        <a:pt x="0" y="3"/>
                      </a:lnTo>
                      <a:lnTo>
                        <a:pt x="0" y="143"/>
                      </a:lnTo>
                      <a:lnTo>
                        <a:pt x="0" y="146"/>
                      </a:lnTo>
                      <a:lnTo>
                        <a:pt x="4" y="146"/>
                      </a:lnTo>
                      <a:lnTo>
                        <a:pt x="143" y="146"/>
                      </a:lnTo>
                      <a:lnTo>
                        <a:pt x="147" y="146"/>
                      </a:lnTo>
                      <a:lnTo>
                        <a:pt x="147" y="143"/>
                      </a:lnTo>
                      <a:lnTo>
                        <a:pt x="147" y="3"/>
                      </a:lnTo>
                      <a:lnTo>
                        <a:pt x="147" y="0"/>
                      </a:lnTo>
                      <a:close/>
                      <a:moveTo>
                        <a:pt x="143" y="143"/>
                      </a:moveTo>
                      <a:lnTo>
                        <a:pt x="4" y="143"/>
                      </a:lnTo>
                      <a:lnTo>
                        <a:pt x="4" y="3"/>
                      </a:lnTo>
                      <a:lnTo>
                        <a:pt x="143" y="3"/>
                      </a:lnTo>
                      <a:lnTo>
                        <a:pt x="143"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 name="Freeform 71"/>
                <p:cNvSpPr>
                  <a:spLocks/>
                </p:cNvSpPr>
                <p:nvPr/>
              </p:nvSpPr>
              <p:spPr bwMode="auto">
                <a:xfrm>
                  <a:off x="4285322" y="4037687"/>
                  <a:ext cx="232177" cy="278613"/>
                </a:xfrm>
                <a:custGeom>
                  <a:avLst/>
                  <a:gdLst>
                    <a:gd name="T0" fmla="*/ 11 w 130"/>
                    <a:gd name="T1" fmla="*/ 155 h 155"/>
                    <a:gd name="T2" fmla="*/ 0 w 130"/>
                    <a:gd name="T3" fmla="*/ 143 h 155"/>
                    <a:gd name="T4" fmla="*/ 0 w 130"/>
                    <a:gd name="T5" fmla="*/ 11 h 155"/>
                    <a:gd name="T6" fmla="*/ 11 w 130"/>
                    <a:gd name="T7" fmla="*/ 0 h 155"/>
                    <a:gd name="T8" fmla="*/ 119 w 130"/>
                    <a:gd name="T9" fmla="*/ 0 h 155"/>
                    <a:gd name="T10" fmla="*/ 130 w 130"/>
                    <a:gd name="T11" fmla="*/ 11 h 155"/>
                    <a:gd name="T12" fmla="*/ 130 w 130"/>
                    <a:gd name="T13" fmla="*/ 144 h 155"/>
                    <a:gd name="T14" fmla="*/ 119 w 130"/>
                    <a:gd name="T15" fmla="*/ 155 h 155"/>
                    <a:gd name="T16" fmla="*/ 11 w 130"/>
                    <a:gd name="T17"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55">
                      <a:moveTo>
                        <a:pt x="11" y="155"/>
                      </a:moveTo>
                      <a:cubicBezTo>
                        <a:pt x="5" y="155"/>
                        <a:pt x="0" y="149"/>
                        <a:pt x="0" y="143"/>
                      </a:cubicBezTo>
                      <a:cubicBezTo>
                        <a:pt x="0" y="11"/>
                        <a:pt x="0" y="11"/>
                        <a:pt x="0" y="11"/>
                      </a:cubicBezTo>
                      <a:cubicBezTo>
                        <a:pt x="0" y="5"/>
                        <a:pt x="5" y="0"/>
                        <a:pt x="11" y="0"/>
                      </a:cubicBezTo>
                      <a:cubicBezTo>
                        <a:pt x="119" y="0"/>
                        <a:pt x="119" y="0"/>
                        <a:pt x="119" y="0"/>
                      </a:cubicBezTo>
                      <a:cubicBezTo>
                        <a:pt x="126" y="0"/>
                        <a:pt x="130" y="4"/>
                        <a:pt x="130" y="11"/>
                      </a:cubicBezTo>
                      <a:cubicBezTo>
                        <a:pt x="130" y="144"/>
                        <a:pt x="130" y="144"/>
                        <a:pt x="130" y="144"/>
                      </a:cubicBezTo>
                      <a:cubicBezTo>
                        <a:pt x="130" y="150"/>
                        <a:pt x="126" y="155"/>
                        <a:pt x="119" y="155"/>
                      </a:cubicBezTo>
                      <a:cubicBezTo>
                        <a:pt x="11" y="155"/>
                        <a:pt x="11" y="155"/>
                        <a:pt x="11" y="155"/>
                      </a:cubicBezTo>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 name="Freeform 72"/>
                <p:cNvSpPr>
                  <a:spLocks/>
                </p:cNvSpPr>
                <p:nvPr/>
              </p:nvSpPr>
              <p:spPr bwMode="auto">
                <a:xfrm>
                  <a:off x="4296931" y="4053165"/>
                  <a:ext cx="205090" cy="247656"/>
                </a:xfrm>
                <a:custGeom>
                  <a:avLst/>
                  <a:gdLst>
                    <a:gd name="T0" fmla="*/ 3 w 114"/>
                    <a:gd name="T1" fmla="*/ 0 h 138"/>
                    <a:gd name="T2" fmla="*/ 111 w 114"/>
                    <a:gd name="T3" fmla="*/ 0 h 138"/>
                    <a:gd name="T4" fmla="*/ 114 w 114"/>
                    <a:gd name="T5" fmla="*/ 3 h 138"/>
                    <a:gd name="T6" fmla="*/ 114 w 114"/>
                    <a:gd name="T7" fmla="*/ 136 h 138"/>
                    <a:gd name="T8" fmla="*/ 111 w 114"/>
                    <a:gd name="T9" fmla="*/ 138 h 138"/>
                    <a:gd name="T10" fmla="*/ 3 w 114"/>
                    <a:gd name="T11" fmla="*/ 138 h 138"/>
                    <a:gd name="T12" fmla="*/ 0 w 114"/>
                    <a:gd name="T13" fmla="*/ 135 h 138"/>
                    <a:gd name="T14" fmla="*/ 0 w 114"/>
                    <a:gd name="T15" fmla="*/ 3 h 138"/>
                    <a:gd name="T16" fmla="*/ 3 w 114"/>
                    <a:gd name="T1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38">
                      <a:moveTo>
                        <a:pt x="3" y="0"/>
                      </a:moveTo>
                      <a:cubicBezTo>
                        <a:pt x="111" y="0"/>
                        <a:pt x="111" y="0"/>
                        <a:pt x="111" y="0"/>
                      </a:cubicBezTo>
                      <a:cubicBezTo>
                        <a:pt x="113" y="0"/>
                        <a:pt x="114" y="1"/>
                        <a:pt x="114" y="3"/>
                      </a:cubicBezTo>
                      <a:cubicBezTo>
                        <a:pt x="114" y="136"/>
                        <a:pt x="114" y="136"/>
                        <a:pt x="114" y="136"/>
                      </a:cubicBezTo>
                      <a:cubicBezTo>
                        <a:pt x="114" y="138"/>
                        <a:pt x="113" y="138"/>
                        <a:pt x="111" y="138"/>
                      </a:cubicBezTo>
                      <a:cubicBezTo>
                        <a:pt x="3" y="138"/>
                        <a:pt x="3" y="138"/>
                        <a:pt x="3" y="138"/>
                      </a:cubicBezTo>
                      <a:cubicBezTo>
                        <a:pt x="1" y="138"/>
                        <a:pt x="0" y="137"/>
                        <a:pt x="0" y="135"/>
                      </a:cubicBezTo>
                      <a:cubicBezTo>
                        <a:pt x="0" y="3"/>
                        <a:pt x="0" y="3"/>
                        <a:pt x="0" y="3"/>
                      </a:cubicBezTo>
                      <a:cubicBezTo>
                        <a:pt x="0" y="2"/>
                        <a:pt x="2"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 name="Freeform 73"/>
                <p:cNvSpPr>
                  <a:spLocks noEditPoints="1"/>
                </p:cNvSpPr>
                <p:nvPr/>
              </p:nvSpPr>
              <p:spPr bwMode="auto">
                <a:xfrm>
                  <a:off x="4347236" y="4068644"/>
                  <a:ext cx="139306" cy="216699"/>
                </a:xfrm>
                <a:custGeom>
                  <a:avLst/>
                  <a:gdLst>
                    <a:gd name="T0" fmla="*/ 0 w 36"/>
                    <a:gd name="T1" fmla="*/ 56 h 56"/>
                    <a:gd name="T2" fmla="*/ 0 w 36"/>
                    <a:gd name="T3" fmla="*/ 48 h 56"/>
                    <a:gd name="T4" fmla="*/ 16 w 36"/>
                    <a:gd name="T5" fmla="*/ 48 h 56"/>
                    <a:gd name="T6" fmla="*/ 16 w 36"/>
                    <a:gd name="T7" fmla="*/ 56 h 56"/>
                    <a:gd name="T8" fmla="*/ 0 w 36"/>
                    <a:gd name="T9" fmla="*/ 56 h 56"/>
                    <a:gd name="T10" fmla="*/ 20 w 36"/>
                    <a:gd name="T11" fmla="*/ 56 h 56"/>
                    <a:gd name="T12" fmla="*/ 20 w 36"/>
                    <a:gd name="T13" fmla="*/ 48 h 56"/>
                    <a:gd name="T14" fmla="*/ 36 w 36"/>
                    <a:gd name="T15" fmla="*/ 48 h 56"/>
                    <a:gd name="T16" fmla="*/ 36 w 36"/>
                    <a:gd name="T17" fmla="*/ 56 h 56"/>
                    <a:gd name="T18" fmla="*/ 20 w 36"/>
                    <a:gd name="T19" fmla="*/ 56 h 56"/>
                    <a:gd name="T20" fmla="*/ 0 w 36"/>
                    <a:gd name="T21" fmla="*/ 44 h 56"/>
                    <a:gd name="T22" fmla="*/ 0 w 36"/>
                    <a:gd name="T23" fmla="*/ 36 h 56"/>
                    <a:gd name="T24" fmla="*/ 16 w 36"/>
                    <a:gd name="T25" fmla="*/ 36 h 56"/>
                    <a:gd name="T26" fmla="*/ 16 w 36"/>
                    <a:gd name="T27" fmla="*/ 44 h 56"/>
                    <a:gd name="T28" fmla="*/ 0 w 36"/>
                    <a:gd name="T29" fmla="*/ 44 h 56"/>
                    <a:gd name="T30" fmla="*/ 20 w 36"/>
                    <a:gd name="T31" fmla="*/ 44 h 56"/>
                    <a:gd name="T32" fmla="*/ 20 w 36"/>
                    <a:gd name="T33" fmla="*/ 36 h 56"/>
                    <a:gd name="T34" fmla="*/ 36 w 36"/>
                    <a:gd name="T35" fmla="*/ 36 h 56"/>
                    <a:gd name="T36" fmla="*/ 36 w 36"/>
                    <a:gd name="T37" fmla="*/ 44 h 56"/>
                    <a:gd name="T38" fmla="*/ 20 w 36"/>
                    <a:gd name="T39" fmla="*/ 44 h 56"/>
                    <a:gd name="T40" fmla="*/ 0 w 36"/>
                    <a:gd name="T41" fmla="*/ 32 h 56"/>
                    <a:gd name="T42" fmla="*/ 0 w 36"/>
                    <a:gd name="T43" fmla="*/ 24 h 56"/>
                    <a:gd name="T44" fmla="*/ 16 w 36"/>
                    <a:gd name="T45" fmla="*/ 24 h 56"/>
                    <a:gd name="T46" fmla="*/ 16 w 36"/>
                    <a:gd name="T47" fmla="*/ 32 h 56"/>
                    <a:gd name="T48" fmla="*/ 0 w 36"/>
                    <a:gd name="T49" fmla="*/ 32 h 56"/>
                    <a:gd name="T50" fmla="*/ 20 w 36"/>
                    <a:gd name="T51" fmla="*/ 32 h 56"/>
                    <a:gd name="T52" fmla="*/ 20 w 36"/>
                    <a:gd name="T53" fmla="*/ 24 h 56"/>
                    <a:gd name="T54" fmla="*/ 36 w 36"/>
                    <a:gd name="T55" fmla="*/ 24 h 56"/>
                    <a:gd name="T56" fmla="*/ 36 w 36"/>
                    <a:gd name="T57" fmla="*/ 32 h 56"/>
                    <a:gd name="T58" fmla="*/ 20 w 36"/>
                    <a:gd name="T59" fmla="*/ 32 h 56"/>
                    <a:gd name="T60" fmla="*/ 0 w 36"/>
                    <a:gd name="T61" fmla="*/ 20 h 56"/>
                    <a:gd name="T62" fmla="*/ 0 w 36"/>
                    <a:gd name="T63" fmla="*/ 12 h 56"/>
                    <a:gd name="T64" fmla="*/ 16 w 36"/>
                    <a:gd name="T65" fmla="*/ 12 h 56"/>
                    <a:gd name="T66" fmla="*/ 16 w 36"/>
                    <a:gd name="T67" fmla="*/ 20 h 56"/>
                    <a:gd name="T68" fmla="*/ 0 w 36"/>
                    <a:gd name="T69" fmla="*/ 20 h 56"/>
                    <a:gd name="T70" fmla="*/ 20 w 36"/>
                    <a:gd name="T71" fmla="*/ 20 h 56"/>
                    <a:gd name="T72" fmla="*/ 20 w 36"/>
                    <a:gd name="T73" fmla="*/ 12 h 56"/>
                    <a:gd name="T74" fmla="*/ 36 w 36"/>
                    <a:gd name="T75" fmla="*/ 12 h 56"/>
                    <a:gd name="T76" fmla="*/ 36 w 36"/>
                    <a:gd name="T77" fmla="*/ 20 h 56"/>
                    <a:gd name="T78" fmla="*/ 20 w 36"/>
                    <a:gd name="T79" fmla="*/ 20 h 56"/>
                    <a:gd name="T80" fmla="*/ 0 w 36"/>
                    <a:gd name="T81" fmla="*/ 8 h 56"/>
                    <a:gd name="T82" fmla="*/ 0 w 36"/>
                    <a:gd name="T83" fmla="*/ 0 h 56"/>
                    <a:gd name="T84" fmla="*/ 16 w 36"/>
                    <a:gd name="T85" fmla="*/ 0 h 56"/>
                    <a:gd name="T86" fmla="*/ 16 w 36"/>
                    <a:gd name="T87" fmla="*/ 8 h 56"/>
                    <a:gd name="T88" fmla="*/ 0 w 36"/>
                    <a:gd name="T89" fmla="*/ 8 h 56"/>
                    <a:gd name="T90" fmla="*/ 20 w 36"/>
                    <a:gd name="T91" fmla="*/ 8 h 56"/>
                    <a:gd name="T92" fmla="*/ 20 w 36"/>
                    <a:gd name="T93" fmla="*/ 0 h 56"/>
                    <a:gd name="T94" fmla="*/ 36 w 36"/>
                    <a:gd name="T95" fmla="*/ 0 h 56"/>
                    <a:gd name="T96" fmla="*/ 36 w 36"/>
                    <a:gd name="T97" fmla="*/ 8 h 56"/>
                    <a:gd name="T98" fmla="*/ 20 w 36"/>
                    <a:gd name="T9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 h="56">
                      <a:moveTo>
                        <a:pt x="0" y="56"/>
                      </a:moveTo>
                      <a:lnTo>
                        <a:pt x="0" y="48"/>
                      </a:lnTo>
                      <a:lnTo>
                        <a:pt x="16" y="48"/>
                      </a:lnTo>
                      <a:lnTo>
                        <a:pt x="16" y="56"/>
                      </a:lnTo>
                      <a:lnTo>
                        <a:pt x="0" y="56"/>
                      </a:lnTo>
                      <a:close/>
                      <a:moveTo>
                        <a:pt x="20" y="56"/>
                      </a:moveTo>
                      <a:lnTo>
                        <a:pt x="20" y="48"/>
                      </a:lnTo>
                      <a:lnTo>
                        <a:pt x="36" y="48"/>
                      </a:lnTo>
                      <a:lnTo>
                        <a:pt x="36" y="56"/>
                      </a:lnTo>
                      <a:lnTo>
                        <a:pt x="20" y="56"/>
                      </a:lnTo>
                      <a:close/>
                      <a:moveTo>
                        <a:pt x="0" y="44"/>
                      </a:moveTo>
                      <a:lnTo>
                        <a:pt x="0" y="36"/>
                      </a:lnTo>
                      <a:lnTo>
                        <a:pt x="16" y="36"/>
                      </a:lnTo>
                      <a:lnTo>
                        <a:pt x="16" y="44"/>
                      </a:lnTo>
                      <a:lnTo>
                        <a:pt x="0" y="44"/>
                      </a:lnTo>
                      <a:close/>
                      <a:moveTo>
                        <a:pt x="20" y="44"/>
                      </a:moveTo>
                      <a:lnTo>
                        <a:pt x="20" y="36"/>
                      </a:lnTo>
                      <a:lnTo>
                        <a:pt x="36" y="36"/>
                      </a:lnTo>
                      <a:lnTo>
                        <a:pt x="36" y="44"/>
                      </a:lnTo>
                      <a:lnTo>
                        <a:pt x="20" y="44"/>
                      </a:lnTo>
                      <a:close/>
                      <a:moveTo>
                        <a:pt x="0" y="32"/>
                      </a:moveTo>
                      <a:lnTo>
                        <a:pt x="0" y="24"/>
                      </a:lnTo>
                      <a:lnTo>
                        <a:pt x="16" y="24"/>
                      </a:lnTo>
                      <a:lnTo>
                        <a:pt x="16" y="32"/>
                      </a:lnTo>
                      <a:lnTo>
                        <a:pt x="0" y="32"/>
                      </a:lnTo>
                      <a:close/>
                      <a:moveTo>
                        <a:pt x="20" y="32"/>
                      </a:moveTo>
                      <a:lnTo>
                        <a:pt x="20" y="24"/>
                      </a:lnTo>
                      <a:lnTo>
                        <a:pt x="36" y="24"/>
                      </a:lnTo>
                      <a:lnTo>
                        <a:pt x="36" y="32"/>
                      </a:lnTo>
                      <a:lnTo>
                        <a:pt x="20" y="32"/>
                      </a:lnTo>
                      <a:close/>
                      <a:moveTo>
                        <a:pt x="0" y="20"/>
                      </a:moveTo>
                      <a:lnTo>
                        <a:pt x="0" y="12"/>
                      </a:lnTo>
                      <a:lnTo>
                        <a:pt x="16" y="12"/>
                      </a:lnTo>
                      <a:lnTo>
                        <a:pt x="16" y="20"/>
                      </a:lnTo>
                      <a:lnTo>
                        <a:pt x="0" y="20"/>
                      </a:lnTo>
                      <a:close/>
                      <a:moveTo>
                        <a:pt x="20" y="20"/>
                      </a:moveTo>
                      <a:lnTo>
                        <a:pt x="20" y="12"/>
                      </a:lnTo>
                      <a:lnTo>
                        <a:pt x="36" y="12"/>
                      </a:lnTo>
                      <a:lnTo>
                        <a:pt x="36" y="20"/>
                      </a:lnTo>
                      <a:lnTo>
                        <a:pt x="20" y="20"/>
                      </a:lnTo>
                      <a:close/>
                      <a:moveTo>
                        <a:pt x="0" y="8"/>
                      </a:moveTo>
                      <a:lnTo>
                        <a:pt x="0" y="0"/>
                      </a:lnTo>
                      <a:lnTo>
                        <a:pt x="16" y="0"/>
                      </a:lnTo>
                      <a:lnTo>
                        <a:pt x="16" y="8"/>
                      </a:lnTo>
                      <a:lnTo>
                        <a:pt x="0" y="8"/>
                      </a:lnTo>
                      <a:close/>
                      <a:moveTo>
                        <a:pt x="20" y="8"/>
                      </a:moveTo>
                      <a:lnTo>
                        <a:pt x="20" y="0"/>
                      </a:lnTo>
                      <a:lnTo>
                        <a:pt x="36" y="0"/>
                      </a:lnTo>
                      <a:lnTo>
                        <a:pt x="36" y="8"/>
                      </a:lnTo>
                      <a:lnTo>
                        <a:pt x="20" y="8"/>
                      </a:lnTo>
                      <a:close/>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 name="Freeform 74"/>
                <p:cNvSpPr>
                  <a:spLocks/>
                </p:cNvSpPr>
                <p:nvPr/>
              </p:nvSpPr>
              <p:spPr bwMode="auto">
                <a:xfrm>
                  <a:off x="4146016" y="3991252"/>
                  <a:ext cx="216699" cy="371483"/>
                </a:xfrm>
                <a:custGeom>
                  <a:avLst/>
                  <a:gdLst>
                    <a:gd name="T0" fmla="*/ 56 w 56"/>
                    <a:gd name="T1" fmla="*/ 0 h 96"/>
                    <a:gd name="T2" fmla="*/ 0 w 56"/>
                    <a:gd name="T3" fmla="*/ 10 h 96"/>
                    <a:gd name="T4" fmla="*/ 0 w 56"/>
                    <a:gd name="T5" fmla="*/ 86 h 96"/>
                    <a:gd name="T6" fmla="*/ 56 w 56"/>
                    <a:gd name="T7" fmla="*/ 96 h 96"/>
                    <a:gd name="T8" fmla="*/ 56 w 56"/>
                    <a:gd name="T9" fmla="*/ 0 h 96"/>
                  </a:gdLst>
                  <a:ahLst/>
                  <a:cxnLst>
                    <a:cxn ang="0">
                      <a:pos x="T0" y="T1"/>
                    </a:cxn>
                    <a:cxn ang="0">
                      <a:pos x="T2" y="T3"/>
                    </a:cxn>
                    <a:cxn ang="0">
                      <a:pos x="T4" y="T5"/>
                    </a:cxn>
                    <a:cxn ang="0">
                      <a:pos x="T6" y="T7"/>
                    </a:cxn>
                    <a:cxn ang="0">
                      <a:pos x="T8" y="T9"/>
                    </a:cxn>
                  </a:cxnLst>
                  <a:rect l="0" t="0" r="r" b="b"/>
                  <a:pathLst>
                    <a:path w="56" h="96">
                      <a:moveTo>
                        <a:pt x="56" y="0"/>
                      </a:moveTo>
                      <a:lnTo>
                        <a:pt x="0" y="10"/>
                      </a:lnTo>
                      <a:lnTo>
                        <a:pt x="0" y="86"/>
                      </a:lnTo>
                      <a:lnTo>
                        <a:pt x="56" y="96"/>
                      </a:lnTo>
                      <a:lnTo>
                        <a:pt x="5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 name="Freeform 75"/>
                <p:cNvSpPr>
                  <a:spLocks/>
                </p:cNvSpPr>
                <p:nvPr/>
              </p:nvSpPr>
              <p:spPr bwMode="auto">
                <a:xfrm>
                  <a:off x="4188581" y="4099601"/>
                  <a:ext cx="119958" cy="154785"/>
                </a:xfrm>
                <a:custGeom>
                  <a:avLst/>
                  <a:gdLst>
                    <a:gd name="T0" fmla="*/ 66 w 67"/>
                    <a:gd name="T1" fmla="*/ 0 h 88"/>
                    <a:gd name="T2" fmla="*/ 47 w 67"/>
                    <a:gd name="T3" fmla="*/ 1 h 88"/>
                    <a:gd name="T4" fmla="*/ 35 w 67"/>
                    <a:gd name="T5" fmla="*/ 27 h 88"/>
                    <a:gd name="T6" fmla="*/ 35 w 67"/>
                    <a:gd name="T7" fmla="*/ 29 h 88"/>
                    <a:gd name="T8" fmla="*/ 34 w 67"/>
                    <a:gd name="T9" fmla="*/ 31 h 88"/>
                    <a:gd name="T10" fmla="*/ 34 w 67"/>
                    <a:gd name="T11" fmla="*/ 33 h 88"/>
                    <a:gd name="T12" fmla="*/ 33 w 67"/>
                    <a:gd name="T13" fmla="*/ 34 h 88"/>
                    <a:gd name="T14" fmla="*/ 33 w 67"/>
                    <a:gd name="T15" fmla="*/ 34 h 88"/>
                    <a:gd name="T16" fmla="*/ 33 w 67"/>
                    <a:gd name="T17" fmla="*/ 32 h 88"/>
                    <a:gd name="T18" fmla="*/ 32 w 67"/>
                    <a:gd name="T19" fmla="*/ 31 h 88"/>
                    <a:gd name="T20" fmla="*/ 31 w 67"/>
                    <a:gd name="T21" fmla="*/ 29 h 88"/>
                    <a:gd name="T22" fmla="*/ 31 w 67"/>
                    <a:gd name="T23" fmla="*/ 27 h 88"/>
                    <a:gd name="T24" fmla="*/ 21 w 67"/>
                    <a:gd name="T25" fmla="*/ 3 h 88"/>
                    <a:gd name="T26" fmla="*/ 2 w 67"/>
                    <a:gd name="T27" fmla="*/ 4 h 88"/>
                    <a:gd name="T28" fmla="*/ 22 w 67"/>
                    <a:gd name="T29" fmla="*/ 44 h 88"/>
                    <a:gd name="T30" fmla="*/ 0 w 67"/>
                    <a:gd name="T31" fmla="*/ 85 h 88"/>
                    <a:gd name="T32" fmla="*/ 18 w 67"/>
                    <a:gd name="T33" fmla="*/ 86 h 88"/>
                    <a:gd name="T34" fmla="*/ 31 w 67"/>
                    <a:gd name="T35" fmla="*/ 59 h 88"/>
                    <a:gd name="T36" fmla="*/ 31 w 67"/>
                    <a:gd name="T37" fmla="*/ 57 h 88"/>
                    <a:gd name="T38" fmla="*/ 32 w 67"/>
                    <a:gd name="T39" fmla="*/ 56 h 88"/>
                    <a:gd name="T40" fmla="*/ 32 w 67"/>
                    <a:gd name="T41" fmla="*/ 54 h 88"/>
                    <a:gd name="T42" fmla="*/ 32 w 67"/>
                    <a:gd name="T43" fmla="*/ 53 h 88"/>
                    <a:gd name="T44" fmla="*/ 32 w 67"/>
                    <a:gd name="T45" fmla="*/ 53 h 88"/>
                    <a:gd name="T46" fmla="*/ 33 w 67"/>
                    <a:gd name="T47" fmla="*/ 55 h 88"/>
                    <a:gd name="T48" fmla="*/ 33 w 67"/>
                    <a:gd name="T49" fmla="*/ 57 h 88"/>
                    <a:gd name="T50" fmla="*/ 34 w 67"/>
                    <a:gd name="T51" fmla="*/ 58 h 88"/>
                    <a:gd name="T52" fmla="*/ 34 w 67"/>
                    <a:gd name="T53" fmla="*/ 59 h 88"/>
                    <a:gd name="T54" fmla="*/ 47 w 67"/>
                    <a:gd name="T55" fmla="*/ 87 h 88"/>
                    <a:gd name="T56" fmla="*/ 67 w 67"/>
                    <a:gd name="T57" fmla="*/ 88 h 88"/>
                    <a:gd name="T58" fmla="*/ 44 w 67"/>
                    <a:gd name="T59" fmla="*/ 44 h 88"/>
                    <a:gd name="T60" fmla="*/ 66 w 67"/>
                    <a:gd name="T6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7" h="88">
                      <a:moveTo>
                        <a:pt x="66" y="0"/>
                      </a:moveTo>
                      <a:cubicBezTo>
                        <a:pt x="47" y="1"/>
                        <a:pt x="47" y="1"/>
                        <a:pt x="47" y="1"/>
                      </a:cubicBezTo>
                      <a:cubicBezTo>
                        <a:pt x="35" y="27"/>
                        <a:pt x="35" y="27"/>
                        <a:pt x="35" y="27"/>
                      </a:cubicBezTo>
                      <a:cubicBezTo>
                        <a:pt x="35" y="28"/>
                        <a:pt x="35" y="28"/>
                        <a:pt x="35" y="29"/>
                      </a:cubicBezTo>
                      <a:cubicBezTo>
                        <a:pt x="34" y="30"/>
                        <a:pt x="34" y="31"/>
                        <a:pt x="34" y="31"/>
                      </a:cubicBezTo>
                      <a:cubicBezTo>
                        <a:pt x="34" y="32"/>
                        <a:pt x="34" y="32"/>
                        <a:pt x="34" y="33"/>
                      </a:cubicBezTo>
                      <a:cubicBezTo>
                        <a:pt x="33" y="33"/>
                        <a:pt x="33" y="34"/>
                        <a:pt x="33" y="34"/>
                      </a:cubicBezTo>
                      <a:cubicBezTo>
                        <a:pt x="33" y="34"/>
                        <a:pt x="33" y="34"/>
                        <a:pt x="33" y="34"/>
                      </a:cubicBezTo>
                      <a:cubicBezTo>
                        <a:pt x="33" y="34"/>
                        <a:pt x="33" y="33"/>
                        <a:pt x="33" y="32"/>
                      </a:cubicBezTo>
                      <a:cubicBezTo>
                        <a:pt x="32" y="32"/>
                        <a:pt x="32" y="31"/>
                        <a:pt x="32" y="31"/>
                      </a:cubicBezTo>
                      <a:cubicBezTo>
                        <a:pt x="32" y="30"/>
                        <a:pt x="32" y="29"/>
                        <a:pt x="31" y="29"/>
                      </a:cubicBezTo>
                      <a:cubicBezTo>
                        <a:pt x="31" y="28"/>
                        <a:pt x="31" y="28"/>
                        <a:pt x="31" y="27"/>
                      </a:cubicBezTo>
                      <a:cubicBezTo>
                        <a:pt x="21" y="3"/>
                        <a:pt x="21" y="3"/>
                        <a:pt x="21" y="3"/>
                      </a:cubicBezTo>
                      <a:cubicBezTo>
                        <a:pt x="2" y="4"/>
                        <a:pt x="2" y="4"/>
                        <a:pt x="2" y="4"/>
                      </a:cubicBezTo>
                      <a:cubicBezTo>
                        <a:pt x="22" y="44"/>
                        <a:pt x="22" y="44"/>
                        <a:pt x="22" y="44"/>
                      </a:cubicBezTo>
                      <a:cubicBezTo>
                        <a:pt x="0" y="85"/>
                        <a:pt x="0" y="85"/>
                        <a:pt x="0" y="85"/>
                      </a:cubicBezTo>
                      <a:cubicBezTo>
                        <a:pt x="18" y="86"/>
                        <a:pt x="18" y="86"/>
                        <a:pt x="18" y="86"/>
                      </a:cubicBezTo>
                      <a:cubicBezTo>
                        <a:pt x="31" y="59"/>
                        <a:pt x="31" y="59"/>
                        <a:pt x="31" y="59"/>
                      </a:cubicBezTo>
                      <a:cubicBezTo>
                        <a:pt x="31" y="58"/>
                        <a:pt x="31" y="58"/>
                        <a:pt x="31" y="57"/>
                      </a:cubicBezTo>
                      <a:cubicBezTo>
                        <a:pt x="31" y="57"/>
                        <a:pt x="32" y="56"/>
                        <a:pt x="32" y="56"/>
                      </a:cubicBezTo>
                      <a:cubicBezTo>
                        <a:pt x="32" y="55"/>
                        <a:pt x="32" y="55"/>
                        <a:pt x="32" y="54"/>
                      </a:cubicBezTo>
                      <a:cubicBezTo>
                        <a:pt x="32" y="54"/>
                        <a:pt x="32" y="54"/>
                        <a:pt x="32" y="53"/>
                      </a:cubicBezTo>
                      <a:cubicBezTo>
                        <a:pt x="32" y="53"/>
                        <a:pt x="32" y="53"/>
                        <a:pt x="32" y="53"/>
                      </a:cubicBezTo>
                      <a:cubicBezTo>
                        <a:pt x="33" y="54"/>
                        <a:pt x="33" y="55"/>
                        <a:pt x="33" y="55"/>
                      </a:cubicBezTo>
                      <a:cubicBezTo>
                        <a:pt x="33" y="56"/>
                        <a:pt x="33" y="56"/>
                        <a:pt x="33" y="57"/>
                      </a:cubicBezTo>
                      <a:cubicBezTo>
                        <a:pt x="33" y="57"/>
                        <a:pt x="34" y="58"/>
                        <a:pt x="34" y="58"/>
                      </a:cubicBezTo>
                      <a:cubicBezTo>
                        <a:pt x="34" y="58"/>
                        <a:pt x="34" y="59"/>
                        <a:pt x="34" y="59"/>
                      </a:cubicBezTo>
                      <a:cubicBezTo>
                        <a:pt x="47" y="87"/>
                        <a:pt x="47" y="87"/>
                        <a:pt x="47" y="87"/>
                      </a:cubicBezTo>
                      <a:cubicBezTo>
                        <a:pt x="67" y="88"/>
                        <a:pt x="67" y="88"/>
                        <a:pt x="67" y="88"/>
                      </a:cubicBezTo>
                      <a:cubicBezTo>
                        <a:pt x="44" y="44"/>
                        <a:pt x="44" y="44"/>
                        <a:pt x="44" y="44"/>
                      </a:cubicBezTo>
                      <a:cubicBezTo>
                        <a:pt x="66" y="0"/>
                        <a:pt x="66" y="0"/>
                        <a:pt x="66" y="0"/>
                      </a:cubicBezTo>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27" name="Freeform 38"/>
              <p:cNvSpPr>
                <a:spLocks/>
              </p:cNvSpPr>
              <p:nvPr/>
            </p:nvSpPr>
            <p:spPr bwMode="auto">
              <a:xfrm>
                <a:off x="2408557" y="3329547"/>
                <a:ext cx="340526" cy="437267"/>
              </a:xfrm>
              <a:custGeom>
                <a:avLst/>
                <a:gdLst>
                  <a:gd name="T0" fmla="*/ 0 w 88"/>
                  <a:gd name="T1" fmla="*/ 113 h 113"/>
                  <a:gd name="T2" fmla="*/ 88 w 88"/>
                  <a:gd name="T3" fmla="*/ 113 h 113"/>
                  <a:gd name="T4" fmla="*/ 88 w 88"/>
                  <a:gd name="T5" fmla="*/ 0 h 113"/>
                  <a:gd name="T6" fmla="*/ 13 w 88"/>
                  <a:gd name="T7" fmla="*/ 39 h 113"/>
                  <a:gd name="T8" fmla="*/ 0 w 88"/>
                  <a:gd name="T9" fmla="*/ 113 h 113"/>
                </a:gdLst>
                <a:ahLst/>
                <a:cxnLst>
                  <a:cxn ang="0">
                    <a:pos x="T0" y="T1"/>
                  </a:cxn>
                  <a:cxn ang="0">
                    <a:pos x="T2" y="T3"/>
                  </a:cxn>
                  <a:cxn ang="0">
                    <a:pos x="T4" y="T5"/>
                  </a:cxn>
                  <a:cxn ang="0">
                    <a:pos x="T6" y="T7"/>
                  </a:cxn>
                  <a:cxn ang="0">
                    <a:pos x="T8" y="T9"/>
                  </a:cxn>
                </a:cxnLst>
                <a:rect l="0" t="0" r="r" b="b"/>
                <a:pathLst>
                  <a:path w="88" h="113">
                    <a:moveTo>
                      <a:pt x="0" y="113"/>
                    </a:moveTo>
                    <a:lnTo>
                      <a:pt x="88" y="113"/>
                    </a:lnTo>
                    <a:lnTo>
                      <a:pt x="88" y="0"/>
                    </a:lnTo>
                    <a:lnTo>
                      <a:pt x="13" y="39"/>
                    </a:lnTo>
                    <a:lnTo>
                      <a:pt x="0" y="113"/>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 name="Freeform 39"/>
              <p:cNvSpPr>
                <a:spLocks/>
              </p:cNvSpPr>
              <p:nvPr/>
            </p:nvSpPr>
            <p:spPr bwMode="auto">
              <a:xfrm>
                <a:off x="2431774" y="3259894"/>
                <a:ext cx="313439" cy="216699"/>
              </a:xfrm>
              <a:custGeom>
                <a:avLst/>
                <a:gdLst>
                  <a:gd name="T0" fmla="*/ 0 w 81"/>
                  <a:gd name="T1" fmla="*/ 37 h 56"/>
                  <a:gd name="T2" fmla="*/ 10 w 81"/>
                  <a:gd name="T3" fmla="*/ 56 h 56"/>
                  <a:gd name="T4" fmla="*/ 81 w 81"/>
                  <a:gd name="T5" fmla="*/ 19 h 56"/>
                  <a:gd name="T6" fmla="*/ 71 w 81"/>
                  <a:gd name="T7" fmla="*/ 0 h 56"/>
                  <a:gd name="T8" fmla="*/ 0 w 81"/>
                  <a:gd name="T9" fmla="*/ 37 h 56"/>
                </a:gdLst>
                <a:ahLst/>
                <a:cxnLst>
                  <a:cxn ang="0">
                    <a:pos x="T0" y="T1"/>
                  </a:cxn>
                  <a:cxn ang="0">
                    <a:pos x="T2" y="T3"/>
                  </a:cxn>
                  <a:cxn ang="0">
                    <a:pos x="T4" y="T5"/>
                  </a:cxn>
                  <a:cxn ang="0">
                    <a:pos x="T6" y="T7"/>
                  </a:cxn>
                  <a:cxn ang="0">
                    <a:pos x="T8" y="T9"/>
                  </a:cxn>
                </a:cxnLst>
                <a:rect l="0" t="0" r="r" b="b"/>
                <a:pathLst>
                  <a:path w="81" h="56">
                    <a:moveTo>
                      <a:pt x="0" y="37"/>
                    </a:moveTo>
                    <a:lnTo>
                      <a:pt x="10" y="56"/>
                    </a:lnTo>
                    <a:lnTo>
                      <a:pt x="81" y="19"/>
                    </a:lnTo>
                    <a:lnTo>
                      <a:pt x="71" y="0"/>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37" name="Group 36"/>
          <p:cNvGrpSpPr/>
          <p:nvPr/>
        </p:nvGrpSpPr>
        <p:grpSpPr>
          <a:xfrm>
            <a:off x="1" y="3551410"/>
            <a:ext cx="11757022" cy="548640"/>
            <a:chOff x="1" y="3551410"/>
            <a:chExt cx="11757022" cy="548640"/>
          </a:xfrm>
        </p:grpSpPr>
        <p:sp>
          <p:nvSpPr>
            <p:cNvPr id="38" name="Rectangle 37"/>
            <p:cNvSpPr/>
            <p:nvPr/>
          </p:nvSpPr>
          <p:spPr bwMode="auto">
            <a:xfrm>
              <a:off x="1" y="3551410"/>
              <a:ext cx="3248024" cy="548640"/>
            </a:xfrm>
            <a:prstGeom prst="rect">
              <a:avLst/>
            </a:prstGeom>
            <a:solidFill>
              <a:srgbClr val="0D163D"/>
            </a:solidFill>
            <a:ln w="9525" cap="flat" cmpd="sng" algn="ctr">
              <a:noFill/>
              <a:prstDash val="solid"/>
              <a:headEnd type="none" w="med" len="med"/>
              <a:tailEnd type="none" w="med" len="med"/>
            </a:ln>
            <a:effectLst/>
          </p:spPr>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	Low latency</a:t>
              </a:r>
            </a:p>
          </p:txBody>
        </p:sp>
        <p:sp>
          <p:nvSpPr>
            <p:cNvPr id="39" name="Rectangle 38"/>
            <p:cNvSpPr/>
            <p:nvPr/>
          </p:nvSpPr>
          <p:spPr>
            <a:xfrm>
              <a:off x="3248024" y="3551410"/>
              <a:ext cx="8508999" cy="548640"/>
            </a:xfrm>
            <a:prstGeom prst="rect">
              <a:avLst/>
            </a:prstGeom>
            <a:solidFill>
              <a:srgbClr val="FFFFFF">
                <a:lumMod val="95000"/>
              </a:srgbClr>
            </a:solidFill>
          </p:spPr>
          <p:txBody>
            <a:bodyPr wrap="square" lIns="91440" anchor="ctr">
              <a:noAutofit/>
            </a:bodyPr>
            <a:lstStyle/>
            <a:p>
              <a:pPr marL="53965" marR="0" lvl="1" indent="0" defTabSz="931954" eaLnBrk="1" fontAlgn="auto" latinLnBrk="0" hangingPunct="1">
                <a:lnSpc>
                  <a:spcPct val="100000"/>
                </a:lnSpc>
                <a:spcBef>
                  <a:spcPts val="0"/>
                </a:spcBef>
                <a:spcAft>
                  <a:spcPts val="0"/>
                </a:spcAft>
                <a:buClr>
                  <a:srgbClr val="68217A">
                    <a:lumMod val="50000"/>
                  </a:srgbClr>
                </a:buClr>
                <a:buSzTx/>
                <a:buFontTx/>
                <a:buNone/>
                <a:tabLst>
                  <a:tab pos="658368" algn="l"/>
                </a:tabLst>
                <a:defRPr/>
              </a:pPr>
              <a:r>
                <a:rPr kumimoji="0" lang="en-IN" sz="14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Must have low latency for high-frequency operations.</a:t>
              </a:r>
            </a:p>
          </p:txBody>
        </p:sp>
        <p:grpSp>
          <p:nvGrpSpPr>
            <p:cNvPr id="40" name="Group 39"/>
            <p:cNvGrpSpPr/>
            <p:nvPr/>
          </p:nvGrpSpPr>
          <p:grpSpPr>
            <a:xfrm>
              <a:off x="477946" y="3687282"/>
              <a:ext cx="818673" cy="276897"/>
              <a:chOff x="1649153" y="1790700"/>
              <a:chExt cx="2811462" cy="950912"/>
            </a:xfrm>
          </p:grpSpPr>
          <p:sp>
            <p:nvSpPr>
              <p:cNvPr id="41" name="Freeform 266"/>
              <p:cNvSpPr>
                <a:spLocks/>
              </p:cNvSpPr>
              <p:nvPr/>
            </p:nvSpPr>
            <p:spPr bwMode="auto">
              <a:xfrm>
                <a:off x="2985828" y="2451100"/>
                <a:ext cx="247650" cy="238125"/>
              </a:xfrm>
              <a:custGeom>
                <a:avLst/>
                <a:gdLst>
                  <a:gd name="T0" fmla="*/ 115 w 156"/>
                  <a:gd name="T1" fmla="*/ 150 h 150"/>
                  <a:gd name="T2" fmla="*/ 0 w 156"/>
                  <a:gd name="T3" fmla="*/ 45 h 150"/>
                  <a:gd name="T4" fmla="*/ 41 w 156"/>
                  <a:gd name="T5" fmla="*/ 0 h 150"/>
                  <a:gd name="T6" fmla="*/ 156 w 156"/>
                  <a:gd name="T7" fmla="*/ 105 h 150"/>
                  <a:gd name="T8" fmla="*/ 115 w 156"/>
                  <a:gd name="T9" fmla="*/ 150 h 150"/>
                </a:gdLst>
                <a:ahLst/>
                <a:cxnLst>
                  <a:cxn ang="0">
                    <a:pos x="T0" y="T1"/>
                  </a:cxn>
                  <a:cxn ang="0">
                    <a:pos x="T2" y="T3"/>
                  </a:cxn>
                  <a:cxn ang="0">
                    <a:pos x="T4" y="T5"/>
                  </a:cxn>
                  <a:cxn ang="0">
                    <a:pos x="T6" y="T7"/>
                  </a:cxn>
                  <a:cxn ang="0">
                    <a:pos x="T8" y="T9"/>
                  </a:cxn>
                </a:cxnLst>
                <a:rect l="0" t="0" r="r" b="b"/>
                <a:pathLst>
                  <a:path w="156" h="150">
                    <a:moveTo>
                      <a:pt x="115" y="150"/>
                    </a:moveTo>
                    <a:lnTo>
                      <a:pt x="0" y="45"/>
                    </a:lnTo>
                    <a:lnTo>
                      <a:pt x="41" y="0"/>
                    </a:lnTo>
                    <a:lnTo>
                      <a:pt x="156" y="105"/>
                    </a:lnTo>
                    <a:lnTo>
                      <a:pt x="115" y="150"/>
                    </a:lnTo>
                    <a:close/>
                  </a:path>
                </a:pathLst>
              </a:custGeom>
              <a:solidFill>
                <a:srgbClr val="3F5D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 name="Freeform 267"/>
              <p:cNvSpPr>
                <a:spLocks/>
              </p:cNvSpPr>
              <p:nvPr/>
            </p:nvSpPr>
            <p:spPr bwMode="auto">
              <a:xfrm>
                <a:off x="3168390" y="2616200"/>
                <a:ext cx="125412" cy="125412"/>
              </a:xfrm>
              <a:custGeom>
                <a:avLst/>
                <a:gdLst>
                  <a:gd name="T0" fmla="*/ 28 w 94"/>
                  <a:gd name="T1" fmla="*/ 79 h 93"/>
                  <a:gd name="T2" fmla="*/ 29 w 94"/>
                  <a:gd name="T3" fmla="*/ 80 h 93"/>
                  <a:gd name="T4" fmla="*/ 80 w 94"/>
                  <a:gd name="T5" fmla="*/ 78 h 93"/>
                  <a:gd name="T6" fmla="*/ 78 w 94"/>
                  <a:gd name="T7" fmla="*/ 27 h 93"/>
                  <a:gd name="T8" fmla="*/ 77 w 94"/>
                  <a:gd name="T9" fmla="*/ 26 h 93"/>
                  <a:gd name="T10" fmla="*/ 77 w 94"/>
                  <a:gd name="T11" fmla="*/ 26 h 93"/>
                  <a:gd name="T12" fmla="*/ 49 w 94"/>
                  <a:gd name="T13" fmla="*/ 0 h 93"/>
                  <a:gd name="T14" fmla="*/ 0 w 94"/>
                  <a:gd name="T15" fmla="*/ 54 h 93"/>
                  <a:gd name="T16" fmla="*/ 28 w 94"/>
                  <a:gd name="T17" fmla="*/ 7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93">
                    <a:moveTo>
                      <a:pt x="28" y="79"/>
                    </a:moveTo>
                    <a:cubicBezTo>
                      <a:pt x="29" y="79"/>
                      <a:pt x="29" y="80"/>
                      <a:pt x="29" y="80"/>
                    </a:cubicBezTo>
                    <a:cubicBezTo>
                      <a:pt x="44" y="93"/>
                      <a:pt x="67" y="92"/>
                      <a:pt x="80" y="78"/>
                    </a:cubicBezTo>
                    <a:cubicBezTo>
                      <a:pt x="94" y="63"/>
                      <a:pt x="93" y="40"/>
                      <a:pt x="78" y="27"/>
                    </a:cubicBezTo>
                    <a:cubicBezTo>
                      <a:pt x="77" y="26"/>
                      <a:pt x="77" y="26"/>
                      <a:pt x="77" y="26"/>
                    </a:cubicBezTo>
                    <a:cubicBezTo>
                      <a:pt x="77" y="26"/>
                      <a:pt x="77" y="26"/>
                      <a:pt x="77" y="26"/>
                    </a:cubicBezTo>
                    <a:cubicBezTo>
                      <a:pt x="49" y="0"/>
                      <a:pt x="49" y="0"/>
                      <a:pt x="49" y="0"/>
                    </a:cubicBezTo>
                    <a:cubicBezTo>
                      <a:pt x="0" y="54"/>
                      <a:pt x="0" y="54"/>
                      <a:pt x="0" y="54"/>
                    </a:cubicBezTo>
                    <a:cubicBezTo>
                      <a:pt x="28" y="79"/>
                      <a:pt x="28" y="79"/>
                      <a:pt x="28" y="79"/>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 name="Freeform 268"/>
              <p:cNvSpPr>
                <a:spLocks/>
              </p:cNvSpPr>
              <p:nvPr/>
            </p:nvSpPr>
            <p:spPr bwMode="auto">
              <a:xfrm>
                <a:off x="3258878" y="2451100"/>
                <a:ext cx="247650" cy="238125"/>
              </a:xfrm>
              <a:custGeom>
                <a:avLst/>
                <a:gdLst>
                  <a:gd name="T0" fmla="*/ 41 w 156"/>
                  <a:gd name="T1" fmla="*/ 150 h 150"/>
                  <a:gd name="T2" fmla="*/ 156 w 156"/>
                  <a:gd name="T3" fmla="*/ 45 h 150"/>
                  <a:gd name="T4" fmla="*/ 114 w 156"/>
                  <a:gd name="T5" fmla="*/ 0 h 150"/>
                  <a:gd name="T6" fmla="*/ 0 w 156"/>
                  <a:gd name="T7" fmla="*/ 105 h 150"/>
                  <a:gd name="T8" fmla="*/ 41 w 156"/>
                  <a:gd name="T9" fmla="*/ 150 h 150"/>
                </a:gdLst>
                <a:ahLst/>
                <a:cxnLst>
                  <a:cxn ang="0">
                    <a:pos x="T0" y="T1"/>
                  </a:cxn>
                  <a:cxn ang="0">
                    <a:pos x="T2" y="T3"/>
                  </a:cxn>
                  <a:cxn ang="0">
                    <a:pos x="T4" y="T5"/>
                  </a:cxn>
                  <a:cxn ang="0">
                    <a:pos x="T6" y="T7"/>
                  </a:cxn>
                  <a:cxn ang="0">
                    <a:pos x="T8" y="T9"/>
                  </a:cxn>
                </a:cxnLst>
                <a:rect l="0" t="0" r="r" b="b"/>
                <a:pathLst>
                  <a:path w="156" h="150">
                    <a:moveTo>
                      <a:pt x="41" y="150"/>
                    </a:moveTo>
                    <a:lnTo>
                      <a:pt x="156" y="45"/>
                    </a:lnTo>
                    <a:lnTo>
                      <a:pt x="114" y="0"/>
                    </a:lnTo>
                    <a:lnTo>
                      <a:pt x="0" y="105"/>
                    </a:lnTo>
                    <a:lnTo>
                      <a:pt x="41" y="150"/>
                    </a:lnTo>
                    <a:close/>
                  </a:path>
                </a:pathLst>
              </a:custGeom>
              <a:solidFill>
                <a:srgbClr val="3F5D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 name="Freeform 269"/>
              <p:cNvSpPr>
                <a:spLocks/>
              </p:cNvSpPr>
              <p:nvPr/>
            </p:nvSpPr>
            <p:spPr bwMode="auto">
              <a:xfrm>
                <a:off x="3258878" y="2451100"/>
                <a:ext cx="247650" cy="238125"/>
              </a:xfrm>
              <a:custGeom>
                <a:avLst/>
                <a:gdLst>
                  <a:gd name="T0" fmla="*/ 41 w 156"/>
                  <a:gd name="T1" fmla="*/ 150 h 150"/>
                  <a:gd name="T2" fmla="*/ 156 w 156"/>
                  <a:gd name="T3" fmla="*/ 45 h 150"/>
                  <a:gd name="T4" fmla="*/ 114 w 156"/>
                  <a:gd name="T5" fmla="*/ 0 h 150"/>
                  <a:gd name="T6" fmla="*/ 0 w 156"/>
                  <a:gd name="T7" fmla="*/ 105 h 150"/>
                  <a:gd name="T8" fmla="*/ 41 w 156"/>
                  <a:gd name="T9" fmla="*/ 150 h 150"/>
                </a:gdLst>
                <a:ahLst/>
                <a:cxnLst>
                  <a:cxn ang="0">
                    <a:pos x="T0" y="T1"/>
                  </a:cxn>
                  <a:cxn ang="0">
                    <a:pos x="T2" y="T3"/>
                  </a:cxn>
                  <a:cxn ang="0">
                    <a:pos x="T4" y="T5"/>
                  </a:cxn>
                  <a:cxn ang="0">
                    <a:pos x="T6" y="T7"/>
                  </a:cxn>
                  <a:cxn ang="0">
                    <a:pos x="T8" y="T9"/>
                  </a:cxn>
                </a:cxnLst>
                <a:rect l="0" t="0" r="r" b="b"/>
                <a:pathLst>
                  <a:path w="156" h="150">
                    <a:moveTo>
                      <a:pt x="41" y="150"/>
                    </a:moveTo>
                    <a:lnTo>
                      <a:pt x="156" y="45"/>
                    </a:lnTo>
                    <a:lnTo>
                      <a:pt x="114" y="0"/>
                    </a:lnTo>
                    <a:lnTo>
                      <a:pt x="0" y="105"/>
                    </a:lnTo>
                    <a:lnTo>
                      <a:pt x="41"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 name="Freeform 270"/>
              <p:cNvSpPr>
                <a:spLocks/>
              </p:cNvSpPr>
              <p:nvPr/>
            </p:nvSpPr>
            <p:spPr bwMode="auto">
              <a:xfrm>
                <a:off x="3198553" y="2616200"/>
                <a:ext cx="125412" cy="125412"/>
              </a:xfrm>
              <a:custGeom>
                <a:avLst/>
                <a:gdLst>
                  <a:gd name="T0" fmla="*/ 65 w 93"/>
                  <a:gd name="T1" fmla="*/ 79 h 93"/>
                  <a:gd name="T2" fmla="*/ 64 w 93"/>
                  <a:gd name="T3" fmla="*/ 80 h 93"/>
                  <a:gd name="T4" fmla="*/ 13 w 93"/>
                  <a:gd name="T5" fmla="*/ 78 h 93"/>
                  <a:gd name="T6" fmla="*/ 16 w 93"/>
                  <a:gd name="T7" fmla="*/ 27 h 93"/>
                  <a:gd name="T8" fmla="*/ 17 w 93"/>
                  <a:gd name="T9" fmla="*/ 26 h 93"/>
                  <a:gd name="T10" fmla="*/ 17 w 93"/>
                  <a:gd name="T11" fmla="*/ 26 h 93"/>
                  <a:gd name="T12" fmla="*/ 45 w 93"/>
                  <a:gd name="T13" fmla="*/ 0 h 93"/>
                  <a:gd name="T14" fmla="*/ 93 w 93"/>
                  <a:gd name="T15" fmla="*/ 54 h 93"/>
                  <a:gd name="T16" fmla="*/ 65 w 93"/>
                  <a:gd name="T17" fmla="*/ 7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93">
                    <a:moveTo>
                      <a:pt x="65" y="79"/>
                    </a:moveTo>
                    <a:cubicBezTo>
                      <a:pt x="65" y="79"/>
                      <a:pt x="65" y="80"/>
                      <a:pt x="64" y="80"/>
                    </a:cubicBezTo>
                    <a:cubicBezTo>
                      <a:pt x="49" y="93"/>
                      <a:pt x="26" y="92"/>
                      <a:pt x="13" y="78"/>
                    </a:cubicBezTo>
                    <a:cubicBezTo>
                      <a:pt x="0" y="63"/>
                      <a:pt x="1" y="40"/>
                      <a:pt x="16" y="27"/>
                    </a:cubicBezTo>
                    <a:cubicBezTo>
                      <a:pt x="16" y="26"/>
                      <a:pt x="17" y="26"/>
                      <a:pt x="17" y="26"/>
                    </a:cubicBezTo>
                    <a:cubicBezTo>
                      <a:pt x="17" y="26"/>
                      <a:pt x="17" y="26"/>
                      <a:pt x="17" y="26"/>
                    </a:cubicBezTo>
                    <a:cubicBezTo>
                      <a:pt x="45" y="0"/>
                      <a:pt x="45" y="0"/>
                      <a:pt x="45" y="0"/>
                    </a:cubicBezTo>
                    <a:cubicBezTo>
                      <a:pt x="93" y="54"/>
                      <a:pt x="93" y="54"/>
                      <a:pt x="93" y="54"/>
                    </a:cubicBezTo>
                    <a:cubicBezTo>
                      <a:pt x="65" y="79"/>
                      <a:pt x="65" y="79"/>
                      <a:pt x="65" y="79"/>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 name="Freeform 283"/>
              <p:cNvSpPr>
                <a:spLocks/>
              </p:cNvSpPr>
              <p:nvPr/>
            </p:nvSpPr>
            <p:spPr bwMode="auto">
              <a:xfrm>
                <a:off x="3509703" y="1898650"/>
                <a:ext cx="950912" cy="774700"/>
              </a:xfrm>
              <a:custGeom>
                <a:avLst/>
                <a:gdLst>
                  <a:gd name="T0" fmla="*/ 0 w 707"/>
                  <a:gd name="T1" fmla="*/ 36 h 576"/>
                  <a:gd name="T2" fmla="*/ 0 w 707"/>
                  <a:gd name="T3" fmla="*/ 540 h 576"/>
                  <a:gd name="T4" fmla="*/ 36 w 707"/>
                  <a:gd name="T5" fmla="*/ 576 h 576"/>
                  <a:gd name="T6" fmla="*/ 671 w 707"/>
                  <a:gd name="T7" fmla="*/ 576 h 576"/>
                  <a:gd name="T8" fmla="*/ 707 w 707"/>
                  <a:gd name="T9" fmla="*/ 540 h 576"/>
                  <a:gd name="T10" fmla="*/ 707 w 707"/>
                  <a:gd name="T11" fmla="*/ 36 h 576"/>
                  <a:gd name="T12" fmla="*/ 671 w 707"/>
                  <a:gd name="T13" fmla="*/ 0 h 576"/>
                  <a:gd name="T14" fmla="*/ 36 w 707"/>
                  <a:gd name="T15" fmla="*/ 0 h 576"/>
                  <a:gd name="T16" fmla="*/ 0 w 707"/>
                  <a:gd name="T17" fmla="*/ 3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7" h="576">
                    <a:moveTo>
                      <a:pt x="0" y="36"/>
                    </a:moveTo>
                    <a:cubicBezTo>
                      <a:pt x="0" y="540"/>
                      <a:pt x="0" y="540"/>
                      <a:pt x="0" y="540"/>
                    </a:cubicBezTo>
                    <a:cubicBezTo>
                      <a:pt x="0" y="540"/>
                      <a:pt x="0" y="576"/>
                      <a:pt x="36" y="576"/>
                    </a:cubicBezTo>
                    <a:cubicBezTo>
                      <a:pt x="671" y="576"/>
                      <a:pt x="671" y="576"/>
                      <a:pt x="671" y="576"/>
                    </a:cubicBezTo>
                    <a:cubicBezTo>
                      <a:pt x="671" y="576"/>
                      <a:pt x="707" y="576"/>
                      <a:pt x="707" y="540"/>
                    </a:cubicBezTo>
                    <a:cubicBezTo>
                      <a:pt x="707" y="36"/>
                      <a:pt x="707" y="36"/>
                      <a:pt x="707" y="36"/>
                    </a:cubicBezTo>
                    <a:cubicBezTo>
                      <a:pt x="707" y="36"/>
                      <a:pt x="707" y="0"/>
                      <a:pt x="671" y="0"/>
                    </a:cubicBezTo>
                    <a:cubicBezTo>
                      <a:pt x="36" y="0"/>
                      <a:pt x="36" y="0"/>
                      <a:pt x="36" y="0"/>
                    </a:cubicBezTo>
                    <a:cubicBezTo>
                      <a:pt x="36" y="0"/>
                      <a:pt x="0" y="0"/>
                      <a:pt x="0" y="36"/>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 name="Freeform 284"/>
              <p:cNvSpPr>
                <a:spLocks/>
              </p:cNvSpPr>
              <p:nvPr/>
            </p:nvSpPr>
            <p:spPr bwMode="auto">
              <a:xfrm>
                <a:off x="1649153" y="1790700"/>
                <a:ext cx="1441450" cy="842962"/>
              </a:xfrm>
              <a:custGeom>
                <a:avLst/>
                <a:gdLst>
                  <a:gd name="T0" fmla="*/ 941 w 1073"/>
                  <a:gd name="T1" fmla="*/ 337 h 628"/>
                  <a:gd name="T2" fmla="*/ 948 w 1073"/>
                  <a:gd name="T3" fmla="*/ 292 h 628"/>
                  <a:gd name="T4" fmla="*/ 802 w 1073"/>
                  <a:gd name="T5" fmla="*/ 146 h 628"/>
                  <a:gd name="T6" fmla="*/ 761 w 1073"/>
                  <a:gd name="T7" fmla="*/ 152 h 628"/>
                  <a:gd name="T8" fmla="*/ 545 w 1073"/>
                  <a:gd name="T9" fmla="*/ 0 h 628"/>
                  <a:gd name="T10" fmla="*/ 317 w 1073"/>
                  <a:gd name="T11" fmla="*/ 200 h 628"/>
                  <a:gd name="T12" fmla="*/ 256 w 1073"/>
                  <a:gd name="T13" fmla="*/ 188 h 628"/>
                  <a:gd name="T14" fmla="*/ 95 w 1073"/>
                  <a:gd name="T15" fmla="*/ 349 h 628"/>
                  <a:gd name="T16" fmla="*/ 102 w 1073"/>
                  <a:gd name="T17" fmla="*/ 392 h 628"/>
                  <a:gd name="T18" fmla="*/ 0 w 1073"/>
                  <a:gd name="T19" fmla="*/ 509 h 628"/>
                  <a:gd name="T20" fmla="*/ 112 w 1073"/>
                  <a:gd name="T21" fmla="*/ 628 h 628"/>
                  <a:gd name="T22" fmla="*/ 112 w 1073"/>
                  <a:gd name="T23" fmla="*/ 628 h 628"/>
                  <a:gd name="T24" fmla="*/ 926 w 1073"/>
                  <a:gd name="T25" fmla="*/ 628 h 628"/>
                  <a:gd name="T26" fmla="*/ 1073 w 1073"/>
                  <a:gd name="T27" fmla="*/ 482 h 628"/>
                  <a:gd name="T28" fmla="*/ 941 w 1073"/>
                  <a:gd name="T29" fmla="*/ 337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3" h="628">
                    <a:moveTo>
                      <a:pt x="941" y="337"/>
                    </a:moveTo>
                    <a:cubicBezTo>
                      <a:pt x="945" y="322"/>
                      <a:pt x="948" y="308"/>
                      <a:pt x="948" y="292"/>
                    </a:cubicBezTo>
                    <a:cubicBezTo>
                      <a:pt x="948" y="211"/>
                      <a:pt x="883" y="146"/>
                      <a:pt x="802" y="146"/>
                    </a:cubicBezTo>
                    <a:cubicBezTo>
                      <a:pt x="788" y="146"/>
                      <a:pt x="774" y="148"/>
                      <a:pt x="761" y="152"/>
                    </a:cubicBezTo>
                    <a:cubicBezTo>
                      <a:pt x="729" y="63"/>
                      <a:pt x="645" y="0"/>
                      <a:pt x="545" y="0"/>
                    </a:cubicBezTo>
                    <a:cubicBezTo>
                      <a:pt x="428" y="0"/>
                      <a:pt x="332" y="87"/>
                      <a:pt x="317" y="200"/>
                    </a:cubicBezTo>
                    <a:cubicBezTo>
                      <a:pt x="298" y="193"/>
                      <a:pt x="278" y="188"/>
                      <a:pt x="256" y="188"/>
                    </a:cubicBezTo>
                    <a:cubicBezTo>
                      <a:pt x="167" y="188"/>
                      <a:pt x="95" y="260"/>
                      <a:pt x="95" y="349"/>
                    </a:cubicBezTo>
                    <a:cubicBezTo>
                      <a:pt x="95" y="364"/>
                      <a:pt x="98" y="378"/>
                      <a:pt x="102" y="392"/>
                    </a:cubicBezTo>
                    <a:cubicBezTo>
                      <a:pt x="44" y="400"/>
                      <a:pt x="0" y="449"/>
                      <a:pt x="0" y="509"/>
                    </a:cubicBezTo>
                    <a:cubicBezTo>
                      <a:pt x="0" y="573"/>
                      <a:pt x="49" y="624"/>
                      <a:pt x="112" y="628"/>
                    </a:cubicBezTo>
                    <a:cubicBezTo>
                      <a:pt x="112" y="628"/>
                      <a:pt x="112" y="628"/>
                      <a:pt x="112" y="628"/>
                    </a:cubicBezTo>
                    <a:cubicBezTo>
                      <a:pt x="926" y="628"/>
                      <a:pt x="926" y="628"/>
                      <a:pt x="926" y="628"/>
                    </a:cubicBezTo>
                    <a:cubicBezTo>
                      <a:pt x="1007" y="628"/>
                      <a:pt x="1073" y="563"/>
                      <a:pt x="1073" y="482"/>
                    </a:cubicBezTo>
                    <a:cubicBezTo>
                      <a:pt x="1073" y="406"/>
                      <a:pt x="1015" y="344"/>
                      <a:pt x="941" y="33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 name="Freeform 285"/>
              <p:cNvSpPr>
                <a:spLocks/>
              </p:cNvSpPr>
              <p:nvPr/>
            </p:nvSpPr>
            <p:spPr bwMode="auto">
              <a:xfrm>
                <a:off x="1649153" y="2043113"/>
                <a:ext cx="998537" cy="590550"/>
              </a:xfrm>
              <a:custGeom>
                <a:avLst/>
                <a:gdLst>
                  <a:gd name="T0" fmla="*/ 256 w 743"/>
                  <a:gd name="T1" fmla="*/ 0 h 440"/>
                  <a:gd name="T2" fmla="*/ 95 w 743"/>
                  <a:gd name="T3" fmla="*/ 161 h 440"/>
                  <a:gd name="T4" fmla="*/ 102 w 743"/>
                  <a:gd name="T5" fmla="*/ 204 h 440"/>
                  <a:gd name="T6" fmla="*/ 102 w 743"/>
                  <a:gd name="T7" fmla="*/ 204 h 440"/>
                  <a:gd name="T8" fmla="*/ 102 w 743"/>
                  <a:gd name="T9" fmla="*/ 204 h 440"/>
                  <a:gd name="T10" fmla="*/ 0 w 743"/>
                  <a:gd name="T11" fmla="*/ 321 h 440"/>
                  <a:gd name="T12" fmla="*/ 112 w 743"/>
                  <a:gd name="T13" fmla="*/ 440 h 440"/>
                  <a:gd name="T14" fmla="*/ 112 w 743"/>
                  <a:gd name="T15" fmla="*/ 440 h 440"/>
                  <a:gd name="T16" fmla="*/ 743 w 743"/>
                  <a:gd name="T17" fmla="*/ 440 h 440"/>
                  <a:gd name="T18" fmla="*/ 314 w 743"/>
                  <a:gd name="T19" fmla="*/ 12 h 440"/>
                  <a:gd name="T20" fmla="*/ 256 w 743"/>
                  <a:gd name="T21" fmla="*/ 0 h 440"/>
                  <a:gd name="T22" fmla="*/ 256 w 743"/>
                  <a:gd name="T23" fmla="*/ 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3" h="440">
                    <a:moveTo>
                      <a:pt x="256" y="0"/>
                    </a:moveTo>
                    <a:cubicBezTo>
                      <a:pt x="167" y="0"/>
                      <a:pt x="95" y="72"/>
                      <a:pt x="95" y="161"/>
                    </a:cubicBezTo>
                    <a:cubicBezTo>
                      <a:pt x="95" y="176"/>
                      <a:pt x="98" y="190"/>
                      <a:pt x="102" y="204"/>
                    </a:cubicBezTo>
                    <a:cubicBezTo>
                      <a:pt x="102" y="204"/>
                      <a:pt x="102" y="204"/>
                      <a:pt x="102" y="204"/>
                    </a:cubicBezTo>
                    <a:cubicBezTo>
                      <a:pt x="102" y="204"/>
                      <a:pt x="102" y="204"/>
                      <a:pt x="102" y="204"/>
                    </a:cubicBezTo>
                    <a:cubicBezTo>
                      <a:pt x="44" y="212"/>
                      <a:pt x="0" y="261"/>
                      <a:pt x="0" y="321"/>
                    </a:cubicBezTo>
                    <a:cubicBezTo>
                      <a:pt x="0" y="385"/>
                      <a:pt x="49" y="436"/>
                      <a:pt x="112" y="440"/>
                    </a:cubicBezTo>
                    <a:cubicBezTo>
                      <a:pt x="112" y="440"/>
                      <a:pt x="112" y="440"/>
                      <a:pt x="112" y="440"/>
                    </a:cubicBezTo>
                    <a:cubicBezTo>
                      <a:pt x="743" y="440"/>
                      <a:pt x="743" y="440"/>
                      <a:pt x="743" y="440"/>
                    </a:cubicBezTo>
                    <a:cubicBezTo>
                      <a:pt x="314" y="12"/>
                      <a:pt x="314" y="12"/>
                      <a:pt x="314" y="12"/>
                    </a:cubicBezTo>
                    <a:cubicBezTo>
                      <a:pt x="296" y="5"/>
                      <a:pt x="277" y="0"/>
                      <a:pt x="256" y="0"/>
                    </a:cubicBezTo>
                    <a:cubicBezTo>
                      <a:pt x="256" y="0"/>
                      <a:pt x="256" y="0"/>
                      <a:pt x="256"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 name="Freeform 286"/>
              <p:cNvSpPr>
                <a:spLocks/>
              </p:cNvSpPr>
              <p:nvPr/>
            </p:nvSpPr>
            <p:spPr bwMode="auto">
              <a:xfrm>
                <a:off x="3444615" y="1898650"/>
                <a:ext cx="968375" cy="774700"/>
              </a:xfrm>
              <a:custGeom>
                <a:avLst/>
                <a:gdLst>
                  <a:gd name="T0" fmla="*/ 0 w 720"/>
                  <a:gd name="T1" fmla="*/ 36 h 576"/>
                  <a:gd name="T2" fmla="*/ 0 w 720"/>
                  <a:gd name="T3" fmla="*/ 540 h 576"/>
                  <a:gd name="T4" fmla="*/ 36 w 720"/>
                  <a:gd name="T5" fmla="*/ 576 h 576"/>
                  <a:gd name="T6" fmla="*/ 684 w 720"/>
                  <a:gd name="T7" fmla="*/ 576 h 576"/>
                  <a:gd name="T8" fmla="*/ 720 w 720"/>
                  <a:gd name="T9" fmla="*/ 540 h 576"/>
                  <a:gd name="T10" fmla="*/ 720 w 720"/>
                  <a:gd name="T11" fmla="*/ 36 h 576"/>
                  <a:gd name="T12" fmla="*/ 684 w 720"/>
                  <a:gd name="T13" fmla="*/ 0 h 576"/>
                  <a:gd name="T14" fmla="*/ 36 w 720"/>
                  <a:gd name="T15" fmla="*/ 0 h 576"/>
                  <a:gd name="T16" fmla="*/ 0 w 720"/>
                  <a:gd name="T17" fmla="*/ 3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0" h="576">
                    <a:moveTo>
                      <a:pt x="0" y="36"/>
                    </a:moveTo>
                    <a:cubicBezTo>
                      <a:pt x="0" y="540"/>
                      <a:pt x="0" y="540"/>
                      <a:pt x="0" y="540"/>
                    </a:cubicBezTo>
                    <a:cubicBezTo>
                      <a:pt x="0" y="540"/>
                      <a:pt x="0" y="576"/>
                      <a:pt x="36" y="576"/>
                    </a:cubicBezTo>
                    <a:cubicBezTo>
                      <a:pt x="684" y="576"/>
                      <a:pt x="684" y="576"/>
                      <a:pt x="684" y="576"/>
                    </a:cubicBezTo>
                    <a:cubicBezTo>
                      <a:pt x="684" y="576"/>
                      <a:pt x="720" y="576"/>
                      <a:pt x="720" y="540"/>
                    </a:cubicBezTo>
                    <a:cubicBezTo>
                      <a:pt x="720" y="36"/>
                      <a:pt x="720" y="36"/>
                      <a:pt x="720" y="36"/>
                    </a:cubicBezTo>
                    <a:cubicBezTo>
                      <a:pt x="720" y="36"/>
                      <a:pt x="720" y="0"/>
                      <a:pt x="684" y="0"/>
                    </a:cubicBezTo>
                    <a:cubicBezTo>
                      <a:pt x="36" y="0"/>
                      <a:pt x="36" y="0"/>
                      <a:pt x="36" y="0"/>
                    </a:cubicBezTo>
                    <a:cubicBezTo>
                      <a:pt x="36" y="0"/>
                      <a:pt x="0" y="0"/>
                      <a:pt x="0" y="36"/>
                    </a:cubicBezTo>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 name="Rectangle 287"/>
              <p:cNvSpPr>
                <a:spLocks noChangeArrowheads="1"/>
              </p:cNvSpPr>
              <p:nvPr/>
            </p:nvSpPr>
            <p:spPr bwMode="auto">
              <a:xfrm>
                <a:off x="3492240" y="1947863"/>
                <a:ext cx="871537" cy="57943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 name="Rectangle 288"/>
              <p:cNvSpPr>
                <a:spLocks noChangeArrowheads="1"/>
              </p:cNvSpPr>
              <p:nvPr/>
            </p:nvSpPr>
            <p:spPr bwMode="auto">
              <a:xfrm>
                <a:off x="3492240" y="1947863"/>
                <a:ext cx="871537"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 name="Freeform 289"/>
              <p:cNvSpPr>
                <a:spLocks/>
              </p:cNvSpPr>
              <p:nvPr/>
            </p:nvSpPr>
            <p:spPr bwMode="auto">
              <a:xfrm>
                <a:off x="4363778" y="2576513"/>
                <a:ext cx="49212" cy="96837"/>
              </a:xfrm>
              <a:custGeom>
                <a:avLst/>
                <a:gdLst>
                  <a:gd name="T0" fmla="*/ 36 w 36"/>
                  <a:gd name="T1" fmla="*/ 0 h 72"/>
                  <a:gd name="T2" fmla="*/ 36 w 36"/>
                  <a:gd name="T3" fmla="*/ 36 h 72"/>
                  <a:gd name="T4" fmla="*/ 0 w 36"/>
                  <a:gd name="T5" fmla="*/ 72 h 72"/>
                  <a:gd name="T6" fmla="*/ 0 w 36"/>
                  <a:gd name="T7" fmla="*/ 72 h 72"/>
                  <a:gd name="T8" fmla="*/ 36 w 36"/>
                  <a:gd name="T9" fmla="*/ 36 h 72"/>
                  <a:gd name="T10" fmla="*/ 36 w 36"/>
                  <a:gd name="T11" fmla="*/ 0 h 72"/>
                  <a:gd name="T12" fmla="*/ 36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0"/>
                    </a:moveTo>
                    <a:cubicBezTo>
                      <a:pt x="36" y="36"/>
                      <a:pt x="36" y="36"/>
                      <a:pt x="36" y="36"/>
                    </a:cubicBezTo>
                    <a:cubicBezTo>
                      <a:pt x="36" y="72"/>
                      <a:pt x="0" y="72"/>
                      <a:pt x="0" y="72"/>
                    </a:cubicBezTo>
                    <a:cubicBezTo>
                      <a:pt x="0" y="72"/>
                      <a:pt x="0" y="72"/>
                      <a:pt x="0" y="72"/>
                    </a:cubicBezTo>
                    <a:cubicBezTo>
                      <a:pt x="0" y="72"/>
                      <a:pt x="36" y="72"/>
                      <a:pt x="36" y="36"/>
                    </a:cubicBezTo>
                    <a:cubicBezTo>
                      <a:pt x="36" y="0"/>
                      <a:pt x="36" y="0"/>
                      <a:pt x="36" y="0"/>
                    </a:cubicBezTo>
                    <a:cubicBezTo>
                      <a:pt x="36" y="0"/>
                      <a:pt x="36" y="0"/>
                      <a:pt x="36"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 name="Freeform 290"/>
              <p:cNvSpPr>
                <a:spLocks/>
              </p:cNvSpPr>
              <p:nvPr/>
            </p:nvSpPr>
            <p:spPr bwMode="auto">
              <a:xfrm>
                <a:off x="3444615" y="1995488"/>
                <a:ext cx="968375" cy="677862"/>
              </a:xfrm>
              <a:custGeom>
                <a:avLst/>
                <a:gdLst>
                  <a:gd name="T0" fmla="*/ 0 w 720"/>
                  <a:gd name="T1" fmla="*/ 0 h 504"/>
                  <a:gd name="T2" fmla="*/ 0 w 720"/>
                  <a:gd name="T3" fmla="*/ 468 h 504"/>
                  <a:gd name="T4" fmla="*/ 36 w 720"/>
                  <a:gd name="T5" fmla="*/ 504 h 504"/>
                  <a:gd name="T6" fmla="*/ 684 w 720"/>
                  <a:gd name="T7" fmla="*/ 504 h 504"/>
                  <a:gd name="T8" fmla="*/ 720 w 720"/>
                  <a:gd name="T9" fmla="*/ 468 h 504"/>
                  <a:gd name="T10" fmla="*/ 720 w 720"/>
                  <a:gd name="T11" fmla="*/ 432 h 504"/>
                  <a:gd name="T12" fmla="*/ 660 w 720"/>
                  <a:gd name="T13" fmla="*/ 396 h 504"/>
                  <a:gd name="T14" fmla="*/ 36 w 720"/>
                  <a:gd name="T15" fmla="*/ 396 h 504"/>
                  <a:gd name="T16" fmla="*/ 36 w 720"/>
                  <a:gd name="T17" fmla="*/ 21 h 504"/>
                  <a:gd name="T18" fmla="*/ 0 w 720"/>
                  <a:gd name="T19"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0" h="504">
                    <a:moveTo>
                      <a:pt x="0" y="0"/>
                    </a:moveTo>
                    <a:cubicBezTo>
                      <a:pt x="0" y="468"/>
                      <a:pt x="0" y="468"/>
                      <a:pt x="0" y="468"/>
                    </a:cubicBezTo>
                    <a:cubicBezTo>
                      <a:pt x="0" y="468"/>
                      <a:pt x="0" y="504"/>
                      <a:pt x="36" y="504"/>
                    </a:cubicBezTo>
                    <a:cubicBezTo>
                      <a:pt x="684" y="504"/>
                      <a:pt x="684" y="504"/>
                      <a:pt x="684" y="504"/>
                    </a:cubicBezTo>
                    <a:cubicBezTo>
                      <a:pt x="684" y="504"/>
                      <a:pt x="720" y="504"/>
                      <a:pt x="720" y="468"/>
                    </a:cubicBezTo>
                    <a:cubicBezTo>
                      <a:pt x="720" y="432"/>
                      <a:pt x="720" y="432"/>
                      <a:pt x="720" y="432"/>
                    </a:cubicBezTo>
                    <a:cubicBezTo>
                      <a:pt x="660" y="396"/>
                      <a:pt x="660" y="396"/>
                      <a:pt x="660" y="396"/>
                    </a:cubicBezTo>
                    <a:cubicBezTo>
                      <a:pt x="36" y="396"/>
                      <a:pt x="36" y="396"/>
                      <a:pt x="36" y="396"/>
                    </a:cubicBezTo>
                    <a:cubicBezTo>
                      <a:pt x="36" y="21"/>
                      <a:pt x="36" y="21"/>
                      <a:pt x="36" y="21"/>
                    </a:cubicBezTo>
                    <a:cubicBezTo>
                      <a:pt x="0" y="0"/>
                      <a:pt x="0" y="0"/>
                      <a:pt x="0" y="0"/>
                    </a:cubicBezTo>
                  </a:path>
                </a:pathLst>
              </a:custGeom>
              <a:solidFill>
                <a:srgbClr val="5DA5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 name="Freeform 291"/>
              <p:cNvSpPr>
                <a:spLocks/>
              </p:cNvSpPr>
              <p:nvPr/>
            </p:nvSpPr>
            <p:spPr bwMode="auto">
              <a:xfrm>
                <a:off x="3492240" y="2024063"/>
                <a:ext cx="839787" cy="503237"/>
              </a:xfrm>
              <a:custGeom>
                <a:avLst/>
                <a:gdLst>
                  <a:gd name="T0" fmla="*/ 0 w 529"/>
                  <a:gd name="T1" fmla="*/ 0 h 317"/>
                  <a:gd name="T2" fmla="*/ 0 w 529"/>
                  <a:gd name="T3" fmla="*/ 317 h 317"/>
                  <a:gd name="T4" fmla="*/ 529 w 529"/>
                  <a:gd name="T5" fmla="*/ 317 h 317"/>
                  <a:gd name="T6" fmla="*/ 0 w 529"/>
                  <a:gd name="T7" fmla="*/ 0 h 317"/>
                </a:gdLst>
                <a:ahLst/>
                <a:cxnLst>
                  <a:cxn ang="0">
                    <a:pos x="T0" y="T1"/>
                  </a:cxn>
                  <a:cxn ang="0">
                    <a:pos x="T2" y="T3"/>
                  </a:cxn>
                  <a:cxn ang="0">
                    <a:pos x="T4" y="T5"/>
                  </a:cxn>
                  <a:cxn ang="0">
                    <a:pos x="T6" y="T7"/>
                  </a:cxn>
                </a:cxnLst>
                <a:rect l="0" t="0" r="r" b="b"/>
                <a:pathLst>
                  <a:path w="529" h="317">
                    <a:moveTo>
                      <a:pt x="0" y="0"/>
                    </a:moveTo>
                    <a:lnTo>
                      <a:pt x="0" y="317"/>
                    </a:lnTo>
                    <a:lnTo>
                      <a:pt x="529" y="317"/>
                    </a:lnTo>
                    <a:lnTo>
                      <a:pt x="0" y="0"/>
                    </a:lnTo>
                    <a:close/>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 name="Freeform 292"/>
              <p:cNvSpPr>
                <a:spLocks/>
              </p:cNvSpPr>
              <p:nvPr/>
            </p:nvSpPr>
            <p:spPr bwMode="auto">
              <a:xfrm>
                <a:off x="3492240" y="2024063"/>
                <a:ext cx="839787" cy="503237"/>
              </a:xfrm>
              <a:custGeom>
                <a:avLst/>
                <a:gdLst>
                  <a:gd name="T0" fmla="*/ 0 w 529"/>
                  <a:gd name="T1" fmla="*/ 0 h 317"/>
                  <a:gd name="T2" fmla="*/ 0 w 529"/>
                  <a:gd name="T3" fmla="*/ 317 h 317"/>
                  <a:gd name="T4" fmla="*/ 529 w 529"/>
                  <a:gd name="T5" fmla="*/ 317 h 317"/>
                  <a:gd name="T6" fmla="*/ 0 w 529"/>
                  <a:gd name="T7" fmla="*/ 0 h 317"/>
                </a:gdLst>
                <a:ahLst/>
                <a:cxnLst>
                  <a:cxn ang="0">
                    <a:pos x="T0" y="T1"/>
                  </a:cxn>
                  <a:cxn ang="0">
                    <a:pos x="T2" y="T3"/>
                  </a:cxn>
                  <a:cxn ang="0">
                    <a:pos x="T4" y="T5"/>
                  </a:cxn>
                  <a:cxn ang="0">
                    <a:pos x="T6" y="T7"/>
                  </a:cxn>
                </a:cxnLst>
                <a:rect l="0" t="0" r="r" b="b"/>
                <a:pathLst>
                  <a:path w="529" h="317">
                    <a:moveTo>
                      <a:pt x="0" y="0"/>
                    </a:moveTo>
                    <a:lnTo>
                      <a:pt x="0" y="317"/>
                    </a:lnTo>
                    <a:lnTo>
                      <a:pt x="529" y="31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56" name="Group 55"/>
          <p:cNvGrpSpPr/>
          <p:nvPr/>
        </p:nvGrpSpPr>
        <p:grpSpPr>
          <a:xfrm>
            <a:off x="1" y="5828285"/>
            <a:ext cx="11757022" cy="548640"/>
            <a:chOff x="1" y="5828285"/>
            <a:chExt cx="11757022" cy="548640"/>
          </a:xfrm>
        </p:grpSpPr>
        <p:sp>
          <p:nvSpPr>
            <p:cNvPr id="57" name="Rectangle 56"/>
            <p:cNvSpPr/>
            <p:nvPr/>
          </p:nvSpPr>
          <p:spPr>
            <a:xfrm>
              <a:off x="3248024" y="5828285"/>
              <a:ext cx="8508999" cy="548640"/>
            </a:xfrm>
            <a:prstGeom prst="rect">
              <a:avLst/>
            </a:prstGeom>
            <a:solidFill>
              <a:srgbClr val="FFFFFF">
                <a:lumMod val="95000"/>
              </a:srgbClr>
            </a:solidFill>
          </p:spPr>
          <p:txBody>
            <a:bodyPr wrap="square" lIns="91440" anchor="ctr">
              <a:noAutofit/>
            </a:bodyPr>
            <a:lstStyle/>
            <a:p>
              <a:pPr marL="53965" marR="0" lvl="1" indent="0" defTabSz="931954" eaLnBrk="1" fontAlgn="auto" latinLnBrk="0" hangingPunct="1">
                <a:lnSpc>
                  <a:spcPct val="100000"/>
                </a:lnSpc>
                <a:spcBef>
                  <a:spcPts val="0"/>
                </a:spcBef>
                <a:spcAft>
                  <a:spcPts val="0"/>
                </a:spcAft>
                <a:buClr>
                  <a:srgbClr val="68217A">
                    <a:lumMod val="50000"/>
                  </a:srgbClr>
                </a:buClr>
                <a:buSzTx/>
                <a:buFontTx/>
                <a:buNone/>
                <a:tabLst>
                  <a:tab pos="658368" algn="l"/>
                </a:tabLst>
                <a:defRPr/>
              </a:pPr>
              <a:r>
                <a:rPr kumimoji="0" lang="en-IN" sz="14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Must support multiple analytic frameworks—Batch, Real-time, Streaming, ML etc. </a:t>
              </a:r>
              <a:br>
                <a:rPr kumimoji="0" lang="en-IN" sz="14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br>
              <a:r>
                <a:rPr kumimoji="0" lang="en-IN" sz="14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No one analytic framework can work for all data and all types of analysis.</a:t>
              </a:r>
            </a:p>
          </p:txBody>
        </p:sp>
        <p:sp>
          <p:nvSpPr>
            <p:cNvPr id="58" name="Rectangle 57"/>
            <p:cNvSpPr/>
            <p:nvPr/>
          </p:nvSpPr>
          <p:spPr bwMode="auto">
            <a:xfrm>
              <a:off x="1" y="5828285"/>
              <a:ext cx="3248024" cy="548640"/>
            </a:xfrm>
            <a:prstGeom prst="rect">
              <a:avLst/>
            </a:prstGeom>
            <a:solidFill>
              <a:srgbClr val="0D163D"/>
            </a:solidFill>
            <a:ln w="9525" cap="flat" cmpd="sng" algn="ctr">
              <a:noFill/>
              <a:prstDash val="solid"/>
              <a:headEnd type="none" w="med" len="med"/>
              <a:tailEnd type="none" w="med" len="med"/>
            </a:ln>
            <a:effectLst/>
          </p:spPr>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	Multiple analytic 	frameworks</a:t>
              </a:r>
            </a:p>
          </p:txBody>
        </p:sp>
        <p:grpSp>
          <p:nvGrpSpPr>
            <p:cNvPr id="59" name="Group 58"/>
            <p:cNvGrpSpPr/>
            <p:nvPr/>
          </p:nvGrpSpPr>
          <p:grpSpPr>
            <a:xfrm>
              <a:off x="585657" y="5860989"/>
              <a:ext cx="603250" cy="483233"/>
              <a:chOff x="996950" y="1795463"/>
              <a:chExt cx="3327400" cy="2665413"/>
            </a:xfrm>
          </p:grpSpPr>
          <p:sp>
            <p:nvSpPr>
              <p:cNvPr id="60" name="Freeform 303"/>
              <p:cNvSpPr>
                <a:spLocks/>
              </p:cNvSpPr>
              <p:nvPr/>
            </p:nvSpPr>
            <p:spPr bwMode="auto">
              <a:xfrm>
                <a:off x="1744663" y="1965325"/>
                <a:ext cx="1598613" cy="2441575"/>
              </a:xfrm>
              <a:custGeom>
                <a:avLst/>
                <a:gdLst>
                  <a:gd name="T0" fmla="*/ 1007 w 1007"/>
                  <a:gd name="T1" fmla="*/ 277 h 1539"/>
                  <a:gd name="T2" fmla="*/ 933 w 1007"/>
                  <a:gd name="T3" fmla="*/ 203 h 1539"/>
                  <a:gd name="T4" fmla="*/ 859 w 1007"/>
                  <a:gd name="T5" fmla="*/ 277 h 1539"/>
                  <a:gd name="T6" fmla="*/ 859 w 1007"/>
                  <a:gd name="T7" fmla="*/ 689 h 1539"/>
                  <a:gd name="T8" fmla="*/ 823 w 1007"/>
                  <a:gd name="T9" fmla="*/ 689 h 1539"/>
                  <a:gd name="T10" fmla="*/ 823 w 1007"/>
                  <a:gd name="T11" fmla="*/ 197 h 1539"/>
                  <a:gd name="T12" fmla="*/ 823 w 1007"/>
                  <a:gd name="T13" fmla="*/ 197 h 1539"/>
                  <a:gd name="T14" fmla="*/ 749 w 1007"/>
                  <a:gd name="T15" fmla="*/ 124 h 1539"/>
                  <a:gd name="T16" fmla="*/ 676 w 1007"/>
                  <a:gd name="T17" fmla="*/ 197 h 1539"/>
                  <a:gd name="T18" fmla="*/ 676 w 1007"/>
                  <a:gd name="T19" fmla="*/ 197 h 1539"/>
                  <a:gd name="T20" fmla="*/ 676 w 1007"/>
                  <a:gd name="T21" fmla="*/ 646 h 1539"/>
                  <a:gd name="T22" fmla="*/ 639 w 1007"/>
                  <a:gd name="T23" fmla="*/ 646 h 1539"/>
                  <a:gd name="T24" fmla="*/ 639 w 1007"/>
                  <a:gd name="T25" fmla="*/ 73 h 1539"/>
                  <a:gd name="T26" fmla="*/ 566 w 1007"/>
                  <a:gd name="T27" fmla="*/ 0 h 1539"/>
                  <a:gd name="T28" fmla="*/ 492 w 1007"/>
                  <a:gd name="T29" fmla="*/ 73 h 1539"/>
                  <a:gd name="T30" fmla="*/ 492 w 1007"/>
                  <a:gd name="T31" fmla="*/ 603 h 1539"/>
                  <a:gd name="T32" fmla="*/ 455 w 1007"/>
                  <a:gd name="T33" fmla="*/ 603 h 1539"/>
                  <a:gd name="T34" fmla="*/ 455 w 1007"/>
                  <a:gd name="T35" fmla="*/ 391 h 1539"/>
                  <a:gd name="T36" fmla="*/ 455 w 1007"/>
                  <a:gd name="T37" fmla="*/ 160 h 1539"/>
                  <a:gd name="T38" fmla="*/ 382 w 1007"/>
                  <a:gd name="T39" fmla="*/ 86 h 1539"/>
                  <a:gd name="T40" fmla="*/ 308 w 1007"/>
                  <a:gd name="T41" fmla="*/ 160 h 1539"/>
                  <a:gd name="T42" fmla="*/ 308 w 1007"/>
                  <a:gd name="T43" fmla="*/ 689 h 1539"/>
                  <a:gd name="T44" fmla="*/ 309 w 1007"/>
                  <a:gd name="T45" fmla="*/ 690 h 1539"/>
                  <a:gd name="T46" fmla="*/ 309 w 1007"/>
                  <a:gd name="T47" fmla="*/ 867 h 1539"/>
                  <a:gd name="T48" fmla="*/ 146 w 1007"/>
                  <a:gd name="T49" fmla="*/ 552 h 1539"/>
                  <a:gd name="T50" fmla="*/ 44 w 1007"/>
                  <a:gd name="T51" fmla="*/ 530 h 1539"/>
                  <a:gd name="T52" fmla="*/ 22 w 1007"/>
                  <a:gd name="T53" fmla="*/ 631 h 1539"/>
                  <a:gd name="T54" fmla="*/ 210 w 1007"/>
                  <a:gd name="T55" fmla="*/ 1025 h 1539"/>
                  <a:gd name="T56" fmla="*/ 404 w 1007"/>
                  <a:gd name="T57" fmla="*/ 1296 h 1539"/>
                  <a:gd name="T58" fmla="*/ 404 w 1007"/>
                  <a:gd name="T59" fmla="*/ 1539 h 1539"/>
                  <a:gd name="T60" fmla="*/ 946 w 1007"/>
                  <a:gd name="T61" fmla="*/ 1539 h 1539"/>
                  <a:gd name="T62" fmla="*/ 945 w 1007"/>
                  <a:gd name="T63" fmla="*/ 1305 h 1539"/>
                  <a:gd name="T64" fmla="*/ 1007 w 1007"/>
                  <a:gd name="T65" fmla="*/ 1029 h 1539"/>
                  <a:gd name="T66" fmla="*/ 1007 w 1007"/>
                  <a:gd name="T67" fmla="*/ 277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7" h="1539">
                    <a:moveTo>
                      <a:pt x="1007" y="277"/>
                    </a:moveTo>
                    <a:cubicBezTo>
                      <a:pt x="1007" y="236"/>
                      <a:pt x="974" y="203"/>
                      <a:pt x="933" y="203"/>
                    </a:cubicBezTo>
                    <a:cubicBezTo>
                      <a:pt x="892" y="203"/>
                      <a:pt x="859" y="236"/>
                      <a:pt x="859" y="277"/>
                    </a:cubicBezTo>
                    <a:cubicBezTo>
                      <a:pt x="859" y="689"/>
                      <a:pt x="859" y="689"/>
                      <a:pt x="859" y="689"/>
                    </a:cubicBezTo>
                    <a:cubicBezTo>
                      <a:pt x="823" y="689"/>
                      <a:pt x="823" y="689"/>
                      <a:pt x="823" y="689"/>
                    </a:cubicBezTo>
                    <a:cubicBezTo>
                      <a:pt x="823" y="197"/>
                      <a:pt x="823" y="197"/>
                      <a:pt x="823" y="197"/>
                    </a:cubicBezTo>
                    <a:cubicBezTo>
                      <a:pt x="823" y="197"/>
                      <a:pt x="823" y="197"/>
                      <a:pt x="823" y="197"/>
                    </a:cubicBezTo>
                    <a:cubicBezTo>
                      <a:pt x="823" y="156"/>
                      <a:pt x="790" y="124"/>
                      <a:pt x="749" y="124"/>
                    </a:cubicBezTo>
                    <a:cubicBezTo>
                      <a:pt x="709" y="124"/>
                      <a:pt x="676" y="156"/>
                      <a:pt x="676" y="197"/>
                    </a:cubicBezTo>
                    <a:cubicBezTo>
                      <a:pt x="676" y="197"/>
                      <a:pt x="676" y="197"/>
                      <a:pt x="676" y="197"/>
                    </a:cubicBezTo>
                    <a:cubicBezTo>
                      <a:pt x="676" y="646"/>
                      <a:pt x="676" y="646"/>
                      <a:pt x="676" y="646"/>
                    </a:cubicBezTo>
                    <a:cubicBezTo>
                      <a:pt x="639" y="646"/>
                      <a:pt x="639" y="646"/>
                      <a:pt x="639" y="646"/>
                    </a:cubicBezTo>
                    <a:cubicBezTo>
                      <a:pt x="639" y="73"/>
                      <a:pt x="639" y="73"/>
                      <a:pt x="639" y="73"/>
                    </a:cubicBezTo>
                    <a:cubicBezTo>
                      <a:pt x="639" y="33"/>
                      <a:pt x="606" y="0"/>
                      <a:pt x="566" y="0"/>
                    </a:cubicBezTo>
                    <a:cubicBezTo>
                      <a:pt x="525" y="0"/>
                      <a:pt x="492" y="33"/>
                      <a:pt x="492" y="73"/>
                    </a:cubicBezTo>
                    <a:cubicBezTo>
                      <a:pt x="492" y="603"/>
                      <a:pt x="492" y="603"/>
                      <a:pt x="492" y="603"/>
                    </a:cubicBezTo>
                    <a:cubicBezTo>
                      <a:pt x="455" y="603"/>
                      <a:pt x="455" y="603"/>
                      <a:pt x="455" y="603"/>
                    </a:cubicBezTo>
                    <a:cubicBezTo>
                      <a:pt x="455" y="391"/>
                      <a:pt x="455" y="391"/>
                      <a:pt x="455" y="391"/>
                    </a:cubicBezTo>
                    <a:cubicBezTo>
                      <a:pt x="455" y="160"/>
                      <a:pt x="455" y="160"/>
                      <a:pt x="455" y="160"/>
                    </a:cubicBezTo>
                    <a:cubicBezTo>
                      <a:pt x="455" y="119"/>
                      <a:pt x="422" y="86"/>
                      <a:pt x="382" y="86"/>
                    </a:cubicBezTo>
                    <a:cubicBezTo>
                      <a:pt x="341" y="86"/>
                      <a:pt x="308" y="119"/>
                      <a:pt x="308" y="160"/>
                    </a:cubicBezTo>
                    <a:cubicBezTo>
                      <a:pt x="308" y="689"/>
                      <a:pt x="308" y="689"/>
                      <a:pt x="308" y="689"/>
                    </a:cubicBezTo>
                    <a:cubicBezTo>
                      <a:pt x="309" y="690"/>
                      <a:pt x="309" y="690"/>
                      <a:pt x="309" y="690"/>
                    </a:cubicBezTo>
                    <a:cubicBezTo>
                      <a:pt x="309" y="867"/>
                      <a:pt x="309" y="867"/>
                      <a:pt x="309" y="867"/>
                    </a:cubicBezTo>
                    <a:cubicBezTo>
                      <a:pt x="146" y="552"/>
                      <a:pt x="146" y="552"/>
                      <a:pt x="146" y="552"/>
                    </a:cubicBezTo>
                    <a:cubicBezTo>
                      <a:pt x="124" y="518"/>
                      <a:pt x="79" y="508"/>
                      <a:pt x="44" y="530"/>
                    </a:cubicBezTo>
                    <a:cubicBezTo>
                      <a:pt x="10" y="552"/>
                      <a:pt x="0" y="597"/>
                      <a:pt x="22" y="631"/>
                    </a:cubicBezTo>
                    <a:cubicBezTo>
                      <a:pt x="210" y="1025"/>
                      <a:pt x="210" y="1025"/>
                      <a:pt x="210" y="1025"/>
                    </a:cubicBezTo>
                    <a:cubicBezTo>
                      <a:pt x="404" y="1296"/>
                      <a:pt x="404" y="1296"/>
                      <a:pt x="404" y="1296"/>
                    </a:cubicBezTo>
                    <a:cubicBezTo>
                      <a:pt x="404" y="1539"/>
                      <a:pt x="404" y="1539"/>
                      <a:pt x="404" y="1539"/>
                    </a:cubicBezTo>
                    <a:cubicBezTo>
                      <a:pt x="946" y="1539"/>
                      <a:pt x="946" y="1539"/>
                      <a:pt x="946" y="1539"/>
                    </a:cubicBezTo>
                    <a:cubicBezTo>
                      <a:pt x="945" y="1305"/>
                      <a:pt x="945" y="1305"/>
                      <a:pt x="945" y="1305"/>
                    </a:cubicBezTo>
                    <a:cubicBezTo>
                      <a:pt x="1007" y="1029"/>
                      <a:pt x="1007" y="1029"/>
                      <a:pt x="1007" y="1029"/>
                    </a:cubicBezTo>
                    <a:lnTo>
                      <a:pt x="1007" y="27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 name="Freeform 341"/>
              <p:cNvSpPr>
                <a:spLocks noEditPoints="1"/>
              </p:cNvSpPr>
              <p:nvPr/>
            </p:nvSpPr>
            <p:spPr bwMode="auto">
              <a:xfrm>
                <a:off x="3362325" y="2003425"/>
                <a:ext cx="588963" cy="350838"/>
              </a:xfrm>
              <a:custGeom>
                <a:avLst/>
                <a:gdLst>
                  <a:gd name="T0" fmla="*/ 281 w 372"/>
                  <a:gd name="T1" fmla="*/ 71 h 221"/>
                  <a:gd name="T2" fmla="*/ 284 w 372"/>
                  <a:gd name="T3" fmla="*/ 71 h 221"/>
                  <a:gd name="T4" fmla="*/ 206 w 372"/>
                  <a:gd name="T5" fmla="*/ 0 h 221"/>
                  <a:gd name="T6" fmla="*/ 136 w 372"/>
                  <a:gd name="T7" fmla="*/ 42 h 221"/>
                  <a:gd name="T8" fmla="*/ 106 w 372"/>
                  <a:gd name="T9" fmla="*/ 34 h 221"/>
                  <a:gd name="T10" fmla="*/ 46 w 372"/>
                  <a:gd name="T11" fmla="*/ 94 h 221"/>
                  <a:gd name="T12" fmla="*/ 47 w 372"/>
                  <a:gd name="T13" fmla="*/ 104 h 221"/>
                  <a:gd name="T14" fmla="*/ 0 w 372"/>
                  <a:gd name="T15" fmla="*/ 153 h 221"/>
                  <a:gd name="T16" fmla="*/ 46 w 372"/>
                  <a:gd name="T17" fmla="*/ 202 h 221"/>
                  <a:gd name="T18" fmla="*/ 46 w 372"/>
                  <a:gd name="T19" fmla="*/ 202 h 221"/>
                  <a:gd name="T20" fmla="*/ 49 w 372"/>
                  <a:gd name="T21" fmla="*/ 202 h 221"/>
                  <a:gd name="T22" fmla="*/ 49 w 372"/>
                  <a:gd name="T23" fmla="*/ 202 h 221"/>
                  <a:gd name="T24" fmla="*/ 49 w 372"/>
                  <a:gd name="T25" fmla="*/ 202 h 221"/>
                  <a:gd name="T26" fmla="*/ 82 w 372"/>
                  <a:gd name="T27" fmla="*/ 202 h 221"/>
                  <a:gd name="T28" fmla="*/ 72 w 372"/>
                  <a:gd name="T29" fmla="*/ 171 h 221"/>
                  <a:gd name="T30" fmla="*/ 125 w 372"/>
                  <a:gd name="T31" fmla="*/ 113 h 221"/>
                  <a:gd name="T32" fmla="*/ 200 w 372"/>
                  <a:gd name="T33" fmla="*/ 49 h 221"/>
                  <a:gd name="T34" fmla="*/ 259 w 372"/>
                  <a:gd name="T35" fmla="*/ 76 h 221"/>
                  <a:gd name="T36" fmla="*/ 281 w 372"/>
                  <a:gd name="T37" fmla="*/ 71 h 221"/>
                  <a:gd name="T38" fmla="*/ 336 w 372"/>
                  <a:gd name="T39" fmla="*/ 139 h 221"/>
                  <a:gd name="T40" fmla="*/ 337 w 372"/>
                  <a:gd name="T41" fmla="*/ 136 h 221"/>
                  <a:gd name="T42" fmla="*/ 283 w 372"/>
                  <a:gd name="T43" fmla="*/ 82 h 221"/>
                  <a:gd name="T44" fmla="*/ 256 w 372"/>
                  <a:gd name="T45" fmla="*/ 89 h 221"/>
                  <a:gd name="T46" fmla="*/ 200 w 372"/>
                  <a:gd name="T47" fmla="*/ 58 h 221"/>
                  <a:gd name="T48" fmla="*/ 136 w 372"/>
                  <a:gd name="T49" fmla="*/ 122 h 221"/>
                  <a:gd name="T50" fmla="*/ 133 w 372"/>
                  <a:gd name="T51" fmla="*/ 121 h 221"/>
                  <a:gd name="T52" fmla="*/ 84 w 372"/>
                  <a:gd name="T53" fmla="*/ 171 h 221"/>
                  <a:gd name="T54" fmla="*/ 133 w 372"/>
                  <a:gd name="T55" fmla="*/ 220 h 221"/>
                  <a:gd name="T56" fmla="*/ 133 w 372"/>
                  <a:gd name="T57" fmla="*/ 220 h 221"/>
                  <a:gd name="T58" fmla="*/ 133 w 372"/>
                  <a:gd name="T59" fmla="*/ 220 h 221"/>
                  <a:gd name="T60" fmla="*/ 322 w 372"/>
                  <a:gd name="T61" fmla="*/ 220 h 221"/>
                  <a:gd name="T62" fmla="*/ 331 w 372"/>
                  <a:gd name="T63" fmla="*/ 221 h 221"/>
                  <a:gd name="T64" fmla="*/ 372 w 372"/>
                  <a:gd name="T65" fmla="*/ 180 h 221"/>
                  <a:gd name="T66" fmla="*/ 336 w 372"/>
                  <a:gd name="T67" fmla="*/ 13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21">
                    <a:moveTo>
                      <a:pt x="281" y="71"/>
                    </a:moveTo>
                    <a:cubicBezTo>
                      <a:pt x="282" y="71"/>
                      <a:pt x="283" y="71"/>
                      <a:pt x="284" y="71"/>
                    </a:cubicBezTo>
                    <a:cubicBezTo>
                      <a:pt x="280" y="31"/>
                      <a:pt x="247" y="0"/>
                      <a:pt x="206" y="0"/>
                    </a:cubicBezTo>
                    <a:cubicBezTo>
                      <a:pt x="176" y="0"/>
                      <a:pt x="149" y="17"/>
                      <a:pt x="136" y="42"/>
                    </a:cubicBezTo>
                    <a:cubicBezTo>
                      <a:pt x="127" y="37"/>
                      <a:pt x="117" y="34"/>
                      <a:pt x="106" y="34"/>
                    </a:cubicBezTo>
                    <a:cubicBezTo>
                      <a:pt x="73" y="34"/>
                      <a:pt x="46" y="61"/>
                      <a:pt x="46" y="94"/>
                    </a:cubicBezTo>
                    <a:cubicBezTo>
                      <a:pt x="46" y="97"/>
                      <a:pt x="46" y="101"/>
                      <a:pt x="47" y="104"/>
                    </a:cubicBezTo>
                    <a:cubicBezTo>
                      <a:pt x="21" y="105"/>
                      <a:pt x="0" y="127"/>
                      <a:pt x="0" y="153"/>
                    </a:cubicBezTo>
                    <a:cubicBezTo>
                      <a:pt x="0" y="179"/>
                      <a:pt x="20" y="201"/>
                      <a:pt x="46" y="202"/>
                    </a:cubicBezTo>
                    <a:cubicBezTo>
                      <a:pt x="46" y="202"/>
                      <a:pt x="46" y="202"/>
                      <a:pt x="46" y="202"/>
                    </a:cubicBezTo>
                    <a:cubicBezTo>
                      <a:pt x="49" y="202"/>
                      <a:pt x="49" y="202"/>
                      <a:pt x="49" y="202"/>
                    </a:cubicBezTo>
                    <a:cubicBezTo>
                      <a:pt x="49" y="202"/>
                      <a:pt x="49" y="202"/>
                      <a:pt x="49" y="202"/>
                    </a:cubicBezTo>
                    <a:cubicBezTo>
                      <a:pt x="49" y="202"/>
                      <a:pt x="49" y="202"/>
                      <a:pt x="49" y="202"/>
                    </a:cubicBezTo>
                    <a:cubicBezTo>
                      <a:pt x="82" y="202"/>
                      <a:pt x="82" y="202"/>
                      <a:pt x="82" y="202"/>
                    </a:cubicBezTo>
                    <a:cubicBezTo>
                      <a:pt x="76" y="193"/>
                      <a:pt x="72" y="182"/>
                      <a:pt x="72" y="171"/>
                    </a:cubicBezTo>
                    <a:cubicBezTo>
                      <a:pt x="72" y="140"/>
                      <a:pt x="96" y="115"/>
                      <a:pt x="125" y="113"/>
                    </a:cubicBezTo>
                    <a:cubicBezTo>
                      <a:pt x="131" y="76"/>
                      <a:pt x="162" y="49"/>
                      <a:pt x="200" y="49"/>
                    </a:cubicBezTo>
                    <a:cubicBezTo>
                      <a:pt x="224" y="49"/>
                      <a:pt x="245" y="59"/>
                      <a:pt x="259" y="76"/>
                    </a:cubicBezTo>
                    <a:cubicBezTo>
                      <a:pt x="266" y="73"/>
                      <a:pt x="273" y="71"/>
                      <a:pt x="281" y="71"/>
                    </a:cubicBezTo>
                    <a:moveTo>
                      <a:pt x="336" y="139"/>
                    </a:moveTo>
                    <a:cubicBezTo>
                      <a:pt x="336" y="138"/>
                      <a:pt x="337" y="137"/>
                      <a:pt x="337" y="136"/>
                    </a:cubicBezTo>
                    <a:cubicBezTo>
                      <a:pt x="337" y="106"/>
                      <a:pt x="312" y="82"/>
                      <a:pt x="283" y="82"/>
                    </a:cubicBezTo>
                    <a:cubicBezTo>
                      <a:pt x="273" y="82"/>
                      <a:pt x="264" y="85"/>
                      <a:pt x="256" y="89"/>
                    </a:cubicBezTo>
                    <a:cubicBezTo>
                      <a:pt x="244" y="71"/>
                      <a:pt x="224" y="58"/>
                      <a:pt x="200" y="58"/>
                    </a:cubicBezTo>
                    <a:cubicBezTo>
                      <a:pt x="165" y="58"/>
                      <a:pt x="136" y="87"/>
                      <a:pt x="136" y="122"/>
                    </a:cubicBezTo>
                    <a:cubicBezTo>
                      <a:pt x="135" y="121"/>
                      <a:pt x="134" y="121"/>
                      <a:pt x="133" y="121"/>
                    </a:cubicBezTo>
                    <a:cubicBezTo>
                      <a:pt x="106" y="121"/>
                      <a:pt x="84" y="144"/>
                      <a:pt x="84" y="171"/>
                    </a:cubicBezTo>
                    <a:cubicBezTo>
                      <a:pt x="84" y="198"/>
                      <a:pt x="106" y="220"/>
                      <a:pt x="133" y="220"/>
                    </a:cubicBezTo>
                    <a:cubicBezTo>
                      <a:pt x="133" y="220"/>
                      <a:pt x="133" y="220"/>
                      <a:pt x="133" y="220"/>
                    </a:cubicBezTo>
                    <a:cubicBezTo>
                      <a:pt x="133" y="220"/>
                      <a:pt x="133" y="220"/>
                      <a:pt x="133" y="220"/>
                    </a:cubicBezTo>
                    <a:cubicBezTo>
                      <a:pt x="322" y="220"/>
                      <a:pt x="322" y="220"/>
                      <a:pt x="322" y="220"/>
                    </a:cubicBezTo>
                    <a:cubicBezTo>
                      <a:pt x="325" y="220"/>
                      <a:pt x="328" y="221"/>
                      <a:pt x="331" y="221"/>
                    </a:cubicBezTo>
                    <a:cubicBezTo>
                      <a:pt x="353" y="221"/>
                      <a:pt x="372" y="202"/>
                      <a:pt x="372" y="180"/>
                    </a:cubicBezTo>
                    <a:cubicBezTo>
                      <a:pt x="372" y="159"/>
                      <a:pt x="356" y="142"/>
                      <a:pt x="336" y="13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 name="Freeform 343"/>
              <p:cNvSpPr>
                <a:spLocks noEditPoints="1"/>
              </p:cNvSpPr>
              <p:nvPr/>
            </p:nvSpPr>
            <p:spPr bwMode="auto">
              <a:xfrm>
                <a:off x="996950" y="1795463"/>
                <a:ext cx="3327400" cy="2665413"/>
              </a:xfrm>
              <a:custGeom>
                <a:avLst/>
                <a:gdLst>
                  <a:gd name="T0" fmla="*/ 970 w 2098"/>
                  <a:gd name="T1" fmla="*/ 548 h 1680"/>
                  <a:gd name="T2" fmla="*/ 927 w 2098"/>
                  <a:gd name="T3" fmla="*/ 511 h 1680"/>
                  <a:gd name="T4" fmla="*/ 1111 w 2098"/>
                  <a:gd name="T5" fmla="*/ 577 h 1680"/>
                  <a:gd name="T6" fmla="*/ 1144 w 2098"/>
                  <a:gd name="T7" fmla="*/ 524 h 1680"/>
                  <a:gd name="T8" fmla="*/ 1111 w 2098"/>
                  <a:gd name="T9" fmla="*/ 577 h 1680"/>
                  <a:gd name="T10" fmla="*/ 1111 w 2098"/>
                  <a:gd name="T11" fmla="*/ 718 h 1680"/>
                  <a:gd name="T12" fmla="*/ 1148 w 2098"/>
                  <a:gd name="T13" fmla="*/ 727 h 1680"/>
                  <a:gd name="T14" fmla="*/ 1639 w 2098"/>
                  <a:gd name="T15" fmla="*/ 202 h 1680"/>
                  <a:gd name="T16" fmla="*/ 1552 w 2098"/>
                  <a:gd name="T17" fmla="*/ 88 h 1680"/>
                  <a:gd name="T18" fmla="*/ 1295 w 2098"/>
                  <a:gd name="T19" fmla="*/ 362 h 1680"/>
                  <a:gd name="T20" fmla="*/ 1631 w 2098"/>
                  <a:gd name="T21" fmla="*/ 198 h 1680"/>
                  <a:gd name="T22" fmla="*/ 1100 w 2098"/>
                  <a:gd name="T23" fmla="*/ 972 h 1680"/>
                  <a:gd name="T24" fmla="*/ 999 w 2098"/>
                  <a:gd name="T25" fmla="*/ 972 h 1680"/>
                  <a:gd name="T26" fmla="*/ 1100 w 2098"/>
                  <a:gd name="T27" fmla="*/ 972 h 1680"/>
                  <a:gd name="T28" fmla="*/ 1924 w 2098"/>
                  <a:gd name="T29" fmla="*/ 773 h 1680"/>
                  <a:gd name="T30" fmla="*/ 1479 w 2098"/>
                  <a:gd name="T31" fmla="*/ 737 h 1680"/>
                  <a:gd name="T32" fmla="*/ 2090 w 2098"/>
                  <a:gd name="T33" fmla="*/ 845 h 1680"/>
                  <a:gd name="T34" fmla="*/ 1119 w 2098"/>
                  <a:gd name="T35" fmla="*/ 963 h 1680"/>
                  <a:gd name="T36" fmla="*/ 1295 w 2098"/>
                  <a:gd name="T37" fmla="*/ 730 h 1680"/>
                  <a:gd name="T38" fmla="*/ 1331 w 2098"/>
                  <a:gd name="T39" fmla="*/ 722 h 1680"/>
                  <a:gd name="T40" fmla="*/ 1566 w 2098"/>
                  <a:gd name="T41" fmla="*/ 329 h 1680"/>
                  <a:gd name="T42" fmla="*/ 1143 w 2098"/>
                  <a:gd name="T43" fmla="*/ 917 h 1680"/>
                  <a:gd name="T44" fmla="*/ 1049 w 2098"/>
                  <a:gd name="T45" fmla="*/ 963 h 1680"/>
                  <a:gd name="T46" fmla="*/ 957 w 2098"/>
                  <a:gd name="T47" fmla="*/ 918 h 1680"/>
                  <a:gd name="T48" fmla="*/ 402 w 2098"/>
                  <a:gd name="T49" fmla="*/ 31 h 1680"/>
                  <a:gd name="T50" fmla="*/ 780 w 2098"/>
                  <a:gd name="T51" fmla="*/ 346 h 1680"/>
                  <a:gd name="T52" fmla="*/ 531 w 2098"/>
                  <a:gd name="T53" fmla="*/ 90 h 1680"/>
                  <a:gd name="T54" fmla="*/ 409 w 2098"/>
                  <a:gd name="T55" fmla="*/ 123 h 1680"/>
                  <a:gd name="T56" fmla="*/ 950 w 2098"/>
                  <a:gd name="T57" fmla="*/ 924 h 1680"/>
                  <a:gd name="T58" fmla="*/ 311 w 2098"/>
                  <a:gd name="T59" fmla="*/ 927 h 1680"/>
                  <a:gd name="T60" fmla="*/ 140 w 2098"/>
                  <a:gd name="T61" fmla="*/ 789 h 1680"/>
                  <a:gd name="T62" fmla="*/ 493 w 2098"/>
                  <a:gd name="T63" fmla="*/ 736 h 1680"/>
                  <a:gd name="T64" fmla="*/ 0 w 2098"/>
                  <a:gd name="T65" fmla="*/ 845 h 1680"/>
                  <a:gd name="T66" fmla="*/ 310 w 2098"/>
                  <a:gd name="T67" fmla="*/ 936 h 1680"/>
                  <a:gd name="T68" fmla="*/ 1045 w 2098"/>
                  <a:gd name="T69" fmla="*/ 1042 h 1680"/>
                  <a:gd name="T70" fmla="*/ 413 w 2098"/>
                  <a:gd name="T71" fmla="*/ 1667 h 1680"/>
                  <a:gd name="T72" fmla="*/ 577 w 2098"/>
                  <a:gd name="T73" fmla="*/ 1290 h 1680"/>
                  <a:gd name="T74" fmla="*/ 407 w 2098"/>
                  <a:gd name="T75" fmla="*/ 1674 h 1680"/>
                  <a:gd name="T76" fmla="*/ 501 w 2098"/>
                  <a:gd name="T77" fmla="*/ 1639 h 1680"/>
                  <a:gd name="T78" fmla="*/ 1051 w 2098"/>
                  <a:gd name="T79" fmla="*/ 1049 h 1680"/>
                  <a:gd name="T80" fmla="*/ 1609 w 2098"/>
                  <a:gd name="T81" fmla="*/ 1631 h 1680"/>
                  <a:gd name="T82" fmla="*/ 1702 w 2098"/>
                  <a:gd name="T83" fmla="*/ 1666 h 1680"/>
                  <a:gd name="T84" fmla="*/ 1464 w 2098"/>
                  <a:gd name="T85" fmla="*/ 1204 h 1680"/>
                  <a:gd name="T86" fmla="*/ 1444 w 2098"/>
                  <a:gd name="T87" fmla="*/ 1474 h 1680"/>
                  <a:gd name="T88" fmla="*/ 1112 w 2098"/>
                  <a:gd name="T89" fmla="*/ 972 h 1680"/>
                  <a:gd name="T90" fmla="*/ 2013 w 2098"/>
                  <a:gd name="T91" fmla="*/ 897 h 1680"/>
                  <a:gd name="T92" fmla="*/ 657 w 2098"/>
                  <a:gd name="T93" fmla="*/ 735 h 1680"/>
                  <a:gd name="T94" fmla="*/ 780 w 2098"/>
                  <a:gd name="T95" fmla="*/ 722 h 1680"/>
                  <a:gd name="T96" fmla="*/ 657 w 2098"/>
                  <a:gd name="T97" fmla="*/ 735 h 1680"/>
                  <a:gd name="T98" fmla="*/ 624 w 2098"/>
                  <a:gd name="T99" fmla="*/ 1217 h 1680"/>
                  <a:gd name="T100" fmla="*/ 687 w 2098"/>
                  <a:gd name="T101" fmla="*/ 1139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8" h="1680">
                    <a:moveTo>
                      <a:pt x="964" y="554"/>
                    </a:moveTo>
                    <a:cubicBezTo>
                      <a:pt x="970" y="548"/>
                      <a:pt x="970" y="548"/>
                      <a:pt x="970" y="548"/>
                    </a:cubicBezTo>
                    <a:cubicBezTo>
                      <a:pt x="958" y="533"/>
                      <a:pt x="940" y="512"/>
                      <a:pt x="927" y="498"/>
                    </a:cubicBezTo>
                    <a:cubicBezTo>
                      <a:pt x="927" y="511"/>
                      <a:pt x="927" y="511"/>
                      <a:pt x="927" y="511"/>
                    </a:cubicBezTo>
                    <a:cubicBezTo>
                      <a:pt x="940" y="526"/>
                      <a:pt x="951" y="539"/>
                      <a:pt x="964" y="554"/>
                    </a:cubicBezTo>
                    <a:moveTo>
                      <a:pt x="1111" y="577"/>
                    </a:moveTo>
                    <a:cubicBezTo>
                      <a:pt x="1125" y="561"/>
                      <a:pt x="1138" y="545"/>
                      <a:pt x="1151" y="529"/>
                    </a:cubicBezTo>
                    <a:cubicBezTo>
                      <a:pt x="1144" y="524"/>
                      <a:pt x="1144" y="524"/>
                      <a:pt x="1144" y="524"/>
                    </a:cubicBezTo>
                    <a:cubicBezTo>
                      <a:pt x="1131" y="539"/>
                      <a:pt x="1118" y="555"/>
                      <a:pt x="1105" y="571"/>
                    </a:cubicBezTo>
                    <a:lnTo>
                      <a:pt x="1111" y="577"/>
                    </a:lnTo>
                    <a:close/>
                    <a:moveTo>
                      <a:pt x="1148" y="718"/>
                    </a:moveTo>
                    <a:cubicBezTo>
                      <a:pt x="1137" y="718"/>
                      <a:pt x="1122" y="718"/>
                      <a:pt x="1111" y="718"/>
                    </a:cubicBezTo>
                    <a:cubicBezTo>
                      <a:pt x="1111" y="727"/>
                      <a:pt x="1111" y="727"/>
                      <a:pt x="1111" y="727"/>
                    </a:cubicBezTo>
                    <a:cubicBezTo>
                      <a:pt x="1122" y="727"/>
                      <a:pt x="1137" y="727"/>
                      <a:pt x="1148" y="727"/>
                    </a:cubicBezTo>
                    <a:lnTo>
                      <a:pt x="1148" y="718"/>
                    </a:lnTo>
                    <a:close/>
                    <a:moveTo>
                      <a:pt x="1639" y="202"/>
                    </a:moveTo>
                    <a:cubicBezTo>
                      <a:pt x="1696" y="93"/>
                      <a:pt x="1713" y="32"/>
                      <a:pt x="1692" y="15"/>
                    </a:cubicBezTo>
                    <a:cubicBezTo>
                      <a:pt x="1672" y="0"/>
                      <a:pt x="1627" y="24"/>
                      <a:pt x="1552" y="88"/>
                    </a:cubicBezTo>
                    <a:cubicBezTo>
                      <a:pt x="1484" y="147"/>
                      <a:pt x="1396" y="236"/>
                      <a:pt x="1295" y="349"/>
                    </a:cubicBezTo>
                    <a:cubicBezTo>
                      <a:pt x="1295" y="362"/>
                      <a:pt x="1295" y="362"/>
                      <a:pt x="1295" y="362"/>
                    </a:cubicBezTo>
                    <a:cubicBezTo>
                      <a:pt x="1542" y="86"/>
                      <a:pt x="1662" y="4"/>
                      <a:pt x="1686" y="22"/>
                    </a:cubicBezTo>
                    <a:cubicBezTo>
                      <a:pt x="1694" y="29"/>
                      <a:pt x="1705" y="58"/>
                      <a:pt x="1631" y="198"/>
                    </a:cubicBezTo>
                    <a:lnTo>
                      <a:pt x="1639" y="202"/>
                    </a:lnTo>
                    <a:close/>
                    <a:moveTo>
                      <a:pt x="1100" y="972"/>
                    </a:moveTo>
                    <a:cubicBezTo>
                      <a:pt x="1084" y="993"/>
                      <a:pt x="1067" y="1014"/>
                      <a:pt x="1051" y="1035"/>
                    </a:cubicBezTo>
                    <a:cubicBezTo>
                      <a:pt x="1034" y="1014"/>
                      <a:pt x="1017" y="993"/>
                      <a:pt x="999" y="972"/>
                    </a:cubicBezTo>
                    <a:cubicBezTo>
                      <a:pt x="1016" y="972"/>
                      <a:pt x="1033" y="972"/>
                      <a:pt x="1049" y="972"/>
                    </a:cubicBezTo>
                    <a:cubicBezTo>
                      <a:pt x="1066" y="972"/>
                      <a:pt x="1083" y="972"/>
                      <a:pt x="1100" y="972"/>
                    </a:cubicBezTo>
                    <a:moveTo>
                      <a:pt x="2098" y="845"/>
                    </a:moveTo>
                    <a:cubicBezTo>
                      <a:pt x="2098" y="818"/>
                      <a:pt x="2041" y="794"/>
                      <a:pt x="1924" y="773"/>
                    </a:cubicBezTo>
                    <a:cubicBezTo>
                      <a:pt x="1814" y="753"/>
                      <a:pt x="1659" y="738"/>
                      <a:pt x="1479" y="728"/>
                    </a:cubicBezTo>
                    <a:cubicBezTo>
                      <a:pt x="1479" y="737"/>
                      <a:pt x="1479" y="737"/>
                      <a:pt x="1479" y="737"/>
                    </a:cubicBezTo>
                    <a:cubicBezTo>
                      <a:pt x="1659" y="747"/>
                      <a:pt x="1813" y="762"/>
                      <a:pt x="1922" y="782"/>
                    </a:cubicBezTo>
                    <a:cubicBezTo>
                      <a:pt x="2073" y="809"/>
                      <a:pt x="2090" y="835"/>
                      <a:pt x="2090" y="845"/>
                    </a:cubicBezTo>
                    <a:cubicBezTo>
                      <a:pt x="2090" y="856"/>
                      <a:pt x="2068" y="894"/>
                      <a:pt x="1787" y="927"/>
                    </a:cubicBezTo>
                    <a:cubicBezTo>
                      <a:pt x="1607" y="949"/>
                      <a:pt x="1371" y="961"/>
                      <a:pt x="1119" y="963"/>
                    </a:cubicBezTo>
                    <a:cubicBezTo>
                      <a:pt x="1129" y="950"/>
                      <a:pt x="1140" y="936"/>
                      <a:pt x="1150" y="923"/>
                    </a:cubicBezTo>
                    <a:cubicBezTo>
                      <a:pt x="1200" y="858"/>
                      <a:pt x="1249" y="793"/>
                      <a:pt x="1295" y="730"/>
                    </a:cubicBezTo>
                    <a:cubicBezTo>
                      <a:pt x="1307" y="730"/>
                      <a:pt x="1319" y="730"/>
                      <a:pt x="1331" y="731"/>
                    </a:cubicBezTo>
                    <a:cubicBezTo>
                      <a:pt x="1331" y="722"/>
                      <a:pt x="1331" y="722"/>
                      <a:pt x="1331" y="722"/>
                    </a:cubicBezTo>
                    <a:cubicBezTo>
                      <a:pt x="1321" y="722"/>
                      <a:pt x="1312" y="721"/>
                      <a:pt x="1301" y="721"/>
                    </a:cubicBezTo>
                    <a:cubicBezTo>
                      <a:pt x="1405" y="579"/>
                      <a:pt x="1496" y="444"/>
                      <a:pt x="1566" y="329"/>
                    </a:cubicBezTo>
                    <a:cubicBezTo>
                      <a:pt x="1559" y="324"/>
                      <a:pt x="1559" y="324"/>
                      <a:pt x="1559" y="324"/>
                    </a:cubicBezTo>
                    <a:cubicBezTo>
                      <a:pt x="1457" y="492"/>
                      <a:pt x="1309" y="703"/>
                      <a:pt x="1143" y="917"/>
                    </a:cubicBezTo>
                    <a:cubicBezTo>
                      <a:pt x="1131" y="933"/>
                      <a:pt x="1119" y="948"/>
                      <a:pt x="1107" y="963"/>
                    </a:cubicBezTo>
                    <a:cubicBezTo>
                      <a:pt x="1088" y="963"/>
                      <a:pt x="1069" y="963"/>
                      <a:pt x="1049" y="963"/>
                    </a:cubicBezTo>
                    <a:cubicBezTo>
                      <a:pt x="1030" y="963"/>
                      <a:pt x="1011" y="963"/>
                      <a:pt x="992" y="963"/>
                    </a:cubicBezTo>
                    <a:cubicBezTo>
                      <a:pt x="980" y="948"/>
                      <a:pt x="969" y="933"/>
                      <a:pt x="957" y="918"/>
                    </a:cubicBezTo>
                    <a:cubicBezTo>
                      <a:pt x="783" y="700"/>
                      <a:pt x="630" y="487"/>
                      <a:pt x="525" y="318"/>
                    </a:cubicBezTo>
                    <a:cubicBezTo>
                      <a:pt x="377" y="79"/>
                      <a:pt x="393" y="38"/>
                      <a:pt x="402" y="31"/>
                    </a:cubicBezTo>
                    <a:cubicBezTo>
                      <a:pt x="416" y="19"/>
                      <a:pt x="461" y="44"/>
                      <a:pt x="526" y="97"/>
                    </a:cubicBezTo>
                    <a:cubicBezTo>
                      <a:pt x="592" y="152"/>
                      <a:pt x="681" y="240"/>
                      <a:pt x="780" y="346"/>
                    </a:cubicBezTo>
                    <a:cubicBezTo>
                      <a:pt x="780" y="333"/>
                      <a:pt x="780" y="333"/>
                      <a:pt x="780" y="333"/>
                    </a:cubicBezTo>
                    <a:cubicBezTo>
                      <a:pt x="681" y="226"/>
                      <a:pt x="598" y="145"/>
                      <a:pt x="531" y="90"/>
                    </a:cubicBezTo>
                    <a:cubicBezTo>
                      <a:pt x="459" y="31"/>
                      <a:pt x="415" y="9"/>
                      <a:pt x="396" y="24"/>
                    </a:cubicBezTo>
                    <a:cubicBezTo>
                      <a:pt x="381" y="36"/>
                      <a:pt x="386" y="68"/>
                      <a:pt x="409" y="123"/>
                    </a:cubicBezTo>
                    <a:cubicBezTo>
                      <a:pt x="430" y="173"/>
                      <a:pt x="467" y="241"/>
                      <a:pt x="518" y="323"/>
                    </a:cubicBezTo>
                    <a:cubicBezTo>
                      <a:pt x="623" y="492"/>
                      <a:pt x="776" y="705"/>
                      <a:pt x="950" y="924"/>
                    </a:cubicBezTo>
                    <a:cubicBezTo>
                      <a:pt x="960" y="937"/>
                      <a:pt x="971" y="950"/>
                      <a:pt x="981" y="963"/>
                    </a:cubicBezTo>
                    <a:cubicBezTo>
                      <a:pt x="728" y="961"/>
                      <a:pt x="492" y="949"/>
                      <a:pt x="311" y="927"/>
                    </a:cubicBezTo>
                    <a:cubicBezTo>
                      <a:pt x="31" y="894"/>
                      <a:pt x="9" y="856"/>
                      <a:pt x="9" y="845"/>
                    </a:cubicBezTo>
                    <a:cubicBezTo>
                      <a:pt x="9" y="836"/>
                      <a:pt x="22" y="813"/>
                      <a:pt x="140" y="789"/>
                    </a:cubicBezTo>
                    <a:cubicBezTo>
                      <a:pt x="226" y="771"/>
                      <a:pt x="350" y="756"/>
                      <a:pt x="497" y="745"/>
                    </a:cubicBezTo>
                    <a:cubicBezTo>
                      <a:pt x="493" y="736"/>
                      <a:pt x="493" y="736"/>
                      <a:pt x="493" y="736"/>
                    </a:cubicBezTo>
                    <a:cubicBezTo>
                      <a:pt x="346" y="747"/>
                      <a:pt x="224" y="762"/>
                      <a:pt x="139" y="780"/>
                    </a:cubicBezTo>
                    <a:cubicBezTo>
                      <a:pt x="46" y="799"/>
                      <a:pt x="0" y="821"/>
                      <a:pt x="0" y="845"/>
                    </a:cubicBezTo>
                    <a:cubicBezTo>
                      <a:pt x="0" y="864"/>
                      <a:pt x="28" y="881"/>
                      <a:pt x="86" y="897"/>
                    </a:cubicBezTo>
                    <a:cubicBezTo>
                      <a:pt x="139" y="911"/>
                      <a:pt x="214" y="925"/>
                      <a:pt x="310" y="936"/>
                    </a:cubicBezTo>
                    <a:cubicBezTo>
                      <a:pt x="493" y="957"/>
                      <a:pt x="732" y="970"/>
                      <a:pt x="988" y="972"/>
                    </a:cubicBezTo>
                    <a:cubicBezTo>
                      <a:pt x="1007" y="995"/>
                      <a:pt x="1026" y="1019"/>
                      <a:pt x="1045" y="1042"/>
                    </a:cubicBezTo>
                    <a:cubicBezTo>
                      <a:pt x="908" y="1212"/>
                      <a:pt x="775" y="1364"/>
                      <a:pt x="663" y="1479"/>
                    </a:cubicBezTo>
                    <a:cubicBezTo>
                      <a:pt x="465" y="1680"/>
                      <a:pt x="421" y="1674"/>
                      <a:pt x="413" y="1667"/>
                    </a:cubicBezTo>
                    <a:cubicBezTo>
                      <a:pt x="391" y="1651"/>
                      <a:pt x="425" y="1544"/>
                      <a:pt x="584" y="1294"/>
                    </a:cubicBezTo>
                    <a:cubicBezTo>
                      <a:pt x="577" y="1290"/>
                      <a:pt x="577" y="1290"/>
                      <a:pt x="577" y="1290"/>
                    </a:cubicBezTo>
                    <a:cubicBezTo>
                      <a:pt x="510" y="1394"/>
                      <a:pt x="459" y="1483"/>
                      <a:pt x="430" y="1548"/>
                    </a:cubicBezTo>
                    <a:cubicBezTo>
                      <a:pt x="397" y="1620"/>
                      <a:pt x="390" y="1661"/>
                      <a:pt x="407" y="1674"/>
                    </a:cubicBezTo>
                    <a:cubicBezTo>
                      <a:pt x="411" y="1677"/>
                      <a:pt x="416" y="1679"/>
                      <a:pt x="421" y="1679"/>
                    </a:cubicBezTo>
                    <a:cubicBezTo>
                      <a:pt x="439" y="1679"/>
                      <a:pt x="465" y="1665"/>
                      <a:pt x="501" y="1639"/>
                    </a:cubicBezTo>
                    <a:cubicBezTo>
                      <a:pt x="545" y="1606"/>
                      <a:pt x="601" y="1554"/>
                      <a:pt x="669" y="1485"/>
                    </a:cubicBezTo>
                    <a:cubicBezTo>
                      <a:pt x="781" y="1371"/>
                      <a:pt x="914" y="1219"/>
                      <a:pt x="1051" y="1049"/>
                    </a:cubicBezTo>
                    <a:cubicBezTo>
                      <a:pt x="1190" y="1217"/>
                      <a:pt x="1324" y="1367"/>
                      <a:pt x="1438" y="1480"/>
                    </a:cubicBezTo>
                    <a:cubicBezTo>
                      <a:pt x="1507" y="1548"/>
                      <a:pt x="1564" y="1599"/>
                      <a:pt x="1609" y="1631"/>
                    </a:cubicBezTo>
                    <a:cubicBezTo>
                      <a:pt x="1644" y="1657"/>
                      <a:pt x="1671" y="1670"/>
                      <a:pt x="1688" y="1670"/>
                    </a:cubicBezTo>
                    <a:cubicBezTo>
                      <a:pt x="1694" y="1670"/>
                      <a:pt x="1699" y="1669"/>
                      <a:pt x="1702" y="1666"/>
                    </a:cubicBezTo>
                    <a:cubicBezTo>
                      <a:pt x="1754" y="1624"/>
                      <a:pt x="1554" y="1319"/>
                      <a:pt x="1466" y="1192"/>
                    </a:cubicBezTo>
                    <a:cubicBezTo>
                      <a:pt x="1464" y="1204"/>
                      <a:pt x="1464" y="1204"/>
                      <a:pt x="1464" y="1204"/>
                    </a:cubicBezTo>
                    <a:cubicBezTo>
                      <a:pt x="1675" y="1511"/>
                      <a:pt x="1721" y="1640"/>
                      <a:pt x="1697" y="1659"/>
                    </a:cubicBezTo>
                    <a:cubicBezTo>
                      <a:pt x="1688" y="1666"/>
                      <a:pt x="1645" y="1673"/>
                      <a:pt x="1444" y="1474"/>
                    </a:cubicBezTo>
                    <a:cubicBezTo>
                      <a:pt x="1330" y="1361"/>
                      <a:pt x="1196" y="1210"/>
                      <a:pt x="1056" y="1042"/>
                    </a:cubicBezTo>
                    <a:cubicBezTo>
                      <a:pt x="1075" y="1019"/>
                      <a:pt x="1093" y="995"/>
                      <a:pt x="1112" y="972"/>
                    </a:cubicBezTo>
                    <a:cubicBezTo>
                      <a:pt x="1367" y="970"/>
                      <a:pt x="1606" y="957"/>
                      <a:pt x="1788" y="936"/>
                    </a:cubicBezTo>
                    <a:cubicBezTo>
                      <a:pt x="1885" y="925"/>
                      <a:pt x="1960" y="911"/>
                      <a:pt x="2013" y="897"/>
                    </a:cubicBezTo>
                    <a:cubicBezTo>
                      <a:pt x="2070" y="881"/>
                      <a:pt x="2098" y="864"/>
                      <a:pt x="2098" y="845"/>
                    </a:cubicBezTo>
                    <a:moveTo>
                      <a:pt x="657" y="735"/>
                    </a:moveTo>
                    <a:cubicBezTo>
                      <a:pt x="697" y="733"/>
                      <a:pt x="738" y="732"/>
                      <a:pt x="780" y="730"/>
                    </a:cubicBezTo>
                    <a:cubicBezTo>
                      <a:pt x="780" y="722"/>
                      <a:pt x="780" y="722"/>
                      <a:pt x="780" y="722"/>
                    </a:cubicBezTo>
                    <a:cubicBezTo>
                      <a:pt x="738" y="723"/>
                      <a:pt x="693" y="725"/>
                      <a:pt x="653" y="727"/>
                    </a:cubicBezTo>
                    <a:lnTo>
                      <a:pt x="657" y="735"/>
                    </a:lnTo>
                    <a:close/>
                    <a:moveTo>
                      <a:pt x="682" y="1131"/>
                    </a:moveTo>
                    <a:cubicBezTo>
                      <a:pt x="662" y="1160"/>
                      <a:pt x="643" y="1189"/>
                      <a:pt x="624" y="1217"/>
                    </a:cubicBezTo>
                    <a:cubicBezTo>
                      <a:pt x="631" y="1222"/>
                      <a:pt x="631" y="1222"/>
                      <a:pt x="631" y="1222"/>
                    </a:cubicBezTo>
                    <a:cubicBezTo>
                      <a:pt x="649" y="1195"/>
                      <a:pt x="668" y="1167"/>
                      <a:pt x="687" y="1139"/>
                    </a:cubicBezTo>
                    <a:cubicBezTo>
                      <a:pt x="685" y="1135"/>
                      <a:pt x="682" y="1131"/>
                      <a:pt x="682" y="113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 name="Freeform 344"/>
              <p:cNvSpPr>
                <a:spLocks/>
              </p:cNvSpPr>
              <p:nvPr/>
            </p:nvSpPr>
            <p:spPr bwMode="auto">
              <a:xfrm>
                <a:off x="1662113" y="2155825"/>
                <a:ext cx="196850" cy="207963"/>
              </a:xfrm>
              <a:custGeom>
                <a:avLst/>
                <a:gdLst>
                  <a:gd name="T0" fmla="*/ 125 w 125"/>
                  <a:gd name="T1" fmla="*/ 131 h 131"/>
                  <a:gd name="T2" fmla="*/ 0 w 125"/>
                  <a:gd name="T3" fmla="*/ 90 h 131"/>
                  <a:gd name="T4" fmla="*/ 125 w 125"/>
                  <a:gd name="T5" fmla="*/ 0 h 131"/>
                  <a:gd name="T6" fmla="*/ 125 w 125"/>
                  <a:gd name="T7" fmla="*/ 131 h 131"/>
                </a:gdLst>
                <a:ahLst/>
                <a:cxnLst>
                  <a:cxn ang="0">
                    <a:pos x="T0" y="T1"/>
                  </a:cxn>
                  <a:cxn ang="0">
                    <a:pos x="T2" y="T3"/>
                  </a:cxn>
                  <a:cxn ang="0">
                    <a:pos x="T4" y="T5"/>
                  </a:cxn>
                  <a:cxn ang="0">
                    <a:pos x="T6" y="T7"/>
                  </a:cxn>
                </a:cxnLst>
                <a:rect l="0" t="0" r="r" b="b"/>
                <a:pathLst>
                  <a:path w="125" h="131">
                    <a:moveTo>
                      <a:pt x="125" y="131"/>
                    </a:moveTo>
                    <a:cubicBezTo>
                      <a:pt x="0" y="90"/>
                      <a:pt x="0" y="90"/>
                      <a:pt x="0" y="90"/>
                    </a:cubicBezTo>
                    <a:cubicBezTo>
                      <a:pt x="18" y="35"/>
                      <a:pt x="67" y="0"/>
                      <a:pt x="125" y="0"/>
                    </a:cubicBezTo>
                    <a:lnTo>
                      <a:pt x="125" y="1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 name="Freeform 345"/>
              <p:cNvSpPr>
                <a:spLocks/>
              </p:cNvSpPr>
              <p:nvPr/>
            </p:nvSpPr>
            <p:spPr bwMode="auto">
              <a:xfrm>
                <a:off x="1647825" y="2298700"/>
                <a:ext cx="211138" cy="130175"/>
              </a:xfrm>
              <a:custGeom>
                <a:avLst/>
                <a:gdLst>
                  <a:gd name="T0" fmla="*/ 134 w 134"/>
                  <a:gd name="T1" fmla="*/ 41 h 82"/>
                  <a:gd name="T2" fmla="*/ 9 w 134"/>
                  <a:gd name="T3" fmla="*/ 82 h 82"/>
                  <a:gd name="T4" fmla="*/ 9 w 134"/>
                  <a:gd name="T5" fmla="*/ 0 h 82"/>
                  <a:gd name="T6" fmla="*/ 134 w 134"/>
                  <a:gd name="T7" fmla="*/ 41 h 82"/>
                </a:gdLst>
                <a:ahLst/>
                <a:cxnLst>
                  <a:cxn ang="0">
                    <a:pos x="T0" y="T1"/>
                  </a:cxn>
                  <a:cxn ang="0">
                    <a:pos x="T2" y="T3"/>
                  </a:cxn>
                  <a:cxn ang="0">
                    <a:pos x="T4" y="T5"/>
                  </a:cxn>
                  <a:cxn ang="0">
                    <a:pos x="T6" y="T7"/>
                  </a:cxn>
                </a:cxnLst>
                <a:rect l="0" t="0" r="r" b="b"/>
                <a:pathLst>
                  <a:path w="134" h="82">
                    <a:moveTo>
                      <a:pt x="134" y="41"/>
                    </a:moveTo>
                    <a:cubicBezTo>
                      <a:pt x="9" y="82"/>
                      <a:pt x="9" y="82"/>
                      <a:pt x="9" y="82"/>
                    </a:cubicBezTo>
                    <a:cubicBezTo>
                      <a:pt x="0" y="54"/>
                      <a:pt x="0" y="28"/>
                      <a:pt x="9" y="0"/>
                    </a:cubicBezTo>
                    <a:lnTo>
                      <a:pt x="134" y="41"/>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 name="Freeform 346"/>
              <p:cNvSpPr>
                <a:spLocks/>
              </p:cNvSpPr>
              <p:nvPr/>
            </p:nvSpPr>
            <p:spPr bwMode="auto">
              <a:xfrm>
                <a:off x="1662113" y="2363788"/>
                <a:ext cx="196850" cy="168275"/>
              </a:xfrm>
              <a:custGeom>
                <a:avLst/>
                <a:gdLst>
                  <a:gd name="T0" fmla="*/ 125 w 125"/>
                  <a:gd name="T1" fmla="*/ 0 h 106"/>
                  <a:gd name="T2" fmla="*/ 48 w 125"/>
                  <a:gd name="T3" fmla="*/ 106 h 106"/>
                  <a:gd name="T4" fmla="*/ 0 w 125"/>
                  <a:gd name="T5" fmla="*/ 41 h 106"/>
                  <a:gd name="T6" fmla="*/ 125 w 125"/>
                  <a:gd name="T7" fmla="*/ 0 h 106"/>
                </a:gdLst>
                <a:ahLst/>
                <a:cxnLst>
                  <a:cxn ang="0">
                    <a:pos x="T0" y="T1"/>
                  </a:cxn>
                  <a:cxn ang="0">
                    <a:pos x="T2" y="T3"/>
                  </a:cxn>
                  <a:cxn ang="0">
                    <a:pos x="T4" y="T5"/>
                  </a:cxn>
                  <a:cxn ang="0">
                    <a:pos x="T6" y="T7"/>
                  </a:cxn>
                </a:cxnLst>
                <a:rect l="0" t="0" r="r" b="b"/>
                <a:pathLst>
                  <a:path w="125" h="106">
                    <a:moveTo>
                      <a:pt x="125" y="0"/>
                    </a:moveTo>
                    <a:cubicBezTo>
                      <a:pt x="48" y="106"/>
                      <a:pt x="48" y="106"/>
                      <a:pt x="48" y="106"/>
                    </a:cubicBezTo>
                    <a:cubicBezTo>
                      <a:pt x="25" y="89"/>
                      <a:pt x="9" y="68"/>
                      <a:pt x="0" y="41"/>
                    </a:cubicBezTo>
                    <a:lnTo>
                      <a:pt x="125" y="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 name="Freeform 347"/>
              <p:cNvSpPr>
                <a:spLocks/>
              </p:cNvSpPr>
              <p:nvPr/>
            </p:nvSpPr>
            <p:spPr bwMode="auto">
              <a:xfrm>
                <a:off x="1736725" y="2363788"/>
                <a:ext cx="320675" cy="233363"/>
              </a:xfrm>
              <a:custGeom>
                <a:avLst/>
                <a:gdLst>
                  <a:gd name="T0" fmla="*/ 77 w 202"/>
                  <a:gd name="T1" fmla="*/ 0 h 147"/>
                  <a:gd name="T2" fmla="*/ 202 w 202"/>
                  <a:gd name="T3" fmla="*/ 41 h 147"/>
                  <a:gd name="T4" fmla="*/ 37 w 202"/>
                  <a:gd name="T5" fmla="*/ 125 h 147"/>
                  <a:gd name="T6" fmla="*/ 0 w 202"/>
                  <a:gd name="T7" fmla="*/ 106 h 147"/>
                  <a:gd name="T8" fmla="*/ 77 w 202"/>
                  <a:gd name="T9" fmla="*/ 0 h 147"/>
                </a:gdLst>
                <a:ahLst/>
                <a:cxnLst>
                  <a:cxn ang="0">
                    <a:pos x="T0" y="T1"/>
                  </a:cxn>
                  <a:cxn ang="0">
                    <a:pos x="T2" y="T3"/>
                  </a:cxn>
                  <a:cxn ang="0">
                    <a:pos x="T4" y="T5"/>
                  </a:cxn>
                  <a:cxn ang="0">
                    <a:pos x="T6" y="T7"/>
                  </a:cxn>
                  <a:cxn ang="0">
                    <a:pos x="T8" y="T9"/>
                  </a:cxn>
                </a:cxnLst>
                <a:rect l="0" t="0" r="r" b="b"/>
                <a:pathLst>
                  <a:path w="202" h="147">
                    <a:moveTo>
                      <a:pt x="77" y="0"/>
                    </a:moveTo>
                    <a:cubicBezTo>
                      <a:pt x="202" y="41"/>
                      <a:pt x="202" y="41"/>
                      <a:pt x="202" y="41"/>
                    </a:cubicBezTo>
                    <a:cubicBezTo>
                      <a:pt x="180" y="110"/>
                      <a:pt x="106" y="147"/>
                      <a:pt x="37" y="125"/>
                    </a:cubicBezTo>
                    <a:cubicBezTo>
                      <a:pt x="23" y="120"/>
                      <a:pt x="12" y="115"/>
                      <a:pt x="0" y="106"/>
                    </a:cubicBezTo>
                    <a:lnTo>
                      <a:pt x="7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 name="Freeform 348"/>
              <p:cNvSpPr>
                <a:spLocks/>
              </p:cNvSpPr>
              <p:nvPr/>
            </p:nvSpPr>
            <p:spPr bwMode="auto">
              <a:xfrm>
                <a:off x="1858963" y="2155825"/>
                <a:ext cx="207963" cy="273050"/>
              </a:xfrm>
              <a:custGeom>
                <a:avLst/>
                <a:gdLst>
                  <a:gd name="T0" fmla="*/ 0 w 131"/>
                  <a:gd name="T1" fmla="*/ 131 h 172"/>
                  <a:gd name="T2" fmla="*/ 0 w 131"/>
                  <a:gd name="T3" fmla="*/ 0 h 172"/>
                  <a:gd name="T4" fmla="*/ 131 w 131"/>
                  <a:gd name="T5" fmla="*/ 131 h 172"/>
                  <a:gd name="T6" fmla="*/ 125 w 131"/>
                  <a:gd name="T7" fmla="*/ 172 h 172"/>
                  <a:gd name="T8" fmla="*/ 0 w 131"/>
                  <a:gd name="T9" fmla="*/ 131 h 172"/>
                </a:gdLst>
                <a:ahLst/>
                <a:cxnLst>
                  <a:cxn ang="0">
                    <a:pos x="T0" y="T1"/>
                  </a:cxn>
                  <a:cxn ang="0">
                    <a:pos x="T2" y="T3"/>
                  </a:cxn>
                  <a:cxn ang="0">
                    <a:pos x="T4" y="T5"/>
                  </a:cxn>
                  <a:cxn ang="0">
                    <a:pos x="T6" y="T7"/>
                  </a:cxn>
                  <a:cxn ang="0">
                    <a:pos x="T8" y="T9"/>
                  </a:cxn>
                </a:cxnLst>
                <a:rect l="0" t="0" r="r" b="b"/>
                <a:pathLst>
                  <a:path w="131" h="172">
                    <a:moveTo>
                      <a:pt x="0" y="131"/>
                    </a:moveTo>
                    <a:cubicBezTo>
                      <a:pt x="0" y="0"/>
                      <a:pt x="0" y="0"/>
                      <a:pt x="0" y="0"/>
                    </a:cubicBezTo>
                    <a:cubicBezTo>
                      <a:pt x="73" y="0"/>
                      <a:pt x="131" y="59"/>
                      <a:pt x="131" y="131"/>
                    </a:cubicBezTo>
                    <a:cubicBezTo>
                      <a:pt x="131" y="146"/>
                      <a:pt x="129" y="158"/>
                      <a:pt x="125" y="172"/>
                    </a:cubicBezTo>
                    <a:lnTo>
                      <a:pt x="0" y="13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 name="Freeform 349"/>
              <p:cNvSpPr>
                <a:spLocks noEditPoints="1"/>
              </p:cNvSpPr>
              <p:nvPr/>
            </p:nvSpPr>
            <p:spPr bwMode="auto">
              <a:xfrm>
                <a:off x="3565525" y="2798763"/>
                <a:ext cx="461963" cy="339725"/>
              </a:xfrm>
              <a:custGeom>
                <a:avLst/>
                <a:gdLst>
                  <a:gd name="T0" fmla="*/ 141 w 292"/>
                  <a:gd name="T1" fmla="*/ 22 h 214"/>
                  <a:gd name="T2" fmla="*/ 267 w 292"/>
                  <a:gd name="T3" fmla="*/ 22 h 214"/>
                  <a:gd name="T4" fmla="*/ 256 w 292"/>
                  <a:gd name="T5" fmla="*/ 3 h 214"/>
                  <a:gd name="T6" fmla="*/ 251 w 292"/>
                  <a:gd name="T7" fmla="*/ 0 h 214"/>
                  <a:gd name="T8" fmla="*/ 158 w 292"/>
                  <a:gd name="T9" fmla="*/ 0 h 214"/>
                  <a:gd name="T10" fmla="*/ 153 w 292"/>
                  <a:gd name="T11" fmla="*/ 3 h 214"/>
                  <a:gd name="T12" fmla="*/ 141 w 292"/>
                  <a:gd name="T13" fmla="*/ 22 h 214"/>
                  <a:gd name="T14" fmla="*/ 292 w 292"/>
                  <a:gd name="T15" fmla="*/ 38 h 214"/>
                  <a:gd name="T16" fmla="*/ 285 w 292"/>
                  <a:gd name="T17" fmla="*/ 31 h 214"/>
                  <a:gd name="T18" fmla="*/ 232 w 292"/>
                  <a:gd name="T19" fmla="*/ 31 h 214"/>
                  <a:gd name="T20" fmla="*/ 61 w 292"/>
                  <a:gd name="T21" fmla="*/ 31 h 214"/>
                  <a:gd name="T22" fmla="*/ 8 w 292"/>
                  <a:gd name="T23" fmla="*/ 31 h 214"/>
                  <a:gd name="T24" fmla="*/ 0 w 292"/>
                  <a:gd name="T25" fmla="*/ 38 h 214"/>
                  <a:gd name="T26" fmla="*/ 0 w 292"/>
                  <a:gd name="T27" fmla="*/ 207 h 214"/>
                  <a:gd name="T28" fmla="*/ 8 w 292"/>
                  <a:gd name="T29" fmla="*/ 214 h 214"/>
                  <a:gd name="T30" fmla="*/ 61 w 292"/>
                  <a:gd name="T31" fmla="*/ 214 h 214"/>
                  <a:gd name="T32" fmla="*/ 232 w 292"/>
                  <a:gd name="T33" fmla="*/ 214 h 214"/>
                  <a:gd name="T34" fmla="*/ 285 w 292"/>
                  <a:gd name="T35" fmla="*/ 214 h 214"/>
                  <a:gd name="T36" fmla="*/ 292 w 292"/>
                  <a:gd name="T37" fmla="*/ 207 h 214"/>
                  <a:gd name="T38" fmla="*/ 292 w 292"/>
                  <a:gd name="T39" fmla="*/ 3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2" h="214">
                    <a:moveTo>
                      <a:pt x="141" y="22"/>
                    </a:moveTo>
                    <a:cubicBezTo>
                      <a:pt x="267" y="22"/>
                      <a:pt x="267" y="22"/>
                      <a:pt x="267" y="22"/>
                    </a:cubicBezTo>
                    <a:cubicBezTo>
                      <a:pt x="256" y="3"/>
                      <a:pt x="256" y="3"/>
                      <a:pt x="256" y="3"/>
                    </a:cubicBezTo>
                    <a:cubicBezTo>
                      <a:pt x="256" y="3"/>
                      <a:pt x="254" y="0"/>
                      <a:pt x="251" y="0"/>
                    </a:cubicBezTo>
                    <a:cubicBezTo>
                      <a:pt x="158" y="0"/>
                      <a:pt x="158" y="0"/>
                      <a:pt x="158" y="0"/>
                    </a:cubicBezTo>
                    <a:cubicBezTo>
                      <a:pt x="158" y="0"/>
                      <a:pt x="154" y="0"/>
                      <a:pt x="153" y="3"/>
                    </a:cubicBezTo>
                    <a:lnTo>
                      <a:pt x="141" y="22"/>
                    </a:lnTo>
                    <a:close/>
                    <a:moveTo>
                      <a:pt x="292" y="38"/>
                    </a:moveTo>
                    <a:cubicBezTo>
                      <a:pt x="292" y="38"/>
                      <a:pt x="292" y="31"/>
                      <a:pt x="285" y="31"/>
                    </a:cubicBezTo>
                    <a:cubicBezTo>
                      <a:pt x="232" y="31"/>
                      <a:pt x="232" y="31"/>
                      <a:pt x="232" y="31"/>
                    </a:cubicBezTo>
                    <a:cubicBezTo>
                      <a:pt x="61" y="31"/>
                      <a:pt x="61" y="31"/>
                      <a:pt x="61" y="31"/>
                    </a:cubicBezTo>
                    <a:cubicBezTo>
                      <a:pt x="8" y="31"/>
                      <a:pt x="8" y="31"/>
                      <a:pt x="8" y="31"/>
                    </a:cubicBezTo>
                    <a:cubicBezTo>
                      <a:pt x="0" y="31"/>
                      <a:pt x="0" y="38"/>
                      <a:pt x="0" y="38"/>
                    </a:cubicBezTo>
                    <a:cubicBezTo>
                      <a:pt x="0" y="207"/>
                      <a:pt x="0" y="207"/>
                      <a:pt x="0" y="207"/>
                    </a:cubicBezTo>
                    <a:cubicBezTo>
                      <a:pt x="0" y="214"/>
                      <a:pt x="8" y="214"/>
                      <a:pt x="8" y="214"/>
                    </a:cubicBezTo>
                    <a:cubicBezTo>
                      <a:pt x="61" y="214"/>
                      <a:pt x="61" y="214"/>
                      <a:pt x="61" y="214"/>
                    </a:cubicBezTo>
                    <a:cubicBezTo>
                      <a:pt x="232" y="214"/>
                      <a:pt x="232" y="214"/>
                      <a:pt x="232" y="214"/>
                    </a:cubicBezTo>
                    <a:cubicBezTo>
                      <a:pt x="285" y="214"/>
                      <a:pt x="285" y="214"/>
                      <a:pt x="285" y="214"/>
                    </a:cubicBezTo>
                    <a:cubicBezTo>
                      <a:pt x="285" y="214"/>
                      <a:pt x="292" y="214"/>
                      <a:pt x="292" y="207"/>
                    </a:cubicBezTo>
                    <a:lnTo>
                      <a:pt x="292" y="38"/>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 name="Oval 350"/>
              <p:cNvSpPr>
                <a:spLocks noChangeArrowheads="1"/>
              </p:cNvSpPr>
              <p:nvPr/>
            </p:nvSpPr>
            <p:spPr bwMode="auto">
              <a:xfrm>
                <a:off x="3343275" y="3792538"/>
                <a:ext cx="414338" cy="417513"/>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 name="Freeform 351"/>
              <p:cNvSpPr>
                <a:spLocks/>
              </p:cNvSpPr>
              <p:nvPr/>
            </p:nvSpPr>
            <p:spPr bwMode="auto">
              <a:xfrm>
                <a:off x="3511550" y="3914775"/>
                <a:ext cx="117475" cy="171450"/>
              </a:xfrm>
              <a:custGeom>
                <a:avLst/>
                <a:gdLst>
                  <a:gd name="T0" fmla="*/ 0 w 74"/>
                  <a:gd name="T1" fmla="*/ 108 h 108"/>
                  <a:gd name="T2" fmla="*/ 74 w 74"/>
                  <a:gd name="T3" fmla="*/ 54 h 108"/>
                  <a:gd name="T4" fmla="*/ 0 w 74"/>
                  <a:gd name="T5" fmla="*/ 0 h 108"/>
                  <a:gd name="T6" fmla="*/ 0 w 74"/>
                  <a:gd name="T7" fmla="*/ 108 h 108"/>
                </a:gdLst>
                <a:ahLst/>
                <a:cxnLst>
                  <a:cxn ang="0">
                    <a:pos x="T0" y="T1"/>
                  </a:cxn>
                  <a:cxn ang="0">
                    <a:pos x="T2" y="T3"/>
                  </a:cxn>
                  <a:cxn ang="0">
                    <a:pos x="T4" y="T5"/>
                  </a:cxn>
                  <a:cxn ang="0">
                    <a:pos x="T6" y="T7"/>
                  </a:cxn>
                </a:cxnLst>
                <a:rect l="0" t="0" r="r" b="b"/>
                <a:pathLst>
                  <a:path w="74" h="108">
                    <a:moveTo>
                      <a:pt x="0" y="108"/>
                    </a:moveTo>
                    <a:lnTo>
                      <a:pt x="74" y="54"/>
                    </a:lnTo>
                    <a:lnTo>
                      <a:pt x="0" y="0"/>
                    </a:lnTo>
                    <a:lnTo>
                      <a:pt x="0" y="1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 name="Freeform 352"/>
              <p:cNvSpPr>
                <a:spLocks noEditPoints="1"/>
              </p:cNvSpPr>
              <p:nvPr/>
            </p:nvSpPr>
            <p:spPr bwMode="auto">
              <a:xfrm>
                <a:off x="1604963" y="3679825"/>
                <a:ext cx="423863" cy="325438"/>
              </a:xfrm>
              <a:custGeom>
                <a:avLst/>
                <a:gdLst>
                  <a:gd name="T0" fmla="*/ 133 w 267"/>
                  <a:gd name="T1" fmla="*/ 115 h 205"/>
                  <a:gd name="T2" fmla="*/ 267 w 267"/>
                  <a:gd name="T3" fmla="*/ 19 h 205"/>
                  <a:gd name="T4" fmla="*/ 267 w 267"/>
                  <a:gd name="T5" fmla="*/ 0 h 205"/>
                  <a:gd name="T6" fmla="*/ 133 w 267"/>
                  <a:gd name="T7" fmla="*/ 0 h 205"/>
                  <a:gd name="T8" fmla="*/ 0 w 267"/>
                  <a:gd name="T9" fmla="*/ 0 h 205"/>
                  <a:gd name="T10" fmla="*/ 0 w 267"/>
                  <a:gd name="T11" fmla="*/ 19 h 205"/>
                  <a:gd name="T12" fmla="*/ 133 w 267"/>
                  <a:gd name="T13" fmla="*/ 115 h 205"/>
                  <a:gd name="T14" fmla="*/ 267 w 267"/>
                  <a:gd name="T15" fmla="*/ 205 h 205"/>
                  <a:gd name="T16" fmla="*/ 267 w 267"/>
                  <a:gd name="T17" fmla="*/ 38 h 205"/>
                  <a:gd name="T18" fmla="*/ 133 w 267"/>
                  <a:gd name="T19" fmla="*/ 136 h 205"/>
                  <a:gd name="T20" fmla="*/ 0 w 267"/>
                  <a:gd name="T21" fmla="*/ 38 h 205"/>
                  <a:gd name="T22" fmla="*/ 0 w 267"/>
                  <a:gd name="T23" fmla="*/ 205 h 205"/>
                  <a:gd name="T24" fmla="*/ 133 w 267"/>
                  <a:gd name="T25" fmla="*/ 205 h 205"/>
                  <a:gd name="T26" fmla="*/ 267 w 267"/>
                  <a:gd name="T2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7" h="205">
                    <a:moveTo>
                      <a:pt x="133" y="115"/>
                    </a:moveTo>
                    <a:lnTo>
                      <a:pt x="267" y="19"/>
                    </a:lnTo>
                    <a:lnTo>
                      <a:pt x="267" y="0"/>
                    </a:lnTo>
                    <a:lnTo>
                      <a:pt x="133" y="0"/>
                    </a:lnTo>
                    <a:lnTo>
                      <a:pt x="0" y="0"/>
                    </a:lnTo>
                    <a:lnTo>
                      <a:pt x="0" y="19"/>
                    </a:lnTo>
                    <a:lnTo>
                      <a:pt x="133" y="115"/>
                    </a:lnTo>
                    <a:close/>
                    <a:moveTo>
                      <a:pt x="267" y="205"/>
                    </a:moveTo>
                    <a:lnTo>
                      <a:pt x="267" y="38"/>
                    </a:lnTo>
                    <a:lnTo>
                      <a:pt x="133" y="136"/>
                    </a:lnTo>
                    <a:lnTo>
                      <a:pt x="0" y="38"/>
                    </a:lnTo>
                    <a:lnTo>
                      <a:pt x="0" y="205"/>
                    </a:lnTo>
                    <a:lnTo>
                      <a:pt x="133" y="205"/>
                    </a:lnTo>
                    <a:lnTo>
                      <a:pt x="267" y="205"/>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2" name="Freeform 353"/>
              <p:cNvSpPr>
                <a:spLocks/>
              </p:cNvSpPr>
              <p:nvPr/>
            </p:nvSpPr>
            <p:spPr bwMode="auto">
              <a:xfrm>
                <a:off x="1025525" y="3070225"/>
                <a:ext cx="698500" cy="398463"/>
              </a:xfrm>
              <a:custGeom>
                <a:avLst/>
                <a:gdLst>
                  <a:gd name="T0" fmla="*/ 347 w 440"/>
                  <a:gd name="T1" fmla="*/ 24 h 252"/>
                  <a:gd name="T2" fmla="*/ 293 w 440"/>
                  <a:gd name="T3" fmla="*/ 3 h 252"/>
                  <a:gd name="T4" fmla="*/ 257 w 440"/>
                  <a:gd name="T5" fmla="*/ 31 h 252"/>
                  <a:gd name="T6" fmla="*/ 220 w 440"/>
                  <a:gd name="T7" fmla="*/ 33 h 252"/>
                  <a:gd name="T8" fmla="*/ 184 w 440"/>
                  <a:gd name="T9" fmla="*/ 31 h 252"/>
                  <a:gd name="T10" fmla="*/ 148 w 440"/>
                  <a:gd name="T11" fmla="*/ 3 h 252"/>
                  <a:gd name="T12" fmla="*/ 94 w 440"/>
                  <a:gd name="T13" fmla="*/ 24 h 252"/>
                  <a:gd name="T14" fmla="*/ 69 w 440"/>
                  <a:gd name="T15" fmla="*/ 246 h 252"/>
                  <a:gd name="T16" fmla="*/ 128 w 440"/>
                  <a:gd name="T17" fmla="*/ 210 h 252"/>
                  <a:gd name="T18" fmla="*/ 220 w 440"/>
                  <a:gd name="T19" fmla="*/ 179 h 252"/>
                  <a:gd name="T20" fmla="*/ 312 w 440"/>
                  <a:gd name="T21" fmla="*/ 210 h 252"/>
                  <a:gd name="T22" fmla="*/ 372 w 440"/>
                  <a:gd name="T23" fmla="*/ 246 h 252"/>
                  <a:gd name="T24" fmla="*/ 347 w 440"/>
                  <a:gd name="T25" fmla="*/ 2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0" h="252">
                    <a:moveTo>
                      <a:pt x="347" y="24"/>
                    </a:moveTo>
                    <a:cubicBezTo>
                      <a:pt x="341" y="13"/>
                      <a:pt x="299" y="0"/>
                      <a:pt x="293" y="3"/>
                    </a:cubicBezTo>
                    <a:cubicBezTo>
                      <a:pt x="290" y="6"/>
                      <a:pt x="265" y="28"/>
                      <a:pt x="257" y="31"/>
                    </a:cubicBezTo>
                    <a:cubicBezTo>
                      <a:pt x="249" y="33"/>
                      <a:pt x="220" y="33"/>
                      <a:pt x="220" y="33"/>
                    </a:cubicBezTo>
                    <a:cubicBezTo>
                      <a:pt x="220" y="33"/>
                      <a:pt x="192" y="33"/>
                      <a:pt x="184" y="31"/>
                    </a:cubicBezTo>
                    <a:cubicBezTo>
                      <a:pt x="175" y="28"/>
                      <a:pt x="151" y="6"/>
                      <a:pt x="148" y="3"/>
                    </a:cubicBezTo>
                    <a:cubicBezTo>
                      <a:pt x="141" y="0"/>
                      <a:pt x="99" y="13"/>
                      <a:pt x="94" y="24"/>
                    </a:cubicBezTo>
                    <a:cubicBezTo>
                      <a:pt x="94" y="24"/>
                      <a:pt x="0" y="222"/>
                      <a:pt x="69" y="246"/>
                    </a:cubicBezTo>
                    <a:cubicBezTo>
                      <a:pt x="99" y="252"/>
                      <a:pt x="111" y="226"/>
                      <a:pt x="128" y="210"/>
                    </a:cubicBezTo>
                    <a:cubicBezTo>
                      <a:pt x="145" y="194"/>
                      <a:pt x="170" y="179"/>
                      <a:pt x="220" y="179"/>
                    </a:cubicBezTo>
                    <a:cubicBezTo>
                      <a:pt x="271" y="179"/>
                      <a:pt x="295" y="194"/>
                      <a:pt x="312" y="210"/>
                    </a:cubicBezTo>
                    <a:cubicBezTo>
                      <a:pt x="329" y="226"/>
                      <a:pt x="341" y="252"/>
                      <a:pt x="372" y="246"/>
                    </a:cubicBezTo>
                    <a:cubicBezTo>
                      <a:pt x="440" y="222"/>
                      <a:pt x="347" y="24"/>
                      <a:pt x="347" y="24"/>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 name="Oval 354"/>
              <p:cNvSpPr>
                <a:spLocks noChangeArrowheads="1"/>
              </p:cNvSpPr>
              <p:nvPr/>
            </p:nvSpPr>
            <p:spPr bwMode="auto">
              <a:xfrm>
                <a:off x="1346200" y="3186113"/>
                <a:ext cx="58738" cy="57150"/>
              </a:xfrm>
              <a:prstGeom prst="ellipse">
                <a:avLst/>
              </a:prstGeom>
              <a:solidFill>
                <a:srgbClr val="45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74" name="Group 73"/>
          <p:cNvGrpSpPr/>
          <p:nvPr/>
        </p:nvGrpSpPr>
        <p:grpSpPr>
          <a:xfrm>
            <a:off x="1" y="4120629"/>
            <a:ext cx="11757022" cy="548640"/>
            <a:chOff x="1" y="4120629"/>
            <a:chExt cx="11757022" cy="548640"/>
          </a:xfrm>
        </p:grpSpPr>
        <p:sp>
          <p:nvSpPr>
            <p:cNvPr id="75" name="Rectangle 74"/>
            <p:cNvSpPr/>
            <p:nvPr/>
          </p:nvSpPr>
          <p:spPr bwMode="auto">
            <a:xfrm>
              <a:off x="1" y="4120629"/>
              <a:ext cx="3248024" cy="548640"/>
            </a:xfrm>
            <a:prstGeom prst="rect">
              <a:avLst/>
            </a:prstGeom>
            <a:solidFill>
              <a:srgbClr val="0D163D"/>
            </a:solidFill>
            <a:ln w="9525" cap="flat" cmpd="sng" algn="ctr">
              <a:noFill/>
              <a:prstDash val="solid"/>
              <a:headEnd type="none" w="med" len="med"/>
              <a:tailEnd type="none" w="med" len="med"/>
            </a:ln>
            <a:effectLst/>
          </p:spPr>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	Details</a:t>
              </a:r>
            </a:p>
          </p:txBody>
        </p:sp>
        <p:sp>
          <p:nvSpPr>
            <p:cNvPr id="76" name="Rectangle 75"/>
            <p:cNvSpPr/>
            <p:nvPr/>
          </p:nvSpPr>
          <p:spPr>
            <a:xfrm>
              <a:off x="3248024" y="4120629"/>
              <a:ext cx="8508999" cy="548640"/>
            </a:xfrm>
            <a:prstGeom prst="rect">
              <a:avLst/>
            </a:prstGeom>
            <a:solidFill>
              <a:srgbClr val="FFFFFF">
                <a:lumMod val="95000"/>
              </a:srgbClr>
            </a:solidFill>
          </p:spPr>
          <p:txBody>
            <a:bodyPr wrap="square" lIns="9144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a:ln>
                    <a:noFill/>
                  </a:ln>
                  <a:solidFill>
                    <a:srgbClr val="505050"/>
                  </a:solidFill>
                  <a:effectLst/>
                  <a:uLnTx/>
                  <a:uFillTx/>
                </a:rPr>
                <a:t> </a:t>
              </a:r>
              <a:r>
                <a:rPr kumimoji="0" lang="en-IN" sz="1400" b="0" i="0" u="none" strike="noStrike" kern="0" cap="none" spc="0" normalizeH="0" baseline="0" noProof="0" dirty="0">
                  <a:ln>
                    <a:noFill/>
                  </a:ln>
                  <a:solidFill>
                    <a:sysClr val="windowText" lastClr="000000"/>
                  </a:solidFill>
                  <a:effectLst/>
                  <a:uLnTx/>
                  <a:uFillTx/>
                </a:rPr>
                <a:t>Must be able to store data with all details; aggregation may lead to loss of details.</a:t>
              </a:r>
              <a:endParaRPr kumimoji="0" lang="en-US" sz="1400" b="0" i="0" u="none" strike="noStrike" kern="0" cap="none" spc="0" normalizeH="0" baseline="0" noProof="0" dirty="0">
                <a:ln>
                  <a:noFill/>
                </a:ln>
                <a:solidFill>
                  <a:sysClr val="windowText" lastClr="000000"/>
                </a:solidFill>
                <a:effectLst/>
                <a:uLnTx/>
                <a:uFillTx/>
              </a:endParaRPr>
            </a:p>
          </p:txBody>
        </p:sp>
        <p:grpSp>
          <p:nvGrpSpPr>
            <p:cNvPr id="77" name="Group 76"/>
            <p:cNvGrpSpPr/>
            <p:nvPr/>
          </p:nvGrpSpPr>
          <p:grpSpPr>
            <a:xfrm>
              <a:off x="690860" y="4173818"/>
              <a:ext cx="392844" cy="442262"/>
              <a:chOff x="3917950" y="4414838"/>
              <a:chExt cx="1249363" cy="1406525"/>
            </a:xfrm>
          </p:grpSpPr>
          <p:sp>
            <p:nvSpPr>
              <p:cNvPr id="78" name="Freeform 359"/>
              <p:cNvSpPr>
                <a:spLocks noEditPoints="1"/>
              </p:cNvSpPr>
              <p:nvPr/>
            </p:nvSpPr>
            <p:spPr bwMode="auto">
              <a:xfrm>
                <a:off x="3917950" y="4414838"/>
                <a:ext cx="1249363" cy="1406525"/>
              </a:xfrm>
              <a:custGeom>
                <a:avLst/>
                <a:gdLst>
                  <a:gd name="T0" fmla="*/ 1116 w 1704"/>
                  <a:gd name="T1" fmla="*/ 362 h 1920"/>
                  <a:gd name="T2" fmla="*/ 1070 w 1704"/>
                  <a:gd name="T3" fmla="*/ 285 h 1920"/>
                  <a:gd name="T4" fmla="*/ 1398 w 1704"/>
                  <a:gd name="T5" fmla="*/ 199 h 1920"/>
                  <a:gd name="T6" fmla="*/ 1323 w 1704"/>
                  <a:gd name="T7" fmla="*/ 149 h 1920"/>
                  <a:gd name="T8" fmla="*/ 1089 w 1704"/>
                  <a:gd name="T9" fmla="*/ 99 h 1920"/>
                  <a:gd name="T10" fmla="*/ 869 w 1704"/>
                  <a:gd name="T11" fmla="*/ 0 h 1920"/>
                  <a:gd name="T12" fmla="*/ 263 w 1704"/>
                  <a:gd name="T13" fmla="*/ 348 h 1920"/>
                  <a:gd name="T14" fmla="*/ 283 w 1704"/>
                  <a:gd name="T15" fmla="*/ 397 h 1920"/>
                  <a:gd name="T16" fmla="*/ 264 w 1704"/>
                  <a:gd name="T17" fmla="*/ 446 h 1920"/>
                  <a:gd name="T18" fmla="*/ 770 w 1704"/>
                  <a:gd name="T19" fmla="*/ 531 h 1920"/>
                  <a:gd name="T20" fmla="*/ 957 w 1704"/>
                  <a:gd name="T21" fmla="*/ 603 h 1920"/>
                  <a:gd name="T22" fmla="*/ 436 w 1704"/>
                  <a:gd name="T23" fmla="*/ 652 h 1920"/>
                  <a:gd name="T24" fmla="*/ 496 w 1704"/>
                  <a:gd name="T25" fmla="*/ 701 h 1920"/>
                  <a:gd name="T26" fmla="*/ 867 w 1704"/>
                  <a:gd name="T27" fmla="*/ 786 h 1920"/>
                  <a:gd name="T28" fmla="*/ 798 w 1704"/>
                  <a:gd name="T29" fmla="*/ 865 h 1920"/>
                  <a:gd name="T30" fmla="*/ 623 w 1704"/>
                  <a:gd name="T31" fmla="*/ 943 h 1920"/>
                  <a:gd name="T32" fmla="*/ 579 w 1704"/>
                  <a:gd name="T33" fmla="*/ 1028 h 1920"/>
                  <a:gd name="T34" fmla="*/ 597 w 1704"/>
                  <a:gd name="T35" fmla="*/ 1077 h 1920"/>
                  <a:gd name="T36" fmla="*/ 727 w 1704"/>
                  <a:gd name="T37" fmla="*/ 1127 h 1920"/>
                  <a:gd name="T38" fmla="*/ 1009 w 1704"/>
                  <a:gd name="T39" fmla="*/ 1212 h 1920"/>
                  <a:gd name="T40" fmla="*/ 1130 w 1704"/>
                  <a:gd name="T41" fmla="*/ 1289 h 1920"/>
                  <a:gd name="T42" fmla="*/ 1102 w 1704"/>
                  <a:gd name="T43" fmla="*/ 1368 h 1920"/>
                  <a:gd name="T44" fmla="*/ 887 w 1704"/>
                  <a:gd name="T45" fmla="*/ 1453 h 1920"/>
                  <a:gd name="T46" fmla="*/ 840 w 1704"/>
                  <a:gd name="T47" fmla="*/ 1503 h 1920"/>
                  <a:gd name="T48" fmla="*/ 883 w 1704"/>
                  <a:gd name="T49" fmla="*/ 1552 h 1920"/>
                  <a:gd name="T50" fmla="*/ 925 w 1704"/>
                  <a:gd name="T51" fmla="*/ 1637 h 1920"/>
                  <a:gd name="T52" fmla="*/ 68 w 1704"/>
                  <a:gd name="T53" fmla="*/ 827 h 1920"/>
                  <a:gd name="T54" fmla="*/ 91 w 1704"/>
                  <a:gd name="T55" fmla="*/ 212 h 1920"/>
                  <a:gd name="T56" fmla="*/ 77 w 1704"/>
                  <a:gd name="T57" fmla="*/ 237 h 1920"/>
                  <a:gd name="T58" fmla="*/ 40 w 1704"/>
                  <a:gd name="T59" fmla="*/ 827 h 1920"/>
                  <a:gd name="T60" fmla="*/ 959 w 1704"/>
                  <a:gd name="T61" fmla="*/ 1630 h 1920"/>
                  <a:gd name="T62" fmla="*/ 959 w 1704"/>
                  <a:gd name="T63" fmla="*/ 1580 h 1920"/>
                  <a:gd name="T64" fmla="*/ 875 w 1704"/>
                  <a:gd name="T65" fmla="*/ 1495 h 1920"/>
                  <a:gd name="T66" fmla="*/ 880 w 1704"/>
                  <a:gd name="T67" fmla="*/ 1418 h 1920"/>
                  <a:gd name="T68" fmla="*/ 845 w 1704"/>
                  <a:gd name="T69" fmla="*/ 1340 h 1920"/>
                  <a:gd name="T70" fmla="*/ 1158 w 1704"/>
                  <a:gd name="T71" fmla="*/ 1290 h 1920"/>
                  <a:gd name="T72" fmla="*/ 1009 w 1704"/>
                  <a:gd name="T73" fmla="*/ 1240 h 1920"/>
                  <a:gd name="T74" fmla="*/ 727 w 1704"/>
                  <a:gd name="T75" fmla="*/ 1155 h 1920"/>
                  <a:gd name="T76" fmla="*/ 625 w 1704"/>
                  <a:gd name="T77" fmla="*/ 1077 h 1920"/>
                  <a:gd name="T78" fmla="*/ 579 w 1704"/>
                  <a:gd name="T79" fmla="*/ 1000 h 1920"/>
                  <a:gd name="T80" fmla="*/ 623 w 1704"/>
                  <a:gd name="T81" fmla="*/ 915 h 1920"/>
                  <a:gd name="T82" fmla="*/ 826 w 1704"/>
                  <a:gd name="T83" fmla="*/ 865 h 1920"/>
                  <a:gd name="T84" fmla="*/ 867 w 1704"/>
                  <a:gd name="T85" fmla="*/ 814 h 1920"/>
                  <a:gd name="T86" fmla="*/ 496 w 1704"/>
                  <a:gd name="T87" fmla="*/ 729 h 1920"/>
                  <a:gd name="T88" fmla="*/ 464 w 1704"/>
                  <a:gd name="T89" fmla="*/ 652 h 1920"/>
                  <a:gd name="T90" fmla="*/ 1006 w 1704"/>
                  <a:gd name="T91" fmla="*/ 575 h 1920"/>
                  <a:gd name="T92" fmla="*/ 462 w 1704"/>
                  <a:gd name="T93" fmla="*/ 559 h 1920"/>
                  <a:gd name="T94" fmla="*/ 256 w 1704"/>
                  <a:gd name="T95" fmla="*/ 482 h 1920"/>
                  <a:gd name="T96" fmla="*/ 318 w 1704"/>
                  <a:gd name="T97" fmla="*/ 405 h 1920"/>
                  <a:gd name="T98" fmla="*/ 580 w 1704"/>
                  <a:gd name="T99" fmla="*/ 320 h 1920"/>
                  <a:gd name="T100" fmla="*/ 869 w 1704"/>
                  <a:gd name="T101" fmla="*/ 28 h 1920"/>
                  <a:gd name="T102" fmla="*/ 1089 w 1704"/>
                  <a:gd name="T103" fmla="*/ 71 h 1920"/>
                  <a:gd name="T104" fmla="*/ 1295 w 1704"/>
                  <a:gd name="T105" fmla="*/ 149 h 1920"/>
                  <a:gd name="T106" fmla="*/ 1398 w 1704"/>
                  <a:gd name="T107" fmla="*/ 227 h 1920"/>
                  <a:gd name="T108" fmla="*/ 1070 w 1704"/>
                  <a:gd name="T109" fmla="*/ 313 h 1920"/>
                  <a:gd name="T110" fmla="*/ 1088 w 1704"/>
                  <a:gd name="T111" fmla="*/ 362 h 1920"/>
                  <a:gd name="T112" fmla="*/ 1676 w 1704"/>
                  <a:gd name="T113" fmla="*/ 827 h 1920"/>
                  <a:gd name="T114" fmla="*/ 1061 w 1704"/>
                  <a:gd name="T115" fmla="*/ 1619 h 1920"/>
                  <a:gd name="T116" fmla="*/ 985 w 1704"/>
                  <a:gd name="T117" fmla="*/ 1810 h 1920"/>
                  <a:gd name="T118" fmla="*/ 1704 w 1704"/>
                  <a:gd name="T119" fmla="*/ 836 h 1920"/>
                  <a:gd name="T120" fmla="*/ 61 w 1704"/>
                  <a:gd name="T121" fmla="*/ 213 h 1920"/>
                  <a:gd name="T122" fmla="*/ 63 w 1704"/>
                  <a:gd name="T123" fmla="*/ 204 h 1920"/>
                  <a:gd name="T124" fmla="*/ 965 w 1704"/>
                  <a:gd name="T125" fmla="*/ 1844 h 1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4" h="1920">
                    <a:moveTo>
                      <a:pt x="1578" y="389"/>
                    </a:moveTo>
                    <a:cubicBezTo>
                      <a:pt x="1576" y="385"/>
                      <a:pt x="1576" y="385"/>
                      <a:pt x="1576" y="385"/>
                    </a:cubicBezTo>
                    <a:cubicBezTo>
                      <a:pt x="1569" y="376"/>
                      <a:pt x="1559" y="370"/>
                      <a:pt x="1547" y="370"/>
                    </a:cubicBezTo>
                    <a:cubicBezTo>
                      <a:pt x="1124" y="370"/>
                      <a:pt x="1124" y="370"/>
                      <a:pt x="1124" y="370"/>
                    </a:cubicBezTo>
                    <a:cubicBezTo>
                      <a:pt x="1119" y="370"/>
                      <a:pt x="1116" y="366"/>
                      <a:pt x="1116" y="362"/>
                    </a:cubicBezTo>
                    <a:cubicBezTo>
                      <a:pt x="1116" y="357"/>
                      <a:pt x="1119" y="354"/>
                      <a:pt x="1124" y="354"/>
                    </a:cubicBezTo>
                    <a:cubicBezTo>
                      <a:pt x="1442" y="354"/>
                      <a:pt x="1442" y="354"/>
                      <a:pt x="1442" y="354"/>
                    </a:cubicBezTo>
                    <a:cubicBezTo>
                      <a:pt x="1461" y="354"/>
                      <a:pt x="1476" y="338"/>
                      <a:pt x="1476" y="319"/>
                    </a:cubicBezTo>
                    <a:cubicBezTo>
                      <a:pt x="1476" y="300"/>
                      <a:pt x="1461" y="285"/>
                      <a:pt x="1442" y="285"/>
                    </a:cubicBezTo>
                    <a:cubicBezTo>
                      <a:pt x="1070" y="285"/>
                      <a:pt x="1070" y="285"/>
                      <a:pt x="1070" y="285"/>
                    </a:cubicBezTo>
                    <a:cubicBezTo>
                      <a:pt x="1066" y="285"/>
                      <a:pt x="1063" y="281"/>
                      <a:pt x="1063" y="277"/>
                    </a:cubicBezTo>
                    <a:cubicBezTo>
                      <a:pt x="1063" y="272"/>
                      <a:pt x="1066" y="269"/>
                      <a:pt x="1070" y="269"/>
                    </a:cubicBezTo>
                    <a:cubicBezTo>
                      <a:pt x="1398" y="269"/>
                      <a:pt x="1398" y="269"/>
                      <a:pt x="1398" y="269"/>
                    </a:cubicBezTo>
                    <a:cubicBezTo>
                      <a:pt x="1417" y="269"/>
                      <a:pt x="1433" y="253"/>
                      <a:pt x="1433" y="234"/>
                    </a:cubicBezTo>
                    <a:cubicBezTo>
                      <a:pt x="1433" y="215"/>
                      <a:pt x="1417" y="199"/>
                      <a:pt x="1398" y="199"/>
                    </a:cubicBezTo>
                    <a:cubicBezTo>
                      <a:pt x="1125" y="199"/>
                      <a:pt x="1125" y="199"/>
                      <a:pt x="1125" y="199"/>
                    </a:cubicBezTo>
                    <a:cubicBezTo>
                      <a:pt x="1121" y="199"/>
                      <a:pt x="1117" y="196"/>
                      <a:pt x="1117" y="192"/>
                    </a:cubicBezTo>
                    <a:cubicBezTo>
                      <a:pt x="1117" y="187"/>
                      <a:pt x="1121" y="184"/>
                      <a:pt x="1125" y="184"/>
                    </a:cubicBezTo>
                    <a:cubicBezTo>
                      <a:pt x="1289" y="184"/>
                      <a:pt x="1289" y="184"/>
                      <a:pt x="1289" y="184"/>
                    </a:cubicBezTo>
                    <a:cubicBezTo>
                      <a:pt x="1308" y="184"/>
                      <a:pt x="1323" y="168"/>
                      <a:pt x="1323" y="149"/>
                    </a:cubicBezTo>
                    <a:cubicBezTo>
                      <a:pt x="1323" y="130"/>
                      <a:pt x="1308" y="114"/>
                      <a:pt x="1289" y="114"/>
                    </a:cubicBezTo>
                    <a:cubicBezTo>
                      <a:pt x="1066" y="114"/>
                      <a:pt x="1066" y="114"/>
                      <a:pt x="1066" y="114"/>
                    </a:cubicBezTo>
                    <a:cubicBezTo>
                      <a:pt x="1062" y="114"/>
                      <a:pt x="1058" y="111"/>
                      <a:pt x="1058" y="107"/>
                    </a:cubicBezTo>
                    <a:cubicBezTo>
                      <a:pt x="1058" y="102"/>
                      <a:pt x="1062" y="99"/>
                      <a:pt x="1066" y="99"/>
                    </a:cubicBezTo>
                    <a:cubicBezTo>
                      <a:pt x="1089" y="99"/>
                      <a:pt x="1089" y="99"/>
                      <a:pt x="1089" y="99"/>
                    </a:cubicBezTo>
                    <a:cubicBezTo>
                      <a:pt x="1109" y="99"/>
                      <a:pt x="1124" y="83"/>
                      <a:pt x="1124" y="64"/>
                    </a:cubicBezTo>
                    <a:cubicBezTo>
                      <a:pt x="1124" y="48"/>
                      <a:pt x="1115" y="35"/>
                      <a:pt x="1101" y="31"/>
                    </a:cubicBezTo>
                    <a:cubicBezTo>
                      <a:pt x="1099" y="30"/>
                      <a:pt x="1099" y="30"/>
                      <a:pt x="1099" y="30"/>
                    </a:cubicBezTo>
                    <a:cubicBezTo>
                      <a:pt x="1027" y="10"/>
                      <a:pt x="952" y="0"/>
                      <a:pt x="877" y="0"/>
                    </a:cubicBezTo>
                    <a:cubicBezTo>
                      <a:pt x="869" y="0"/>
                      <a:pt x="869" y="0"/>
                      <a:pt x="869" y="0"/>
                    </a:cubicBezTo>
                    <a:cubicBezTo>
                      <a:pt x="625" y="0"/>
                      <a:pt x="394" y="106"/>
                      <a:pt x="235" y="291"/>
                    </a:cubicBezTo>
                    <a:cubicBezTo>
                      <a:pt x="229" y="299"/>
                      <a:pt x="229" y="299"/>
                      <a:pt x="229" y="299"/>
                    </a:cubicBezTo>
                    <a:cubicBezTo>
                      <a:pt x="229" y="301"/>
                      <a:pt x="229" y="301"/>
                      <a:pt x="229" y="301"/>
                    </a:cubicBezTo>
                    <a:cubicBezTo>
                      <a:pt x="228" y="305"/>
                      <a:pt x="227" y="308"/>
                      <a:pt x="227" y="312"/>
                    </a:cubicBezTo>
                    <a:cubicBezTo>
                      <a:pt x="227" y="332"/>
                      <a:pt x="243" y="348"/>
                      <a:pt x="263" y="348"/>
                    </a:cubicBezTo>
                    <a:cubicBezTo>
                      <a:pt x="580" y="348"/>
                      <a:pt x="580" y="348"/>
                      <a:pt x="580" y="348"/>
                    </a:cubicBezTo>
                    <a:cubicBezTo>
                      <a:pt x="583" y="348"/>
                      <a:pt x="586" y="351"/>
                      <a:pt x="586" y="354"/>
                    </a:cubicBezTo>
                    <a:cubicBezTo>
                      <a:pt x="586" y="358"/>
                      <a:pt x="583" y="361"/>
                      <a:pt x="580" y="361"/>
                    </a:cubicBezTo>
                    <a:cubicBezTo>
                      <a:pt x="318" y="361"/>
                      <a:pt x="318" y="361"/>
                      <a:pt x="318" y="361"/>
                    </a:cubicBezTo>
                    <a:cubicBezTo>
                      <a:pt x="299" y="361"/>
                      <a:pt x="283" y="377"/>
                      <a:pt x="283" y="397"/>
                    </a:cubicBezTo>
                    <a:cubicBezTo>
                      <a:pt x="283" y="417"/>
                      <a:pt x="299" y="433"/>
                      <a:pt x="318" y="433"/>
                    </a:cubicBezTo>
                    <a:cubicBezTo>
                      <a:pt x="740" y="433"/>
                      <a:pt x="740" y="433"/>
                      <a:pt x="740" y="433"/>
                    </a:cubicBezTo>
                    <a:cubicBezTo>
                      <a:pt x="743" y="433"/>
                      <a:pt x="746" y="436"/>
                      <a:pt x="746" y="439"/>
                    </a:cubicBezTo>
                    <a:cubicBezTo>
                      <a:pt x="746" y="443"/>
                      <a:pt x="743" y="446"/>
                      <a:pt x="740" y="446"/>
                    </a:cubicBezTo>
                    <a:cubicBezTo>
                      <a:pt x="264" y="446"/>
                      <a:pt x="264" y="446"/>
                      <a:pt x="264" y="446"/>
                    </a:cubicBezTo>
                    <a:cubicBezTo>
                      <a:pt x="244" y="446"/>
                      <a:pt x="228" y="462"/>
                      <a:pt x="228" y="482"/>
                    </a:cubicBezTo>
                    <a:cubicBezTo>
                      <a:pt x="228" y="502"/>
                      <a:pt x="244" y="518"/>
                      <a:pt x="264" y="518"/>
                    </a:cubicBezTo>
                    <a:cubicBezTo>
                      <a:pt x="770" y="518"/>
                      <a:pt x="770" y="518"/>
                      <a:pt x="770" y="518"/>
                    </a:cubicBezTo>
                    <a:cubicBezTo>
                      <a:pt x="774" y="518"/>
                      <a:pt x="777" y="521"/>
                      <a:pt x="777" y="524"/>
                    </a:cubicBezTo>
                    <a:cubicBezTo>
                      <a:pt x="777" y="528"/>
                      <a:pt x="774" y="531"/>
                      <a:pt x="770" y="531"/>
                    </a:cubicBezTo>
                    <a:cubicBezTo>
                      <a:pt x="462" y="531"/>
                      <a:pt x="462" y="531"/>
                      <a:pt x="462" y="531"/>
                    </a:cubicBezTo>
                    <a:cubicBezTo>
                      <a:pt x="442" y="531"/>
                      <a:pt x="426" y="547"/>
                      <a:pt x="426" y="567"/>
                    </a:cubicBezTo>
                    <a:cubicBezTo>
                      <a:pt x="426" y="587"/>
                      <a:pt x="442" y="603"/>
                      <a:pt x="462" y="603"/>
                    </a:cubicBezTo>
                    <a:cubicBezTo>
                      <a:pt x="957" y="603"/>
                      <a:pt x="957" y="603"/>
                      <a:pt x="957" y="603"/>
                    </a:cubicBezTo>
                    <a:cubicBezTo>
                      <a:pt x="957" y="603"/>
                      <a:pt x="957" y="603"/>
                      <a:pt x="957" y="603"/>
                    </a:cubicBezTo>
                    <a:cubicBezTo>
                      <a:pt x="1001" y="603"/>
                      <a:pt x="1001" y="603"/>
                      <a:pt x="1001" y="603"/>
                    </a:cubicBezTo>
                    <a:cubicBezTo>
                      <a:pt x="1004" y="604"/>
                      <a:pt x="1005" y="607"/>
                      <a:pt x="1005" y="610"/>
                    </a:cubicBezTo>
                    <a:cubicBezTo>
                      <a:pt x="1005" y="613"/>
                      <a:pt x="1002" y="616"/>
                      <a:pt x="999" y="616"/>
                    </a:cubicBezTo>
                    <a:cubicBezTo>
                      <a:pt x="472" y="616"/>
                      <a:pt x="472" y="616"/>
                      <a:pt x="472" y="616"/>
                    </a:cubicBezTo>
                    <a:cubicBezTo>
                      <a:pt x="452" y="616"/>
                      <a:pt x="436" y="632"/>
                      <a:pt x="436" y="652"/>
                    </a:cubicBezTo>
                    <a:cubicBezTo>
                      <a:pt x="436" y="672"/>
                      <a:pt x="452" y="688"/>
                      <a:pt x="472" y="688"/>
                    </a:cubicBezTo>
                    <a:cubicBezTo>
                      <a:pt x="993" y="688"/>
                      <a:pt x="993" y="688"/>
                      <a:pt x="993" y="688"/>
                    </a:cubicBezTo>
                    <a:cubicBezTo>
                      <a:pt x="996" y="688"/>
                      <a:pt x="999" y="691"/>
                      <a:pt x="999" y="695"/>
                    </a:cubicBezTo>
                    <a:cubicBezTo>
                      <a:pt x="999" y="698"/>
                      <a:pt x="996" y="701"/>
                      <a:pt x="993" y="701"/>
                    </a:cubicBezTo>
                    <a:cubicBezTo>
                      <a:pt x="496" y="701"/>
                      <a:pt x="496" y="701"/>
                      <a:pt x="496" y="701"/>
                    </a:cubicBezTo>
                    <a:cubicBezTo>
                      <a:pt x="476" y="701"/>
                      <a:pt x="460" y="717"/>
                      <a:pt x="460" y="737"/>
                    </a:cubicBezTo>
                    <a:cubicBezTo>
                      <a:pt x="460" y="757"/>
                      <a:pt x="476" y="773"/>
                      <a:pt x="496" y="773"/>
                    </a:cubicBezTo>
                    <a:cubicBezTo>
                      <a:pt x="867" y="773"/>
                      <a:pt x="867" y="773"/>
                      <a:pt x="867" y="773"/>
                    </a:cubicBezTo>
                    <a:cubicBezTo>
                      <a:pt x="871" y="773"/>
                      <a:pt x="874" y="776"/>
                      <a:pt x="874" y="780"/>
                    </a:cubicBezTo>
                    <a:cubicBezTo>
                      <a:pt x="874" y="783"/>
                      <a:pt x="871" y="786"/>
                      <a:pt x="867" y="786"/>
                    </a:cubicBezTo>
                    <a:cubicBezTo>
                      <a:pt x="469" y="786"/>
                      <a:pt x="469" y="786"/>
                      <a:pt x="469" y="786"/>
                    </a:cubicBezTo>
                    <a:cubicBezTo>
                      <a:pt x="450" y="786"/>
                      <a:pt x="434" y="802"/>
                      <a:pt x="434" y="822"/>
                    </a:cubicBezTo>
                    <a:cubicBezTo>
                      <a:pt x="434" y="842"/>
                      <a:pt x="450" y="858"/>
                      <a:pt x="469" y="858"/>
                    </a:cubicBezTo>
                    <a:cubicBezTo>
                      <a:pt x="791" y="858"/>
                      <a:pt x="791" y="858"/>
                      <a:pt x="791" y="858"/>
                    </a:cubicBezTo>
                    <a:cubicBezTo>
                      <a:pt x="795" y="858"/>
                      <a:pt x="798" y="861"/>
                      <a:pt x="798" y="865"/>
                    </a:cubicBezTo>
                    <a:cubicBezTo>
                      <a:pt x="798" y="868"/>
                      <a:pt x="795" y="871"/>
                      <a:pt x="791" y="871"/>
                    </a:cubicBezTo>
                    <a:cubicBezTo>
                      <a:pt x="510" y="871"/>
                      <a:pt x="510" y="871"/>
                      <a:pt x="510" y="871"/>
                    </a:cubicBezTo>
                    <a:cubicBezTo>
                      <a:pt x="491" y="871"/>
                      <a:pt x="475" y="888"/>
                      <a:pt x="475" y="907"/>
                    </a:cubicBezTo>
                    <a:cubicBezTo>
                      <a:pt x="475" y="927"/>
                      <a:pt x="491" y="943"/>
                      <a:pt x="510" y="943"/>
                    </a:cubicBezTo>
                    <a:cubicBezTo>
                      <a:pt x="623" y="943"/>
                      <a:pt x="623" y="943"/>
                      <a:pt x="623" y="943"/>
                    </a:cubicBezTo>
                    <a:cubicBezTo>
                      <a:pt x="626" y="943"/>
                      <a:pt x="629" y="946"/>
                      <a:pt x="629" y="950"/>
                    </a:cubicBezTo>
                    <a:cubicBezTo>
                      <a:pt x="629" y="953"/>
                      <a:pt x="626" y="956"/>
                      <a:pt x="623" y="956"/>
                    </a:cubicBezTo>
                    <a:cubicBezTo>
                      <a:pt x="579" y="956"/>
                      <a:pt x="579" y="956"/>
                      <a:pt x="579" y="956"/>
                    </a:cubicBezTo>
                    <a:cubicBezTo>
                      <a:pt x="559" y="956"/>
                      <a:pt x="543" y="973"/>
                      <a:pt x="543" y="992"/>
                    </a:cubicBezTo>
                    <a:cubicBezTo>
                      <a:pt x="543" y="1012"/>
                      <a:pt x="559" y="1028"/>
                      <a:pt x="579" y="1028"/>
                    </a:cubicBezTo>
                    <a:cubicBezTo>
                      <a:pt x="637" y="1028"/>
                      <a:pt x="637" y="1028"/>
                      <a:pt x="637" y="1028"/>
                    </a:cubicBezTo>
                    <a:cubicBezTo>
                      <a:pt x="640" y="1028"/>
                      <a:pt x="643" y="1031"/>
                      <a:pt x="643" y="1035"/>
                    </a:cubicBezTo>
                    <a:cubicBezTo>
                      <a:pt x="643" y="1039"/>
                      <a:pt x="640" y="1042"/>
                      <a:pt x="637" y="1042"/>
                    </a:cubicBezTo>
                    <a:cubicBezTo>
                      <a:pt x="633" y="1042"/>
                      <a:pt x="633" y="1042"/>
                      <a:pt x="633" y="1042"/>
                    </a:cubicBezTo>
                    <a:cubicBezTo>
                      <a:pt x="613" y="1042"/>
                      <a:pt x="597" y="1058"/>
                      <a:pt x="597" y="1077"/>
                    </a:cubicBezTo>
                    <a:cubicBezTo>
                      <a:pt x="597" y="1097"/>
                      <a:pt x="613" y="1113"/>
                      <a:pt x="633" y="1113"/>
                    </a:cubicBezTo>
                    <a:cubicBezTo>
                      <a:pt x="750" y="1113"/>
                      <a:pt x="750" y="1113"/>
                      <a:pt x="750" y="1113"/>
                    </a:cubicBezTo>
                    <a:cubicBezTo>
                      <a:pt x="754" y="1113"/>
                      <a:pt x="757" y="1116"/>
                      <a:pt x="757" y="1120"/>
                    </a:cubicBezTo>
                    <a:cubicBezTo>
                      <a:pt x="757" y="1124"/>
                      <a:pt x="754" y="1127"/>
                      <a:pt x="750" y="1127"/>
                    </a:cubicBezTo>
                    <a:cubicBezTo>
                      <a:pt x="727" y="1127"/>
                      <a:pt x="727" y="1127"/>
                      <a:pt x="727" y="1127"/>
                    </a:cubicBezTo>
                    <a:cubicBezTo>
                      <a:pt x="707" y="1127"/>
                      <a:pt x="691" y="1143"/>
                      <a:pt x="691" y="1162"/>
                    </a:cubicBezTo>
                    <a:cubicBezTo>
                      <a:pt x="691" y="1182"/>
                      <a:pt x="707" y="1198"/>
                      <a:pt x="727" y="1198"/>
                    </a:cubicBezTo>
                    <a:cubicBezTo>
                      <a:pt x="1009" y="1198"/>
                      <a:pt x="1009" y="1198"/>
                      <a:pt x="1009" y="1198"/>
                    </a:cubicBezTo>
                    <a:cubicBezTo>
                      <a:pt x="1013" y="1198"/>
                      <a:pt x="1016" y="1201"/>
                      <a:pt x="1016" y="1205"/>
                    </a:cubicBezTo>
                    <a:cubicBezTo>
                      <a:pt x="1016" y="1209"/>
                      <a:pt x="1013" y="1212"/>
                      <a:pt x="1009" y="1212"/>
                    </a:cubicBezTo>
                    <a:cubicBezTo>
                      <a:pt x="786" y="1212"/>
                      <a:pt x="786" y="1212"/>
                      <a:pt x="786" y="1212"/>
                    </a:cubicBezTo>
                    <a:cubicBezTo>
                      <a:pt x="766" y="1212"/>
                      <a:pt x="750" y="1228"/>
                      <a:pt x="750" y="1247"/>
                    </a:cubicBezTo>
                    <a:cubicBezTo>
                      <a:pt x="750" y="1267"/>
                      <a:pt x="766" y="1283"/>
                      <a:pt x="786" y="1283"/>
                    </a:cubicBezTo>
                    <a:cubicBezTo>
                      <a:pt x="1124" y="1283"/>
                      <a:pt x="1124" y="1283"/>
                      <a:pt x="1124" y="1283"/>
                    </a:cubicBezTo>
                    <a:cubicBezTo>
                      <a:pt x="1127" y="1283"/>
                      <a:pt x="1130" y="1286"/>
                      <a:pt x="1130" y="1289"/>
                    </a:cubicBezTo>
                    <a:cubicBezTo>
                      <a:pt x="1129" y="1291"/>
                      <a:pt x="1125" y="1294"/>
                      <a:pt x="1120" y="1297"/>
                    </a:cubicBezTo>
                    <a:cubicBezTo>
                      <a:pt x="845" y="1297"/>
                      <a:pt x="845" y="1297"/>
                      <a:pt x="845" y="1297"/>
                    </a:cubicBezTo>
                    <a:cubicBezTo>
                      <a:pt x="825" y="1297"/>
                      <a:pt x="809" y="1313"/>
                      <a:pt x="809" y="1333"/>
                    </a:cubicBezTo>
                    <a:cubicBezTo>
                      <a:pt x="809" y="1352"/>
                      <a:pt x="825" y="1368"/>
                      <a:pt x="845" y="1368"/>
                    </a:cubicBezTo>
                    <a:cubicBezTo>
                      <a:pt x="1102" y="1368"/>
                      <a:pt x="1102" y="1368"/>
                      <a:pt x="1102" y="1368"/>
                    </a:cubicBezTo>
                    <a:cubicBezTo>
                      <a:pt x="1106" y="1368"/>
                      <a:pt x="1109" y="1371"/>
                      <a:pt x="1109" y="1375"/>
                    </a:cubicBezTo>
                    <a:cubicBezTo>
                      <a:pt x="1109" y="1379"/>
                      <a:pt x="1106" y="1382"/>
                      <a:pt x="1102" y="1382"/>
                    </a:cubicBezTo>
                    <a:cubicBezTo>
                      <a:pt x="887" y="1382"/>
                      <a:pt x="887" y="1382"/>
                      <a:pt x="887" y="1382"/>
                    </a:cubicBezTo>
                    <a:cubicBezTo>
                      <a:pt x="868" y="1382"/>
                      <a:pt x="852" y="1398"/>
                      <a:pt x="852" y="1418"/>
                    </a:cubicBezTo>
                    <a:cubicBezTo>
                      <a:pt x="852" y="1437"/>
                      <a:pt x="868" y="1453"/>
                      <a:pt x="887" y="1453"/>
                    </a:cubicBezTo>
                    <a:cubicBezTo>
                      <a:pt x="1040" y="1453"/>
                      <a:pt x="1040" y="1453"/>
                      <a:pt x="1040" y="1453"/>
                    </a:cubicBezTo>
                    <a:cubicBezTo>
                      <a:pt x="1044" y="1453"/>
                      <a:pt x="1047" y="1456"/>
                      <a:pt x="1047" y="1460"/>
                    </a:cubicBezTo>
                    <a:cubicBezTo>
                      <a:pt x="1047" y="1464"/>
                      <a:pt x="1044" y="1467"/>
                      <a:pt x="1040" y="1467"/>
                    </a:cubicBezTo>
                    <a:cubicBezTo>
                      <a:pt x="875" y="1467"/>
                      <a:pt x="875" y="1467"/>
                      <a:pt x="875" y="1467"/>
                    </a:cubicBezTo>
                    <a:cubicBezTo>
                      <a:pt x="856" y="1467"/>
                      <a:pt x="840" y="1483"/>
                      <a:pt x="840" y="1503"/>
                    </a:cubicBezTo>
                    <a:cubicBezTo>
                      <a:pt x="840" y="1522"/>
                      <a:pt x="856" y="1538"/>
                      <a:pt x="875" y="1538"/>
                    </a:cubicBezTo>
                    <a:cubicBezTo>
                      <a:pt x="959" y="1538"/>
                      <a:pt x="959" y="1538"/>
                      <a:pt x="959" y="1538"/>
                    </a:cubicBezTo>
                    <a:cubicBezTo>
                      <a:pt x="963" y="1538"/>
                      <a:pt x="966" y="1541"/>
                      <a:pt x="966" y="1545"/>
                    </a:cubicBezTo>
                    <a:cubicBezTo>
                      <a:pt x="966" y="1549"/>
                      <a:pt x="963" y="1552"/>
                      <a:pt x="959" y="1552"/>
                    </a:cubicBezTo>
                    <a:cubicBezTo>
                      <a:pt x="883" y="1552"/>
                      <a:pt x="883" y="1552"/>
                      <a:pt x="883" y="1552"/>
                    </a:cubicBezTo>
                    <a:cubicBezTo>
                      <a:pt x="863" y="1552"/>
                      <a:pt x="847" y="1568"/>
                      <a:pt x="847" y="1588"/>
                    </a:cubicBezTo>
                    <a:cubicBezTo>
                      <a:pt x="847" y="1607"/>
                      <a:pt x="863" y="1624"/>
                      <a:pt x="883" y="1624"/>
                    </a:cubicBezTo>
                    <a:cubicBezTo>
                      <a:pt x="925" y="1624"/>
                      <a:pt x="925" y="1624"/>
                      <a:pt x="925" y="1624"/>
                    </a:cubicBezTo>
                    <a:cubicBezTo>
                      <a:pt x="928" y="1624"/>
                      <a:pt x="931" y="1627"/>
                      <a:pt x="931" y="1630"/>
                    </a:cubicBezTo>
                    <a:cubicBezTo>
                      <a:pt x="931" y="1634"/>
                      <a:pt x="928" y="1637"/>
                      <a:pt x="925" y="1637"/>
                    </a:cubicBezTo>
                    <a:cubicBezTo>
                      <a:pt x="883" y="1637"/>
                      <a:pt x="883" y="1637"/>
                      <a:pt x="883" y="1637"/>
                    </a:cubicBezTo>
                    <a:cubicBezTo>
                      <a:pt x="878" y="1636"/>
                      <a:pt x="878" y="1636"/>
                      <a:pt x="878" y="1636"/>
                    </a:cubicBezTo>
                    <a:cubicBezTo>
                      <a:pt x="876" y="1636"/>
                      <a:pt x="876" y="1636"/>
                      <a:pt x="876" y="1636"/>
                    </a:cubicBezTo>
                    <a:cubicBezTo>
                      <a:pt x="660" y="1636"/>
                      <a:pt x="458" y="1552"/>
                      <a:pt x="305" y="1399"/>
                    </a:cubicBezTo>
                    <a:cubicBezTo>
                      <a:pt x="152" y="1246"/>
                      <a:pt x="68" y="1043"/>
                      <a:pt x="68" y="827"/>
                    </a:cubicBezTo>
                    <a:cubicBezTo>
                      <a:pt x="68" y="693"/>
                      <a:pt x="100" y="566"/>
                      <a:pt x="162" y="449"/>
                    </a:cubicBezTo>
                    <a:cubicBezTo>
                      <a:pt x="163" y="448"/>
                      <a:pt x="163" y="448"/>
                      <a:pt x="163" y="448"/>
                    </a:cubicBezTo>
                    <a:cubicBezTo>
                      <a:pt x="164" y="446"/>
                      <a:pt x="164" y="446"/>
                      <a:pt x="164" y="446"/>
                    </a:cubicBezTo>
                    <a:cubicBezTo>
                      <a:pt x="184" y="403"/>
                      <a:pt x="187" y="354"/>
                      <a:pt x="171" y="309"/>
                    </a:cubicBezTo>
                    <a:cubicBezTo>
                      <a:pt x="157" y="267"/>
                      <a:pt x="128" y="234"/>
                      <a:pt x="91" y="212"/>
                    </a:cubicBezTo>
                    <a:cubicBezTo>
                      <a:pt x="91" y="210"/>
                      <a:pt x="91" y="207"/>
                      <a:pt x="91" y="204"/>
                    </a:cubicBezTo>
                    <a:cubicBezTo>
                      <a:pt x="91" y="179"/>
                      <a:pt x="71" y="158"/>
                      <a:pt x="46" y="158"/>
                    </a:cubicBezTo>
                    <a:cubicBezTo>
                      <a:pt x="21" y="158"/>
                      <a:pt x="0" y="179"/>
                      <a:pt x="0" y="204"/>
                    </a:cubicBezTo>
                    <a:cubicBezTo>
                      <a:pt x="0" y="229"/>
                      <a:pt x="21" y="250"/>
                      <a:pt x="46" y="250"/>
                    </a:cubicBezTo>
                    <a:cubicBezTo>
                      <a:pt x="58" y="250"/>
                      <a:pt x="69" y="245"/>
                      <a:pt x="77" y="237"/>
                    </a:cubicBezTo>
                    <a:cubicBezTo>
                      <a:pt x="109" y="255"/>
                      <a:pt x="133" y="283"/>
                      <a:pt x="145" y="318"/>
                    </a:cubicBezTo>
                    <a:cubicBezTo>
                      <a:pt x="158" y="355"/>
                      <a:pt x="156" y="396"/>
                      <a:pt x="139" y="432"/>
                    </a:cubicBezTo>
                    <a:cubicBezTo>
                      <a:pt x="139" y="433"/>
                      <a:pt x="139" y="433"/>
                      <a:pt x="139" y="433"/>
                    </a:cubicBezTo>
                    <a:cubicBezTo>
                      <a:pt x="138" y="434"/>
                      <a:pt x="138" y="434"/>
                      <a:pt x="138" y="434"/>
                    </a:cubicBezTo>
                    <a:cubicBezTo>
                      <a:pt x="73" y="555"/>
                      <a:pt x="40" y="688"/>
                      <a:pt x="40" y="827"/>
                    </a:cubicBezTo>
                    <a:cubicBezTo>
                      <a:pt x="40" y="1051"/>
                      <a:pt x="127" y="1261"/>
                      <a:pt x="285" y="1419"/>
                    </a:cubicBezTo>
                    <a:cubicBezTo>
                      <a:pt x="443" y="1577"/>
                      <a:pt x="652" y="1664"/>
                      <a:pt x="875" y="1664"/>
                    </a:cubicBezTo>
                    <a:cubicBezTo>
                      <a:pt x="879" y="1665"/>
                      <a:pt x="879" y="1665"/>
                      <a:pt x="879" y="1665"/>
                    </a:cubicBezTo>
                    <a:cubicBezTo>
                      <a:pt x="925" y="1665"/>
                      <a:pt x="925" y="1665"/>
                      <a:pt x="925" y="1665"/>
                    </a:cubicBezTo>
                    <a:cubicBezTo>
                      <a:pt x="944" y="1665"/>
                      <a:pt x="959" y="1649"/>
                      <a:pt x="959" y="1630"/>
                    </a:cubicBezTo>
                    <a:cubicBezTo>
                      <a:pt x="959" y="1611"/>
                      <a:pt x="944" y="1596"/>
                      <a:pt x="925" y="1596"/>
                    </a:cubicBezTo>
                    <a:cubicBezTo>
                      <a:pt x="883" y="1596"/>
                      <a:pt x="883" y="1596"/>
                      <a:pt x="883" y="1596"/>
                    </a:cubicBezTo>
                    <a:cubicBezTo>
                      <a:pt x="879" y="1596"/>
                      <a:pt x="875" y="1592"/>
                      <a:pt x="875" y="1588"/>
                    </a:cubicBezTo>
                    <a:cubicBezTo>
                      <a:pt x="875" y="1583"/>
                      <a:pt x="879" y="1580"/>
                      <a:pt x="883" y="1580"/>
                    </a:cubicBezTo>
                    <a:cubicBezTo>
                      <a:pt x="959" y="1580"/>
                      <a:pt x="959" y="1580"/>
                      <a:pt x="959" y="1580"/>
                    </a:cubicBezTo>
                    <a:cubicBezTo>
                      <a:pt x="978" y="1580"/>
                      <a:pt x="994" y="1564"/>
                      <a:pt x="994" y="1545"/>
                    </a:cubicBezTo>
                    <a:cubicBezTo>
                      <a:pt x="994" y="1526"/>
                      <a:pt x="978" y="1510"/>
                      <a:pt x="959" y="1510"/>
                    </a:cubicBezTo>
                    <a:cubicBezTo>
                      <a:pt x="875" y="1510"/>
                      <a:pt x="875" y="1510"/>
                      <a:pt x="875" y="1510"/>
                    </a:cubicBezTo>
                    <a:cubicBezTo>
                      <a:pt x="871" y="1510"/>
                      <a:pt x="868" y="1507"/>
                      <a:pt x="868" y="1503"/>
                    </a:cubicBezTo>
                    <a:cubicBezTo>
                      <a:pt x="868" y="1498"/>
                      <a:pt x="871" y="1495"/>
                      <a:pt x="875" y="1495"/>
                    </a:cubicBezTo>
                    <a:cubicBezTo>
                      <a:pt x="1040" y="1495"/>
                      <a:pt x="1040" y="1495"/>
                      <a:pt x="1040" y="1495"/>
                    </a:cubicBezTo>
                    <a:cubicBezTo>
                      <a:pt x="1060" y="1495"/>
                      <a:pt x="1075" y="1479"/>
                      <a:pt x="1075" y="1460"/>
                    </a:cubicBezTo>
                    <a:cubicBezTo>
                      <a:pt x="1075" y="1441"/>
                      <a:pt x="1060" y="1425"/>
                      <a:pt x="1040" y="1425"/>
                    </a:cubicBezTo>
                    <a:cubicBezTo>
                      <a:pt x="887" y="1425"/>
                      <a:pt x="887" y="1425"/>
                      <a:pt x="887" y="1425"/>
                    </a:cubicBezTo>
                    <a:cubicBezTo>
                      <a:pt x="883" y="1425"/>
                      <a:pt x="880" y="1422"/>
                      <a:pt x="880" y="1418"/>
                    </a:cubicBezTo>
                    <a:cubicBezTo>
                      <a:pt x="880" y="1413"/>
                      <a:pt x="883" y="1410"/>
                      <a:pt x="887" y="1410"/>
                    </a:cubicBezTo>
                    <a:cubicBezTo>
                      <a:pt x="1102" y="1410"/>
                      <a:pt x="1102" y="1410"/>
                      <a:pt x="1102" y="1410"/>
                    </a:cubicBezTo>
                    <a:cubicBezTo>
                      <a:pt x="1121" y="1410"/>
                      <a:pt x="1137" y="1394"/>
                      <a:pt x="1137" y="1375"/>
                    </a:cubicBezTo>
                    <a:cubicBezTo>
                      <a:pt x="1137" y="1356"/>
                      <a:pt x="1121" y="1340"/>
                      <a:pt x="1102" y="1340"/>
                    </a:cubicBezTo>
                    <a:cubicBezTo>
                      <a:pt x="845" y="1340"/>
                      <a:pt x="845" y="1340"/>
                      <a:pt x="845" y="1340"/>
                    </a:cubicBezTo>
                    <a:cubicBezTo>
                      <a:pt x="840" y="1340"/>
                      <a:pt x="837" y="1337"/>
                      <a:pt x="837" y="1333"/>
                    </a:cubicBezTo>
                    <a:cubicBezTo>
                      <a:pt x="837" y="1328"/>
                      <a:pt x="840" y="1325"/>
                      <a:pt x="845" y="1325"/>
                    </a:cubicBezTo>
                    <a:cubicBezTo>
                      <a:pt x="1127" y="1325"/>
                      <a:pt x="1127" y="1325"/>
                      <a:pt x="1127" y="1325"/>
                    </a:cubicBezTo>
                    <a:cubicBezTo>
                      <a:pt x="1129" y="1323"/>
                      <a:pt x="1129" y="1323"/>
                      <a:pt x="1129" y="1323"/>
                    </a:cubicBezTo>
                    <a:cubicBezTo>
                      <a:pt x="1136" y="1320"/>
                      <a:pt x="1158" y="1309"/>
                      <a:pt x="1158" y="1290"/>
                    </a:cubicBezTo>
                    <a:cubicBezTo>
                      <a:pt x="1158" y="1271"/>
                      <a:pt x="1143" y="1255"/>
                      <a:pt x="1124" y="1255"/>
                    </a:cubicBezTo>
                    <a:cubicBezTo>
                      <a:pt x="786" y="1255"/>
                      <a:pt x="786" y="1255"/>
                      <a:pt x="786" y="1255"/>
                    </a:cubicBezTo>
                    <a:cubicBezTo>
                      <a:pt x="782" y="1255"/>
                      <a:pt x="778" y="1252"/>
                      <a:pt x="778" y="1247"/>
                    </a:cubicBezTo>
                    <a:cubicBezTo>
                      <a:pt x="778" y="1243"/>
                      <a:pt x="782" y="1240"/>
                      <a:pt x="786" y="1240"/>
                    </a:cubicBezTo>
                    <a:cubicBezTo>
                      <a:pt x="1009" y="1240"/>
                      <a:pt x="1009" y="1240"/>
                      <a:pt x="1009" y="1240"/>
                    </a:cubicBezTo>
                    <a:cubicBezTo>
                      <a:pt x="1029" y="1240"/>
                      <a:pt x="1044" y="1224"/>
                      <a:pt x="1044" y="1205"/>
                    </a:cubicBezTo>
                    <a:cubicBezTo>
                      <a:pt x="1044" y="1186"/>
                      <a:pt x="1029" y="1170"/>
                      <a:pt x="1009" y="1170"/>
                    </a:cubicBezTo>
                    <a:cubicBezTo>
                      <a:pt x="727" y="1170"/>
                      <a:pt x="727" y="1170"/>
                      <a:pt x="727" y="1170"/>
                    </a:cubicBezTo>
                    <a:cubicBezTo>
                      <a:pt x="723" y="1170"/>
                      <a:pt x="719" y="1167"/>
                      <a:pt x="719" y="1162"/>
                    </a:cubicBezTo>
                    <a:cubicBezTo>
                      <a:pt x="719" y="1158"/>
                      <a:pt x="723" y="1155"/>
                      <a:pt x="727" y="1155"/>
                    </a:cubicBezTo>
                    <a:cubicBezTo>
                      <a:pt x="750" y="1155"/>
                      <a:pt x="750" y="1155"/>
                      <a:pt x="750" y="1155"/>
                    </a:cubicBezTo>
                    <a:cubicBezTo>
                      <a:pt x="769" y="1155"/>
                      <a:pt x="785" y="1139"/>
                      <a:pt x="785" y="1120"/>
                    </a:cubicBezTo>
                    <a:cubicBezTo>
                      <a:pt x="785" y="1101"/>
                      <a:pt x="769" y="1085"/>
                      <a:pt x="750" y="1085"/>
                    </a:cubicBezTo>
                    <a:cubicBezTo>
                      <a:pt x="633" y="1085"/>
                      <a:pt x="633" y="1085"/>
                      <a:pt x="633" y="1085"/>
                    </a:cubicBezTo>
                    <a:cubicBezTo>
                      <a:pt x="629" y="1085"/>
                      <a:pt x="625" y="1082"/>
                      <a:pt x="625" y="1077"/>
                    </a:cubicBezTo>
                    <a:cubicBezTo>
                      <a:pt x="625" y="1073"/>
                      <a:pt x="629" y="1070"/>
                      <a:pt x="633" y="1070"/>
                    </a:cubicBezTo>
                    <a:cubicBezTo>
                      <a:pt x="637" y="1070"/>
                      <a:pt x="637" y="1070"/>
                      <a:pt x="637" y="1070"/>
                    </a:cubicBezTo>
                    <a:cubicBezTo>
                      <a:pt x="656" y="1070"/>
                      <a:pt x="671" y="1054"/>
                      <a:pt x="671" y="1035"/>
                    </a:cubicBezTo>
                    <a:cubicBezTo>
                      <a:pt x="671" y="1016"/>
                      <a:pt x="656" y="1000"/>
                      <a:pt x="637" y="1000"/>
                    </a:cubicBezTo>
                    <a:cubicBezTo>
                      <a:pt x="579" y="1000"/>
                      <a:pt x="579" y="1000"/>
                      <a:pt x="579" y="1000"/>
                    </a:cubicBezTo>
                    <a:cubicBezTo>
                      <a:pt x="575" y="1000"/>
                      <a:pt x="571" y="997"/>
                      <a:pt x="571" y="992"/>
                    </a:cubicBezTo>
                    <a:cubicBezTo>
                      <a:pt x="571" y="988"/>
                      <a:pt x="575" y="984"/>
                      <a:pt x="579" y="984"/>
                    </a:cubicBezTo>
                    <a:cubicBezTo>
                      <a:pt x="623" y="984"/>
                      <a:pt x="623" y="984"/>
                      <a:pt x="623" y="984"/>
                    </a:cubicBezTo>
                    <a:cubicBezTo>
                      <a:pt x="642" y="984"/>
                      <a:pt x="657" y="969"/>
                      <a:pt x="657" y="950"/>
                    </a:cubicBezTo>
                    <a:cubicBezTo>
                      <a:pt x="657" y="931"/>
                      <a:pt x="642" y="915"/>
                      <a:pt x="623" y="915"/>
                    </a:cubicBezTo>
                    <a:cubicBezTo>
                      <a:pt x="510" y="915"/>
                      <a:pt x="510" y="915"/>
                      <a:pt x="510" y="915"/>
                    </a:cubicBezTo>
                    <a:cubicBezTo>
                      <a:pt x="506" y="915"/>
                      <a:pt x="503" y="912"/>
                      <a:pt x="503" y="907"/>
                    </a:cubicBezTo>
                    <a:cubicBezTo>
                      <a:pt x="503" y="903"/>
                      <a:pt x="506" y="899"/>
                      <a:pt x="510" y="899"/>
                    </a:cubicBezTo>
                    <a:cubicBezTo>
                      <a:pt x="791" y="899"/>
                      <a:pt x="791" y="899"/>
                      <a:pt x="791" y="899"/>
                    </a:cubicBezTo>
                    <a:cubicBezTo>
                      <a:pt x="810" y="899"/>
                      <a:pt x="826" y="884"/>
                      <a:pt x="826" y="865"/>
                    </a:cubicBezTo>
                    <a:cubicBezTo>
                      <a:pt x="826" y="846"/>
                      <a:pt x="810" y="830"/>
                      <a:pt x="791" y="830"/>
                    </a:cubicBezTo>
                    <a:cubicBezTo>
                      <a:pt x="469" y="830"/>
                      <a:pt x="469" y="830"/>
                      <a:pt x="469" y="830"/>
                    </a:cubicBezTo>
                    <a:cubicBezTo>
                      <a:pt x="465" y="830"/>
                      <a:pt x="462" y="827"/>
                      <a:pt x="462" y="822"/>
                    </a:cubicBezTo>
                    <a:cubicBezTo>
                      <a:pt x="462" y="818"/>
                      <a:pt x="465" y="814"/>
                      <a:pt x="469" y="814"/>
                    </a:cubicBezTo>
                    <a:cubicBezTo>
                      <a:pt x="867" y="814"/>
                      <a:pt x="867" y="814"/>
                      <a:pt x="867" y="814"/>
                    </a:cubicBezTo>
                    <a:cubicBezTo>
                      <a:pt x="887" y="814"/>
                      <a:pt x="902" y="799"/>
                      <a:pt x="902" y="780"/>
                    </a:cubicBezTo>
                    <a:cubicBezTo>
                      <a:pt x="902" y="761"/>
                      <a:pt x="887" y="745"/>
                      <a:pt x="867" y="745"/>
                    </a:cubicBezTo>
                    <a:cubicBezTo>
                      <a:pt x="496" y="745"/>
                      <a:pt x="496" y="745"/>
                      <a:pt x="496" y="745"/>
                    </a:cubicBezTo>
                    <a:cubicBezTo>
                      <a:pt x="492" y="745"/>
                      <a:pt x="488" y="741"/>
                      <a:pt x="488" y="737"/>
                    </a:cubicBezTo>
                    <a:cubicBezTo>
                      <a:pt x="488" y="733"/>
                      <a:pt x="492" y="729"/>
                      <a:pt x="496" y="729"/>
                    </a:cubicBezTo>
                    <a:cubicBezTo>
                      <a:pt x="993" y="729"/>
                      <a:pt x="993" y="729"/>
                      <a:pt x="993" y="729"/>
                    </a:cubicBezTo>
                    <a:cubicBezTo>
                      <a:pt x="1012" y="729"/>
                      <a:pt x="1027" y="714"/>
                      <a:pt x="1027" y="695"/>
                    </a:cubicBezTo>
                    <a:cubicBezTo>
                      <a:pt x="1027" y="675"/>
                      <a:pt x="1012" y="660"/>
                      <a:pt x="993" y="660"/>
                    </a:cubicBezTo>
                    <a:cubicBezTo>
                      <a:pt x="472" y="660"/>
                      <a:pt x="472" y="660"/>
                      <a:pt x="472" y="660"/>
                    </a:cubicBezTo>
                    <a:cubicBezTo>
                      <a:pt x="468" y="660"/>
                      <a:pt x="464" y="656"/>
                      <a:pt x="464" y="652"/>
                    </a:cubicBezTo>
                    <a:cubicBezTo>
                      <a:pt x="464" y="648"/>
                      <a:pt x="468" y="644"/>
                      <a:pt x="472" y="644"/>
                    </a:cubicBezTo>
                    <a:cubicBezTo>
                      <a:pt x="999" y="644"/>
                      <a:pt x="999" y="644"/>
                      <a:pt x="999" y="644"/>
                    </a:cubicBezTo>
                    <a:cubicBezTo>
                      <a:pt x="1018" y="644"/>
                      <a:pt x="1033" y="629"/>
                      <a:pt x="1033" y="610"/>
                    </a:cubicBezTo>
                    <a:cubicBezTo>
                      <a:pt x="1033" y="594"/>
                      <a:pt x="1024" y="581"/>
                      <a:pt x="1009" y="576"/>
                    </a:cubicBezTo>
                    <a:cubicBezTo>
                      <a:pt x="1006" y="575"/>
                      <a:pt x="1006" y="575"/>
                      <a:pt x="1006" y="575"/>
                    </a:cubicBezTo>
                    <a:cubicBezTo>
                      <a:pt x="985" y="575"/>
                      <a:pt x="985" y="575"/>
                      <a:pt x="985" y="575"/>
                    </a:cubicBezTo>
                    <a:cubicBezTo>
                      <a:pt x="985" y="575"/>
                      <a:pt x="985" y="575"/>
                      <a:pt x="985" y="575"/>
                    </a:cubicBezTo>
                    <a:cubicBezTo>
                      <a:pt x="462" y="575"/>
                      <a:pt x="462" y="575"/>
                      <a:pt x="462" y="575"/>
                    </a:cubicBezTo>
                    <a:cubicBezTo>
                      <a:pt x="458" y="575"/>
                      <a:pt x="454" y="571"/>
                      <a:pt x="454" y="567"/>
                    </a:cubicBezTo>
                    <a:cubicBezTo>
                      <a:pt x="454" y="563"/>
                      <a:pt x="458" y="559"/>
                      <a:pt x="462" y="559"/>
                    </a:cubicBezTo>
                    <a:cubicBezTo>
                      <a:pt x="770" y="559"/>
                      <a:pt x="770" y="559"/>
                      <a:pt x="770" y="559"/>
                    </a:cubicBezTo>
                    <a:cubicBezTo>
                      <a:pt x="789" y="559"/>
                      <a:pt x="805" y="544"/>
                      <a:pt x="805" y="524"/>
                    </a:cubicBezTo>
                    <a:cubicBezTo>
                      <a:pt x="805" y="505"/>
                      <a:pt x="789" y="490"/>
                      <a:pt x="770" y="490"/>
                    </a:cubicBezTo>
                    <a:cubicBezTo>
                      <a:pt x="264" y="490"/>
                      <a:pt x="264" y="490"/>
                      <a:pt x="264" y="490"/>
                    </a:cubicBezTo>
                    <a:cubicBezTo>
                      <a:pt x="260" y="490"/>
                      <a:pt x="256" y="486"/>
                      <a:pt x="256" y="482"/>
                    </a:cubicBezTo>
                    <a:cubicBezTo>
                      <a:pt x="256" y="478"/>
                      <a:pt x="260" y="474"/>
                      <a:pt x="264" y="474"/>
                    </a:cubicBezTo>
                    <a:cubicBezTo>
                      <a:pt x="740" y="474"/>
                      <a:pt x="740" y="474"/>
                      <a:pt x="740" y="474"/>
                    </a:cubicBezTo>
                    <a:cubicBezTo>
                      <a:pt x="759" y="474"/>
                      <a:pt x="774" y="459"/>
                      <a:pt x="774" y="439"/>
                    </a:cubicBezTo>
                    <a:cubicBezTo>
                      <a:pt x="774" y="420"/>
                      <a:pt x="759" y="405"/>
                      <a:pt x="740" y="405"/>
                    </a:cubicBezTo>
                    <a:cubicBezTo>
                      <a:pt x="318" y="405"/>
                      <a:pt x="318" y="405"/>
                      <a:pt x="318" y="405"/>
                    </a:cubicBezTo>
                    <a:cubicBezTo>
                      <a:pt x="314" y="405"/>
                      <a:pt x="311" y="401"/>
                      <a:pt x="311" y="397"/>
                    </a:cubicBezTo>
                    <a:cubicBezTo>
                      <a:pt x="311" y="393"/>
                      <a:pt x="314" y="389"/>
                      <a:pt x="318" y="389"/>
                    </a:cubicBezTo>
                    <a:cubicBezTo>
                      <a:pt x="580" y="389"/>
                      <a:pt x="580" y="389"/>
                      <a:pt x="580" y="389"/>
                    </a:cubicBezTo>
                    <a:cubicBezTo>
                      <a:pt x="599" y="389"/>
                      <a:pt x="614" y="374"/>
                      <a:pt x="614" y="354"/>
                    </a:cubicBezTo>
                    <a:cubicBezTo>
                      <a:pt x="614" y="335"/>
                      <a:pt x="599" y="320"/>
                      <a:pt x="580" y="320"/>
                    </a:cubicBezTo>
                    <a:cubicBezTo>
                      <a:pt x="263" y="320"/>
                      <a:pt x="263" y="320"/>
                      <a:pt x="263" y="320"/>
                    </a:cubicBezTo>
                    <a:cubicBezTo>
                      <a:pt x="259" y="320"/>
                      <a:pt x="255" y="316"/>
                      <a:pt x="255" y="312"/>
                    </a:cubicBezTo>
                    <a:cubicBezTo>
                      <a:pt x="255" y="312"/>
                      <a:pt x="255" y="311"/>
                      <a:pt x="255" y="311"/>
                    </a:cubicBezTo>
                    <a:cubicBezTo>
                      <a:pt x="257" y="309"/>
                      <a:pt x="257" y="309"/>
                      <a:pt x="257" y="309"/>
                    </a:cubicBezTo>
                    <a:cubicBezTo>
                      <a:pt x="410" y="131"/>
                      <a:pt x="633" y="28"/>
                      <a:pt x="869" y="28"/>
                    </a:cubicBezTo>
                    <a:cubicBezTo>
                      <a:pt x="877" y="28"/>
                      <a:pt x="877" y="28"/>
                      <a:pt x="877" y="28"/>
                    </a:cubicBezTo>
                    <a:cubicBezTo>
                      <a:pt x="950" y="28"/>
                      <a:pt x="1022" y="38"/>
                      <a:pt x="1091" y="57"/>
                    </a:cubicBezTo>
                    <a:cubicBezTo>
                      <a:pt x="1093" y="58"/>
                      <a:pt x="1093" y="58"/>
                      <a:pt x="1093" y="58"/>
                    </a:cubicBezTo>
                    <a:cubicBezTo>
                      <a:pt x="1096" y="59"/>
                      <a:pt x="1096" y="62"/>
                      <a:pt x="1096" y="64"/>
                    </a:cubicBezTo>
                    <a:cubicBezTo>
                      <a:pt x="1096" y="68"/>
                      <a:pt x="1093" y="71"/>
                      <a:pt x="1089" y="71"/>
                    </a:cubicBezTo>
                    <a:cubicBezTo>
                      <a:pt x="1066" y="71"/>
                      <a:pt x="1066" y="71"/>
                      <a:pt x="1066" y="71"/>
                    </a:cubicBezTo>
                    <a:cubicBezTo>
                      <a:pt x="1046" y="71"/>
                      <a:pt x="1030" y="87"/>
                      <a:pt x="1030" y="107"/>
                    </a:cubicBezTo>
                    <a:cubicBezTo>
                      <a:pt x="1030" y="126"/>
                      <a:pt x="1046" y="142"/>
                      <a:pt x="1066" y="142"/>
                    </a:cubicBezTo>
                    <a:cubicBezTo>
                      <a:pt x="1289" y="142"/>
                      <a:pt x="1289" y="142"/>
                      <a:pt x="1289" y="142"/>
                    </a:cubicBezTo>
                    <a:cubicBezTo>
                      <a:pt x="1292" y="142"/>
                      <a:pt x="1295" y="145"/>
                      <a:pt x="1295" y="149"/>
                    </a:cubicBezTo>
                    <a:cubicBezTo>
                      <a:pt x="1295" y="153"/>
                      <a:pt x="1292" y="156"/>
                      <a:pt x="1289" y="156"/>
                    </a:cubicBezTo>
                    <a:cubicBezTo>
                      <a:pt x="1125" y="156"/>
                      <a:pt x="1125" y="156"/>
                      <a:pt x="1125" y="156"/>
                    </a:cubicBezTo>
                    <a:cubicBezTo>
                      <a:pt x="1105" y="156"/>
                      <a:pt x="1089" y="172"/>
                      <a:pt x="1089" y="192"/>
                    </a:cubicBezTo>
                    <a:cubicBezTo>
                      <a:pt x="1089" y="211"/>
                      <a:pt x="1105" y="227"/>
                      <a:pt x="1125" y="227"/>
                    </a:cubicBezTo>
                    <a:cubicBezTo>
                      <a:pt x="1398" y="227"/>
                      <a:pt x="1398" y="227"/>
                      <a:pt x="1398" y="227"/>
                    </a:cubicBezTo>
                    <a:cubicBezTo>
                      <a:pt x="1402" y="227"/>
                      <a:pt x="1405" y="230"/>
                      <a:pt x="1405" y="234"/>
                    </a:cubicBezTo>
                    <a:cubicBezTo>
                      <a:pt x="1405" y="238"/>
                      <a:pt x="1402" y="241"/>
                      <a:pt x="1398" y="241"/>
                    </a:cubicBezTo>
                    <a:cubicBezTo>
                      <a:pt x="1070" y="241"/>
                      <a:pt x="1070" y="241"/>
                      <a:pt x="1070" y="241"/>
                    </a:cubicBezTo>
                    <a:cubicBezTo>
                      <a:pt x="1051" y="241"/>
                      <a:pt x="1035" y="257"/>
                      <a:pt x="1035" y="277"/>
                    </a:cubicBezTo>
                    <a:cubicBezTo>
                      <a:pt x="1035" y="296"/>
                      <a:pt x="1051" y="313"/>
                      <a:pt x="1070" y="313"/>
                    </a:cubicBezTo>
                    <a:cubicBezTo>
                      <a:pt x="1442" y="313"/>
                      <a:pt x="1442" y="313"/>
                      <a:pt x="1442" y="313"/>
                    </a:cubicBezTo>
                    <a:cubicBezTo>
                      <a:pt x="1445" y="313"/>
                      <a:pt x="1448" y="316"/>
                      <a:pt x="1448" y="319"/>
                    </a:cubicBezTo>
                    <a:cubicBezTo>
                      <a:pt x="1448" y="323"/>
                      <a:pt x="1445" y="326"/>
                      <a:pt x="1442" y="326"/>
                    </a:cubicBezTo>
                    <a:cubicBezTo>
                      <a:pt x="1124" y="326"/>
                      <a:pt x="1124" y="326"/>
                      <a:pt x="1124" y="326"/>
                    </a:cubicBezTo>
                    <a:cubicBezTo>
                      <a:pt x="1104" y="326"/>
                      <a:pt x="1088" y="342"/>
                      <a:pt x="1088" y="362"/>
                    </a:cubicBezTo>
                    <a:cubicBezTo>
                      <a:pt x="1088" y="382"/>
                      <a:pt x="1104" y="398"/>
                      <a:pt x="1124" y="398"/>
                    </a:cubicBezTo>
                    <a:cubicBezTo>
                      <a:pt x="1547" y="398"/>
                      <a:pt x="1547" y="398"/>
                      <a:pt x="1547" y="398"/>
                    </a:cubicBezTo>
                    <a:cubicBezTo>
                      <a:pt x="1549" y="398"/>
                      <a:pt x="1551" y="399"/>
                      <a:pt x="1552" y="401"/>
                    </a:cubicBezTo>
                    <a:cubicBezTo>
                      <a:pt x="1555" y="404"/>
                      <a:pt x="1555" y="404"/>
                      <a:pt x="1555" y="404"/>
                    </a:cubicBezTo>
                    <a:cubicBezTo>
                      <a:pt x="1634" y="531"/>
                      <a:pt x="1676" y="677"/>
                      <a:pt x="1676" y="827"/>
                    </a:cubicBezTo>
                    <a:cubicBezTo>
                      <a:pt x="1676" y="835"/>
                      <a:pt x="1676" y="835"/>
                      <a:pt x="1676" y="835"/>
                    </a:cubicBezTo>
                    <a:cubicBezTo>
                      <a:pt x="1676" y="835"/>
                      <a:pt x="1676" y="835"/>
                      <a:pt x="1676" y="835"/>
                    </a:cubicBezTo>
                    <a:cubicBezTo>
                      <a:pt x="1676" y="1204"/>
                      <a:pt x="1427" y="1525"/>
                      <a:pt x="1071" y="1617"/>
                    </a:cubicBezTo>
                    <a:cubicBezTo>
                      <a:pt x="1062" y="1618"/>
                      <a:pt x="1062" y="1618"/>
                      <a:pt x="1062" y="1618"/>
                    </a:cubicBezTo>
                    <a:cubicBezTo>
                      <a:pt x="1061" y="1619"/>
                      <a:pt x="1061" y="1619"/>
                      <a:pt x="1061" y="1619"/>
                    </a:cubicBezTo>
                    <a:cubicBezTo>
                      <a:pt x="969" y="1641"/>
                      <a:pt x="911" y="1732"/>
                      <a:pt x="927" y="1824"/>
                    </a:cubicBezTo>
                    <a:cubicBezTo>
                      <a:pt x="897" y="1832"/>
                      <a:pt x="897" y="1832"/>
                      <a:pt x="897" y="1832"/>
                    </a:cubicBezTo>
                    <a:cubicBezTo>
                      <a:pt x="919" y="1920"/>
                      <a:pt x="919" y="1920"/>
                      <a:pt x="919" y="1920"/>
                    </a:cubicBezTo>
                    <a:cubicBezTo>
                      <a:pt x="1007" y="1898"/>
                      <a:pt x="1007" y="1898"/>
                      <a:pt x="1007" y="1898"/>
                    </a:cubicBezTo>
                    <a:cubicBezTo>
                      <a:pt x="985" y="1810"/>
                      <a:pt x="985" y="1810"/>
                      <a:pt x="985" y="1810"/>
                    </a:cubicBezTo>
                    <a:cubicBezTo>
                      <a:pt x="955" y="1817"/>
                      <a:pt x="955" y="1817"/>
                      <a:pt x="955" y="1817"/>
                    </a:cubicBezTo>
                    <a:cubicBezTo>
                      <a:pt x="942" y="1740"/>
                      <a:pt x="991" y="1665"/>
                      <a:pt x="1067" y="1646"/>
                    </a:cubicBezTo>
                    <a:cubicBezTo>
                      <a:pt x="1076" y="1644"/>
                      <a:pt x="1076" y="1644"/>
                      <a:pt x="1076" y="1644"/>
                    </a:cubicBezTo>
                    <a:cubicBezTo>
                      <a:pt x="1077" y="1644"/>
                      <a:pt x="1077" y="1644"/>
                      <a:pt x="1077" y="1644"/>
                    </a:cubicBezTo>
                    <a:cubicBezTo>
                      <a:pt x="1446" y="1549"/>
                      <a:pt x="1704" y="1217"/>
                      <a:pt x="1704" y="836"/>
                    </a:cubicBezTo>
                    <a:cubicBezTo>
                      <a:pt x="1704" y="828"/>
                      <a:pt x="1704" y="828"/>
                      <a:pt x="1704" y="828"/>
                    </a:cubicBezTo>
                    <a:cubicBezTo>
                      <a:pt x="1704" y="827"/>
                      <a:pt x="1704" y="827"/>
                      <a:pt x="1704" y="827"/>
                    </a:cubicBezTo>
                    <a:cubicBezTo>
                      <a:pt x="1704" y="672"/>
                      <a:pt x="1660" y="520"/>
                      <a:pt x="1578" y="389"/>
                    </a:cubicBezTo>
                    <a:close/>
                    <a:moveTo>
                      <a:pt x="61" y="213"/>
                    </a:moveTo>
                    <a:cubicBezTo>
                      <a:pt x="61" y="213"/>
                      <a:pt x="61" y="213"/>
                      <a:pt x="61" y="213"/>
                    </a:cubicBezTo>
                    <a:cubicBezTo>
                      <a:pt x="61" y="213"/>
                      <a:pt x="61" y="213"/>
                      <a:pt x="61" y="213"/>
                    </a:cubicBezTo>
                    <a:cubicBezTo>
                      <a:pt x="58" y="218"/>
                      <a:pt x="52" y="222"/>
                      <a:pt x="46" y="222"/>
                    </a:cubicBezTo>
                    <a:cubicBezTo>
                      <a:pt x="36" y="222"/>
                      <a:pt x="28" y="214"/>
                      <a:pt x="28" y="204"/>
                    </a:cubicBezTo>
                    <a:cubicBezTo>
                      <a:pt x="28" y="194"/>
                      <a:pt x="36" y="186"/>
                      <a:pt x="46" y="186"/>
                    </a:cubicBezTo>
                    <a:cubicBezTo>
                      <a:pt x="55" y="186"/>
                      <a:pt x="63" y="194"/>
                      <a:pt x="63" y="204"/>
                    </a:cubicBezTo>
                    <a:cubicBezTo>
                      <a:pt x="63" y="207"/>
                      <a:pt x="62" y="210"/>
                      <a:pt x="61" y="213"/>
                    </a:cubicBezTo>
                    <a:close/>
                    <a:moveTo>
                      <a:pt x="974" y="1878"/>
                    </a:moveTo>
                    <a:cubicBezTo>
                      <a:pt x="939" y="1886"/>
                      <a:pt x="939" y="1886"/>
                      <a:pt x="939" y="1886"/>
                    </a:cubicBezTo>
                    <a:cubicBezTo>
                      <a:pt x="931" y="1852"/>
                      <a:pt x="931" y="1852"/>
                      <a:pt x="931" y="1852"/>
                    </a:cubicBezTo>
                    <a:cubicBezTo>
                      <a:pt x="965" y="1844"/>
                      <a:pt x="965" y="1844"/>
                      <a:pt x="965" y="1844"/>
                    </a:cubicBezTo>
                    <a:lnTo>
                      <a:pt x="974" y="1878"/>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 name="Freeform 360"/>
              <p:cNvSpPr>
                <a:spLocks/>
              </p:cNvSpPr>
              <p:nvPr/>
            </p:nvSpPr>
            <p:spPr bwMode="auto">
              <a:xfrm>
                <a:off x="4084638" y="4649788"/>
                <a:ext cx="590550" cy="581025"/>
              </a:xfrm>
              <a:custGeom>
                <a:avLst/>
                <a:gdLst>
                  <a:gd name="T0" fmla="*/ 244 w 805"/>
                  <a:gd name="T1" fmla="*/ 340 h 793"/>
                  <a:gd name="T2" fmla="*/ 244 w 805"/>
                  <a:gd name="T3" fmla="*/ 324 h 793"/>
                  <a:gd name="T4" fmla="*/ 805 w 805"/>
                  <a:gd name="T5" fmla="*/ 290 h 793"/>
                  <a:gd name="T6" fmla="*/ 778 w 805"/>
                  <a:gd name="T7" fmla="*/ 255 h 793"/>
                  <a:gd name="T8" fmla="*/ 757 w 805"/>
                  <a:gd name="T9" fmla="*/ 255 h 793"/>
                  <a:gd name="T10" fmla="*/ 226 w 805"/>
                  <a:gd name="T11" fmla="*/ 247 h 793"/>
                  <a:gd name="T12" fmla="*/ 542 w 805"/>
                  <a:gd name="T13" fmla="*/ 239 h 793"/>
                  <a:gd name="T14" fmla="*/ 542 w 805"/>
                  <a:gd name="T15" fmla="*/ 170 h 793"/>
                  <a:gd name="T16" fmla="*/ 28 w 805"/>
                  <a:gd name="T17" fmla="*/ 162 h 793"/>
                  <a:gd name="T18" fmla="*/ 512 w 805"/>
                  <a:gd name="T19" fmla="*/ 154 h 793"/>
                  <a:gd name="T20" fmla="*/ 512 w 805"/>
                  <a:gd name="T21" fmla="*/ 85 h 793"/>
                  <a:gd name="T22" fmla="*/ 83 w 805"/>
                  <a:gd name="T23" fmla="*/ 77 h 793"/>
                  <a:gd name="T24" fmla="*/ 352 w 805"/>
                  <a:gd name="T25" fmla="*/ 69 h 793"/>
                  <a:gd name="T26" fmla="*/ 352 w 805"/>
                  <a:gd name="T27" fmla="*/ 0 h 793"/>
                  <a:gd name="T28" fmla="*/ 55 w 805"/>
                  <a:gd name="T29" fmla="*/ 14 h 793"/>
                  <a:gd name="T30" fmla="*/ 352 w 805"/>
                  <a:gd name="T31" fmla="*/ 28 h 793"/>
                  <a:gd name="T32" fmla="*/ 352 w 805"/>
                  <a:gd name="T33" fmla="*/ 41 h 793"/>
                  <a:gd name="T34" fmla="*/ 55 w 805"/>
                  <a:gd name="T35" fmla="*/ 77 h 793"/>
                  <a:gd name="T36" fmla="*/ 512 w 805"/>
                  <a:gd name="T37" fmla="*/ 113 h 793"/>
                  <a:gd name="T38" fmla="*/ 512 w 805"/>
                  <a:gd name="T39" fmla="*/ 126 h 793"/>
                  <a:gd name="T40" fmla="*/ 0 w 805"/>
                  <a:gd name="T41" fmla="*/ 162 h 793"/>
                  <a:gd name="T42" fmla="*/ 542 w 805"/>
                  <a:gd name="T43" fmla="*/ 198 h 793"/>
                  <a:gd name="T44" fmla="*/ 542 w 805"/>
                  <a:gd name="T45" fmla="*/ 211 h 793"/>
                  <a:gd name="T46" fmla="*/ 198 w 805"/>
                  <a:gd name="T47" fmla="*/ 247 h 793"/>
                  <a:gd name="T48" fmla="*/ 729 w 805"/>
                  <a:gd name="T49" fmla="*/ 283 h 793"/>
                  <a:gd name="T50" fmla="*/ 773 w 805"/>
                  <a:gd name="T51" fmla="*/ 283 h 793"/>
                  <a:gd name="T52" fmla="*/ 771 w 805"/>
                  <a:gd name="T53" fmla="*/ 296 h 793"/>
                  <a:gd name="T54" fmla="*/ 208 w 805"/>
                  <a:gd name="T55" fmla="*/ 332 h 793"/>
                  <a:gd name="T56" fmla="*/ 765 w 805"/>
                  <a:gd name="T57" fmla="*/ 368 h 793"/>
                  <a:gd name="T58" fmla="*/ 765 w 805"/>
                  <a:gd name="T59" fmla="*/ 381 h 793"/>
                  <a:gd name="T60" fmla="*/ 232 w 805"/>
                  <a:gd name="T61" fmla="*/ 417 h 793"/>
                  <a:gd name="T62" fmla="*/ 639 w 805"/>
                  <a:gd name="T63" fmla="*/ 453 h 793"/>
                  <a:gd name="T64" fmla="*/ 639 w 805"/>
                  <a:gd name="T65" fmla="*/ 466 h 793"/>
                  <a:gd name="T66" fmla="*/ 206 w 805"/>
                  <a:gd name="T67" fmla="*/ 502 h 793"/>
                  <a:gd name="T68" fmla="*/ 563 w 805"/>
                  <a:gd name="T69" fmla="*/ 538 h 793"/>
                  <a:gd name="T70" fmla="*/ 563 w 805"/>
                  <a:gd name="T71" fmla="*/ 551 h 793"/>
                  <a:gd name="T72" fmla="*/ 247 w 805"/>
                  <a:gd name="T73" fmla="*/ 587 h 793"/>
                  <a:gd name="T74" fmla="*/ 395 w 805"/>
                  <a:gd name="T75" fmla="*/ 623 h 793"/>
                  <a:gd name="T76" fmla="*/ 395 w 805"/>
                  <a:gd name="T77" fmla="*/ 636 h 793"/>
                  <a:gd name="T78" fmla="*/ 315 w 805"/>
                  <a:gd name="T79" fmla="*/ 672 h 793"/>
                  <a:gd name="T80" fmla="*/ 409 w 805"/>
                  <a:gd name="T81" fmla="*/ 708 h 793"/>
                  <a:gd name="T82" fmla="*/ 409 w 805"/>
                  <a:gd name="T83" fmla="*/ 722 h 793"/>
                  <a:gd name="T84" fmla="*/ 369 w 805"/>
                  <a:gd name="T85" fmla="*/ 757 h 793"/>
                  <a:gd name="T86" fmla="*/ 457 w 805"/>
                  <a:gd name="T87" fmla="*/ 793 h 793"/>
                  <a:gd name="T88" fmla="*/ 471 w 805"/>
                  <a:gd name="T89" fmla="*/ 779 h 793"/>
                  <a:gd name="T90" fmla="*/ 405 w 805"/>
                  <a:gd name="T91" fmla="*/ 765 h 793"/>
                  <a:gd name="T92" fmla="*/ 405 w 805"/>
                  <a:gd name="T93" fmla="*/ 750 h 793"/>
                  <a:gd name="T94" fmla="*/ 443 w 805"/>
                  <a:gd name="T95" fmla="*/ 715 h 793"/>
                  <a:gd name="T96" fmla="*/ 351 w 805"/>
                  <a:gd name="T97" fmla="*/ 680 h 793"/>
                  <a:gd name="T98" fmla="*/ 351 w 805"/>
                  <a:gd name="T99" fmla="*/ 664 h 793"/>
                  <a:gd name="T100" fmla="*/ 429 w 805"/>
                  <a:gd name="T101" fmla="*/ 630 h 793"/>
                  <a:gd name="T102" fmla="*/ 282 w 805"/>
                  <a:gd name="T103" fmla="*/ 595 h 793"/>
                  <a:gd name="T104" fmla="*/ 282 w 805"/>
                  <a:gd name="T105" fmla="*/ 579 h 793"/>
                  <a:gd name="T106" fmla="*/ 598 w 805"/>
                  <a:gd name="T107" fmla="*/ 545 h 793"/>
                  <a:gd name="T108" fmla="*/ 241 w 805"/>
                  <a:gd name="T109" fmla="*/ 510 h 793"/>
                  <a:gd name="T110" fmla="*/ 241 w 805"/>
                  <a:gd name="T111" fmla="*/ 494 h 793"/>
                  <a:gd name="T112" fmla="*/ 674 w 805"/>
                  <a:gd name="T113" fmla="*/ 460 h 793"/>
                  <a:gd name="T114" fmla="*/ 268 w 805"/>
                  <a:gd name="T115" fmla="*/ 425 h 793"/>
                  <a:gd name="T116" fmla="*/ 268 w 805"/>
                  <a:gd name="T117" fmla="*/ 409 h 793"/>
                  <a:gd name="T118" fmla="*/ 799 w 805"/>
                  <a:gd name="T119" fmla="*/ 375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5" h="793">
                    <a:moveTo>
                      <a:pt x="765" y="340"/>
                    </a:moveTo>
                    <a:cubicBezTo>
                      <a:pt x="244" y="340"/>
                      <a:pt x="244" y="340"/>
                      <a:pt x="244" y="340"/>
                    </a:cubicBezTo>
                    <a:cubicBezTo>
                      <a:pt x="240" y="340"/>
                      <a:pt x="236" y="336"/>
                      <a:pt x="236" y="332"/>
                    </a:cubicBezTo>
                    <a:cubicBezTo>
                      <a:pt x="236" y="328"/>
                      <a:pt x="240" y="324"/>
                      <a:pt x="244" y="324"/>
                    </a:cubicBezTo>
                    <a:cubicBezTo>
                      <a:pt x="771" y="324"/>
                      <a:pt x="771" y="324"/>
                      <a:pt x="771" y="324"/>
                    </a:cubicBezTo>
                    <a:cubicBezTo>
                      <a:pt x="790" y="324"/>
                      <a:pt x="805" y="309"/>
                      <a:pt x="805" y="290"/>
                    </a:cubicBezTo>
                    <a:cubicBezTo>
                      <a:pt x="805" y="274"/>
                      <a:pt x="796" y="261"/>
                      <a:pt x="781" y="256"/>
                    </a:cubicBezTo>
                    <a:cubicBezTo>
                      <a:pt x="778" y="255"/>
                      <a:pt x="778" y="255"/>
                      <a:pt x="778" y="255"/>
                    </a:cubicBezTo>
                    <a:cubicBezTo>
                      <a:pt x="757" y="255"/>
                      <a:pt x="757" y="255"/>
                      <a:pt x="757" y="255"/>
                    </a:cubicBezTo>
                    <a:cubicBezTo>
                      <a:pt x="757" y="255"/>
                      <a:pt x="757" y="255"/>
                      <a:pt x="757" y="255"/>
                    </a:cubicBezTo>
                    <a:cubicBezTo>
                      <a:pt x="234" y="255"/>
                      <a:pt x="234" y="255"/>
                      <a:pt x="234" y="255"/>
                    </a:cubicBezTo>
                    <a:cubicBezTo>
                      <a:pt x="230" y="255"/>
                      <a:pt x="226" y="251"/>
                      <a:pt x="226" y="247"/>
                    </a:cubicBezTo>
                    <a:cubicBezTo>
                      <a:pt x="226" y="243"/>
                      <a:pt x="230" y="239"/>
                      <a:pt x="234" y="239"/>
                    </a:cubicBezTo>
                    <a:cubicBezTo>
                      <a:pt x="542" y="239"/>
                      <a:pt x="542" y="239"/>
                      <a:pt x="542" y="239"/>
                    </a:cubicBezTo>
                    <a:cubicBezTo>
                      <a:pt x="561" y="239"/>
                      <a:pt x="577" y="224"/>
                      <a:pt x="577" y="204"/>
                    </a:cubicBezTo>
                    <a:cubicBezTo>
                      <a:pt x="577" y="185"/>
                      <a:pt x="561" y="170"/>
                      <a:pt x="542" y="170"/>
                    </a:cubicBezTo>
                    <a:cubicBezTo>
                      <a:pt x="36" y="170"/>
                      <a:pt x="36" y="170"/>
                      <a:pt x="36" y="170"/>
                    </a:cubicBezTo>
                    <a:cubicBezTo>
                      <a:pt x="32" y="170"/>
                      <a:pt x="28" y="166"/>
                      <a:pt x="28" y="162"/>
                    </a:cubicBezTo>
                    <a:cubicBezTo>
                      <a:pt x="28" y="158"/>
                      <a:pt x="32" y="154"/>
                      <a:pt x="36" y="154"/>
                    </a:cubicBezTo>
                    <a:cubicBezTo>
                      <a:pt x="512" y="154"/>
                      <a:pt x="512" y="154"/>
                      <a:pt x="512" y="154"/>
                    </a:cubicBezTo>
                    <a:cubicBezTo>
                      <a:pt x="531" y="154"/>
                      <a:pt x="546" y="139"/>
                      <a:pt x="546" y="119"/>
                    </a:cubicBezTo>
                    <a:cubicBezTo>
                      <a:pt x="546" y="100"/>
                      <a:pt x="531" y="85"/>
                      <a:pt x="512" y="85"/>
                    </a:cubicBezTo>
                    <a:cubicBezTo>
                      <a:pt x="90" y="85"/>
                      <a:pt x="90" y="85"/>
                      <a:pt x="90" y="85"/>
                    </a:cubicBezTo>
                    <a:cubicBezTo>
                      <a:pt x="86" y="85"/>
                      <a:pt x="83" y="81"/>
                      <a:pt x="83" y="77"/>
                    </a:cubicBezTo>
                    <a:cubicBezTo>
                      <a:pt x="83" y="73"/>
                      <a:pt x="86" y="69"/>
                      <a:pt x="90" y="69"/>
                    </a:cubicBezTo>
                    <a:cubicBezTo>
                      <a:pt x="352" y="69"/>
                      <a:pt x="352" y="69"/>
                      <a:pt x="352" y="69"/>
                    </a:cubicBezTo>
                    <a:cubicBezTo>
                      <a:pt x="371" y="69"/>
                      <a:pt x="386" y="54"/>
                      <a:pt x="386" y="34"/>
                    </a:cubicBezTo>
                    <a:cubicBezTo>
                      <a:pt x="386" y="15"/>
                      <a:pt x="371" y="0"/>
                      <a:pt x="352" y="0"/>
                    </a:cubicBezTo>
                    <a:cubicBezTo>
                      <a:pt x="69" y="0"/>
                      <a:pt x="69" y="0"/>
                      <a:pt x="69" y="0"/>
                    </a:cubicBezTo>
                    <a:cubicBezTo>
                      <a:pt x="61" y="0"/>
                      <a:pt x="55" y="6"/>
                      <a:pt x="55" y="14"/>
                    </a:cubicBezTo>
                    <a:cubicBezTo>
                      <a:pt x="55" y="21"/>
                      <a:pt x="61" y="28"/>
                      <a:pt x="69" y="28"/>
                    </a:cubicBezTo>
                    <a:cubicBezTo>
                      <a:pt x="352" y="28"/>
                      <a:pt x="352" y="28"/>
                      <a:pt x="352" y="28"/>
                    </a:cubicBezTo>
                    <a:cubicBezTo>
                      <a:pt x="355" y="28"/>
                      <a:pt x="358" y="31"/>
                      <a:pt x="358" y="34"/>
                    </a:cubicBezTo>
                    <a:cubicBezTo>
                      <a:pt x="358" y="38"/>
                      <a:pt x="355" y="41"/>
                      <a:pt x="352" y="41"/>
                    </a:cubicBezTo>
                    <a:cubicBezTo>
                      <a:pt x="90" y="41"/>
                      <a:pt x="90" y="41"/>
                      <a:pt x="90" y="41"/>
                    </a:cubicBezTo>
                    <a:cubicBezTo>
                      <a:pt x="71" y="41"/>
                      <a:pt x="55" y="57"/>
                      <a:pt x="55" y="77"/>
                    </a:cubicBezTo>
                    <a:cubicBezTo>
                      <a:pt x="55" y="97"/>
                      <a:pt x="71" y="113"/>
                      <a:pt x="90" y="113"/>
                    </a:cubicBezTo>
                    <a:cubicBezTo>
                      <a:pt x="512" y="113"/>
                      <a:pt x="512" y="113"/>
                      <a:pt x="512" y="113"/>
                    </a:cubicBezTo>
                    <a:cubicBezTo>
                      <a:pt x="515" y="113"/>
                      <a:pt x="518" y="116"/>
                      <a:pt x="518" y="119"/>
                    </a:cubicBezTo>
                    <a:cubicBezTo>
                      <a:pt x="518" y="123"/>
                      <a:pt x="515" y="126"/>
                      <a:pt x="512" y="126"/>
                    </a:cubicBezTo>
                    <a:cubicBezTo>
                      <a:pt x="36" y="126"/>
                      <a:pt x="36" y="126"/>
                      <a:pt x="36" y="126"/>
                    </a:cubicBezTo>
                    <a:cubicBezTo>
                      <a:pt x="16" y="126"/>
                      <a:pt x="0" y="142"/>
                      <a:pt x="0" y="162"/>
                    </a:cubicBezTo>
                    <a:cubicBezTo>
                      <a:pt x="0" y="182"/>
                      <a:pt x="16" y="198"/>
                      <a:pt x="36" y="198"/>
                    </a:cubicBezTo>
                    <a:cubicBezTo>
                      <a:pt x="542" y="198"/>
                      <a:pt x="542" y="198"/>
                      <a:pt x="542" y="198"/>
                    </a:cubicBezTo>
                    <a:cubicBezTo>
                      <a:pt x="546" y="198"/>
                      <a:pt x="549" y="201"/>
                      <a:pt x="549" y="204"/>
                    </a:cubicBezTo>
                    <a:cubicBezTo>
                      <a:pt x="549" y="208"/>
                      <a:pt x="546" y="211"/>
                      <a:pt x="542" y="211"/>
                    </a:cubicBezTo>
                    <a:cubicBezTo>
                      <a:pt x="234" y="211"/>
                      <a:pt x="234" y="211"/>
                      <a:pt x="234" y="211"/>
                    </a:cubicBezTo>
                    <a:cubicBezTo>
                      <a:pt x="214" y="211"/>
                      <a:pt x="198" y="227"/>
                      <a:pt x="198" y="247"/>
                    </a:cubicBezTo>
                    <a:cubicBezTo>
                      <a:pt x="198" y="267"/>
                      <a:pt x="214" y="283"/>
                      <a:pt x="234" y="283"/>
                    </a:cubicBezTo>
                    <a:cubicBezTo>
                      <a:pt x="729" y="283"/>
                      <a:pt x="729" y="283"/>
                      <a:pt x="729" y="283"/>
                    </a:cubicBezTo>
                    <a:cubicBezTo>
                      <a:pt x="729" y="283"/>
                      <a:pt x="729" y="283"/>
                      <a:pt x="729" y="283"/>
                    </a:cubicBezTo>
                    <a:cubicBezTo>
                      <a:pt x="773" y="283"/>
                      <a:pt x="773" y="283"/>
                      <a:pt x="773" y="283"/>
                    </a:cubicBezTo>
                    <a:cubicBezTo>
                      <a:pt x="776" y="284"/>
                      <a:pt x="777" y="287"/>
                      <a:pt x="777" y="290"/>
                    </a:cubicBezTo>
                    <a:cubicBezTo>
                      <a:pt x="777" y="293"/>
                      <a:pt x="774" y="296"/>
                      <a:pt x="771" y="296"/>
                    </a:cubicBezTo>
                    <a:cubicBezTo>
                      <a:pt x="244" y="296"/>
                      <a:pt x="244" y="296"/>
                      <a:pt x="244" y="296"/>
                    </a:cubicBezTo>
                    <a:cubicBezTo>
                      <a:pt x="224" y="296"/>
                      <a:pt x="208" y="312"/>
                      <a:pt x="208" y="332"/>
                    </a:cubicBezTo>
                    <a:cubicBezTo>
                      <a:pt x="208" y="352"/>
                      <a:pt x="224" y="368"/>
                      <a:pt x="244" y="368"/>
                    </a:cubicBezTo>
                    <a:cubicBezTo>
                      <a:pt x="765" y="368"/>
                      <a:pt x="765" y="368"/>
                      <a:pt x="765" y="368"/>
                    </a:cubicBezTo>
                    <a:cubicBezTo>
                      <a:pt x="768" y="368"/>
                      <a:pt x="771" y="371"/>
                      <a:pt x="771" y="375"/>
                    </a:cubicBezTo>
                    <a:cubicBezTo>
                      <a:pt x="771" y="378"/>
                      <a:pt x="768" y="381"/>
                      <a:pt x="765" y="381"/>
                    </a:cubicBezTo>
                    <a:cubicBezTo>
                      <a:pt x="268" y="381"/>
                      <a:pt x="268" y="381"/>
                      <a:pt x="268" y="381"/>
                    </a:cubicBezTo>
                    <a:cubicBezTo>
                      <a:pt x="248" y="381"/>
                      <a:pt x="232" y="397"/>
                      <a:pt x="232" y="417"/>
                    </a:cubicBezTo>
                    <a:cubicBezTo>
                      <a:pt x="232" y="437"/>
                      <a:pt x="248" y="453"/>
                      <a:pt x="268" y="453"/>
                    </a:cubicBezTo>
                    <a:cubicBezTo>
                      <a:pt x="639" y="453"/>
                      <a:pt x="639" y="453"/>
                      <a:pt x="639" y="453"/>
                    </a:cubicBezTo>
                    <a:cubicBezTo>
                      <a:pt x="643" y="453"/>
                      <a:pt x="646" y="456"/>
                      <a:pt x="646" y="460"/>
                    </a:cubicBezTo>
                    <a:cubicBezTo>
                      <a:pt x="646" y="463"/>
                      <a:pt x="643" y="466"/>
                      <a:pt x="639" y="466"/>
                    </a:cubicBezTo>
                    <a:cubicBezTo>
                      <a:pt x="241" y="466"/>
                      <a:pt x="241" y="466"/>
                      <a:pt x="241" y="466"/>
                    </a:cubicBezTo>
                    <a:cubicBezTo>
                      <a:pt x="222" y="466"/>
                      <a:pt x="206" y="482"/>
                      <a:pt x="206" y="502"/>
                    </a:cubicBezTo>
                    <a:cubicBezTo>
                      <a:pt x="206" y="522"/>
                      <a:pt x="222" y="538"/>
                      <a:pt x="241" y="538"/>
                    </a:cubicBezTo>
                    <a:cubicBezTo>
                      <a:pt x="563" y="538"/>
                      <a:pt x="563" y="538"/>
                      <a:pt x="563" y="538"/>
                    </a:cubicBezTo>
                    <a:cubicBezTo>
                      <a:pt x="567" y="538"/>
                      <a:pt x="570" y="541"/>
                      <a:pt x="570" y="545"/>
                    </a:cubicBezTo>
                    <a:cubicBezTo>
                      <a:pt x="570" y="548"/>
                      <a:pt x="567" y="551"/>
                      <a:pt x="563" y="551"/>
                    </a:cubicBezTo>
                    <a:cubicBezTo>
                      <a:pt x="282" y="551"/>
                      <a:pt x="282" y="551"/>
                      <a:pt x="282" y="551"/>
                    </a:cubicBezTo>
                    <a:cubicBezTo>
                      <a:pt x="263" y="551"/>
                      <a:pt x="247" y="568"/>
                      <a:pt x="247" y="587"/>
                    </a:cubicBezTo>
                    <a:cubicBezTo>
                      <a:pt x="247" y="607"/>
                      <a:pt x="263" y="623"/>
                      <a:pt x="282" y="623"/>
                    </a:cubicBezTo>
                    <a:cubicBezTo>
                      <a:pt x="395" y="623"/>
                      <a:pt x="395" y="623"/>
                      <a:pt x="395" y="623"/>
                    </a:cubicBezTo>
                    <a:cubicBezTo>
                      <a:pt x="398" y="623"/>
                      <a:pt x="401" y="626"/>
                      <a:pt x="401" y="630"/>
                    </a:cubicBezTo>
                    <a:cubicBezTo>
                      <a:pt x="401" y="633"/>
                      <a:pt x="398" y="636"/>
                      <a:pt x="395" y="636"/>
                    </a:cubicBezTo>
                    <a:cubicBezTo>
                      <a:pt x="351" y="636"/>
                      <a:pt x="351" y="636"/>
                      <a:pt x="351" y="636"/>
                    </a:cubicBezTo>
                    <a:cubicBezTo>
                      <a:pt x="331" y="636"/>
                      <a:pt x="315" y="653"/>
                      <a:pt x="315" y="672"/>
                    </a:cubicBezTo>
                    <a:cubicBezTo>
                      <a:pt x="315" y="692"/>
                      <a:pt x="331" y="708"/>
                      <a:pt x="351" y="708"/>
                    </a:cubicBezTo>
                    <a:cubicBezTo>
                      <a:pt x="409" y="708"/>
                      <a:pt x="409" y="708"/>
                      <a:pt x="409" y="708"/>
                    </a:cubicBezTo>
                    <a:cubicBezTo>
                      <a:pt x="412" y="708"/>
                      <a:pt x="415" y="711"/>
                      <a:pt x="415" y="715"/>
                    </a:cubicBezTo>
                    <a:cubicBezTo>
                      <a:pt x="415" y="719"/>
                      <a:pt x="412" y="722"/>
                      <a:pt x="409" y="722"/>
                    </a:cubicBezTo>
                    <a:cubicBezTo>
                      <a:pt x="405" y="722"/>
                      <a:pt x="405" y="722"/>
                      <a:pt x="405" y="722"/>
                    </a:cubicBezTo>
                    <a:cubicBezTo>
                      <a:pt x="385" y="722"/>
                      <a:pt x="369" y="738"/>
                      <a:pt x="369" y="757"/>
                    </a:cubicBezTo>
                    <a:cubicBezTo>
                      <a:pt x="369" y="777"/>
                      <a:pt x="385" y="793"/>
                      <a:pt x="405" y="793"/>
                    </a:cubicBezTo>
                    <a:cubicBezTo>
                      <a:pt x="457" y="793"/>
                      <a:pt x="457" y="793"/>
                      <a:pt x="457" y="793"/>
                    </a:cubicBezTo>
                    <a:cubicBezTo>
                      <a:pt x="457" y="793"/>
                      <a:pt x="457" y="793"/>
                      <a:pt x="457" y="793"/>
                    </a:cubicBezTo>
                    <a:cubicBezTo>
                      <a:pt x="464" y="793"/>
                      <a:pt x="471" y="787"/>
                      <a:pt x="471" y="779"/>
                    </a:cubicBezTo>
                    <a:cubicBezTo>
                      <a:pt x="471" y="771"/>
                      <a:pt x="464" y="765"/>
                      <a:pt x="457" y="765"/>
                    </a:cubicBezTo>
                    <a:cubicBezTo>
                      <a:pt x="405" y="765"/>
                      <a:pt x="405" y="765"/>
                      <a:pt x="405" y="765"/>
                    </a:cubicBezTo>
                    <a:cubicBezTo>
                      <a:pt x="401" y="765"/>
                      <a:pt x="397" y="762"/>
                      <a:pt x="397" y="757"/>
                    </a:cubicBezTo>
                    <a:cubicBezTo>
                      <a:pt x="397" y="753"/>
                      <a:pt x="401" y="750"/>
                      <a:pt x="405" y="750"/>
                    </a:cubicBezTo>
                    <a:cubicBezTo>
                      <a:pt x="409" y="750"/>
                      <a:pt x="409" y="750"/>
                      <a:pt x="409" y="750"/>
                    </a:cubicBezTo>
                    <a:cubicBezTo>
                      <a:pt x="428" y="750"/>
                      <a:pt x="443" y="734"/>
                      <a:pt x="443" y="715"/>
                    </a:cubicBezTo>
                    <a:cubicBezTo>
                      <a:pt x="443" y="696"/>
                      <a:pt x="428" y="680"/>
                      <a:pt x="409" y="680"/>
                    </a:cubicBezTo>
                    <a:cubicBezTo>
                      <a:pt x="351" y="680"/>
                      <a:pt x="351" y="680"/>
                      <a:pt x="351" y="680"/>
                    </a:cubicBezTo>
                    <a:cubicBezTo>
                      <a:pt x="347" y="680"/>
                      <a:pt x="343" y="677"/>
                      <a:pt x="343" y="672"/>
                    </a:cubicBezTo>
                    <a:cubicBezTo>
                      <a:pt x="343" y="668"/>
                      <a:pt x="347" y="664"/>
                      <a:pt x="351" y="664"/>
                    </a:cubicBezTo>
                    <a:cubicBezTo>
                      <a:pt x="395" y="664"/>
                      <a:pt x="395" y="664"/>
                      <a:pt x="395" y="664"/>
                    </a:cubicBezTo>
                    <a:cubicBezTo>
                      <a:pt x="414" y="664"/>
                      <a:pt x="429" y="649"/>
                      <a:pt x="429" y="630"/>
                    </a:cubicBezTo>
                    <a:cubicBezTo>
                      <a:pt x="429" y="611"/>
                      <a:pt x="414" y="595"/>
                      <a:pt x="395" y="595"/>
                    </a:cubicBezTo>
                    <a:cubicBezTo>
                      <a:pt x="282" y="595"/>
                      <a:pt x="282" y="595"/>
                      <a:pt x="282" y="595"/>
                    </a:cubicBezTo>
                    <a:cubicBezTo>
                      <a:pt x="278" y="595"/>
                      <a:pt x="275" y="592"/>
                      <a:pt x="275" y="587"/>
                    </a:cubicBezTo>
                    <a:cubicBezTo>
                      <a:pt x="275" y="583"/>
                      <a:pt x="278" y="579"/>
                      <a:pt x="282" y="579"/>
                    </a:cubicBezTo>
                    <a:cubicBezTo>
                      <a:pt x="563" y="579"/>
                      <a:pt x="563" y="579"/>
                      <a:pt x="563" y="579"/>
                    </a:cubicBezTo>
                    <a:cubicBezTo>
                      <a:pt x="582" y="579"/>
                      <a:pt x="598" y="564"/>
                      <a:pt x="598" y="545"/>
                    </a:cubicBezTo>
                    <a:cubicBezTo>
                      <a:pt x="598" y="526"/>
                      <a:pt x="582" y="510"/>
                      <a:pt x="563" y="510"/>
                    </a:cubicBezTo>
                    <a:cubicBezTo>
                      <a:pt x="241" y="510"/>
                      <a:pt x="241" y="510"/>
                      <a:pt x="241" y="510"/>
                    </a:cubicBezTo>
                    <a:cubicBezTo>
                      <a:pt x="237" y="510"/>
                      <a:pt x="234" y="507"/>
                      <a:pt x="234" y="502"/>
                    </a:cubicBezTo>
                    <a:cubicBezTo>
                      <a:pt x="234" y="498"/>
                      <a:pt x="237" y="494"/>
                      <a:pt x="241" y="494"/>
                    </a:cubicBezTo>
                    <a:cubicBezTo>
                      <a:pt x="639" y="494"/>
                      <a:pt x="639" y="494"/>
                      <a:pt x="639" y="494"/>
                    </a:cubicBezTo>
                    <a:cubicBezTo>
                      <a:pt x="659" y="494"/>
                      <a:pt x="674" y="479"/>
                      <a:pt x="674" y="460"/>
                    </a:cubicBezTo>
                    <a:cubicBezTo>
                      <a:pt x="674" y="441"/>
                      <a:pt x="659" y="425"/>
                      <a:pt x="639" y="425"/>
                    </a:cubicBezTo>
                    <a:cubicBezTo>
                      <a:pt x="268" y="425"/>
                      <a:pt x="268" y="425"/>
                      <a:pt x="268" y="425"/>
                    </a:cubicBezTo>
                    <a:cubicBezTo>
                      <a:pt x="264" y="425"/>
                      <a:pt x="260" y="421"/>
                      <a:pt x="260" y="417"/>
                    </a:cubicBezTo>
                    <a:cubicBezTo>
                      <a:pt x="260" y="413"/>
                      <a:pt x="264" y="409"/>
                      <a:pt x="268" y="409"/>
                    </a:cubicBezTo>
                    <a:cubicBezTo>
                      <a:pt x="765" y="409"/>
                      <a:pt x="765" y="409"/>
                      <a:pt x="765" y="409"/>
                    </a:cubicBezTo>
                    <a:cubicBezTo>
                      <a:pt x="784" y="409"/>
                      <a:pt x="799" y="394"/>
                      <a:pt x="799" y="375"/>
                    </a:cubicBezTo>
                    <a:cubicBezTo>
                      <a:pt x="799" y="355"/>
                      <a:pt x="784" y="340"/>
                      <a:pt x="765" y="3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0" name="Freeform 361"/>
              <p:cNvSpPr>
                <a:spLocks/>
              </p:cNvSpPr>
              <p:nvPr/>
            </p:nvSpPr>
            <p:spPr bwMode="auto">
              <a:xfrm>
                <a:off x="4673600" y="4467225"/>
                <a:ext cx="376238" cy="239713"/>
              </a:xfrm>
              <a:custGeom>
                <a:avLst/>
                <a:gdLst>
                  <a:gd name="T0" fmla="*/ 36 w 514"/>
                  <a:gd name="T1" fmla="*/ 71 h 327"/>
                  <a:gd name="T2" fmla="*/ 259 w 514"/>
                  <a:gd name="T3" fmla="*/ 71 h 327"/>
                  <a:gd name="T4" fmla="*/ 265 w 514"/>
                  <a:gd name="T5" fmla="*/ 78 h 327"/>
                  <a:gd name="T6" fmla="*/ 259 w 514"/>
                  <a:gd name="T7" fmla="*/ 85 h 327"/>
                  <a:gd name="T8" fmla="*/ 95 w 514"/>
                  <a:gd name="T9" fmla="*/ 85 h 327"/>
                  <a:gd name="T10" fmla="*/ 59 w 514"/>
                  <a:gd name="T11" fmla="*/ 121 h 327"/>
                  <a:gd name="T12" fmla="*/ 95 w 514"/>
                  <a:gd name="T13" fmla="*/ 156 h 327"/>
                  <a:gd name="T14" fmla="*/ 368 w 514"/>
                  <a:gd name="T15" fmla="*/ 156 h 327"/>
                  <a:gd name="T16" fmla="*/ 375 w 514"/>
                  <a:gd name="T17" fmla="*/ 163 h 327"/>
                  <a:gd name="T18" fmla="*/ 368 w 514"/>
                  <a:gd name="T19" fmla="*/ 170 h 327"/>
                  <a:gd name="T20" fmla="*/ 40 w 514"/>
                  <a:gd name="T21" fmla="*/ 170 h 327"/>
                  <a:gd name="T22" fmla="*/ 5 w 514"/>
                  <a:gd name="T23" fmla="*/ 206 h 327"/>
                  <a:gd name="T24" fmla="*/ 40 w 514"/>
                  <a:gd name="T25" fmla="*/ 242 h 327"/>
                  <a:gd name="T26" fmla="*/ 412 w 514"/>
                  <a:gd name="T27" fmla="*/ 242 h 327"/>
                  <a:gd name="T28" fmla="*/ 418 w 514"/>
                  <a:gd name="T29" fmla="*/ 248 h 327"/>
                  <a:gd name="T30" fmla="*/ 412 w 514"/>
                  <a:gd name="T31" fmla="*/ 255 h 327"/>
                  <a:gd name="T32" fmla="*/ 94 w 514"/>
                  <a:gd name="T33" fmla="*/ 255 h 327"/>
                  <a:gd name="T34" fmla="*/ 58 w 514"/>
                  <a:gd name="T35" fmla="*/ 291 h 327"/>
                  <a:gd name="T36" fmla="*/ 94 w 514"/>
                  <a:gd name="T37" fmla="*/ 327 h 327"/>
                  <a:gd name="T38" fmla="*/ 500 w 514"/>
                  <a:gd name="T39" fmla="*/ 327 h 327"/>
                  <a:gd name="T40" fmla="*/ 500 w 514"/>
                  <a:gd name="T41" fmla="*/ 327 h 327"/>
                  <a:gd name="T42" fmla="*/ 500 w 514"/>
                  <a:gd name="T43" fmla="*/ 327 h 327"/>
                  <a:gd name="T44" fmla="*/ 514 w 514"/>
                  <a:gd name="T45" fmla="*/ 313 h 327"/>
                  <a:gd name="T46" fmla="*/ 500 w 514"/>
                  <a:gd name="T47" fmla="*/ 299 h 327"/>
                  <a:gd name="T48" fmla="*/ 500 w 514"/>
                  <a:gd name="T49" fmla="*/ 299 h 327"/>
                  <a:gd name="T50" fmla="*/ 94 w 514"/>
                  <a:gd name="T51" fmla="*/ 299 h 327"/>
                  <a:gd name="T52" fmla="*/ 86 w 514"/>
                  <a:gd name="T53" fmla="*/ 291 h 327"/>
                  <a:gd name="T54" fmla="*/ 94 w 514"/>
                  <a:gd name="T55" fmla="*/ 283 h 327"/>
                  <a:gd name="T56" fmla="*/ 412 w 514"/>
                  <a:gd name="T57" fmla="*/ 283 h 327"/>
                  <a:gd name="T58" fmla="*/ 446 w 514"/>
                  <a:gd name="T59" fmla="*/ 248 h 327"/>
                  <a:gd name="T60" fmla="*/ 412 w 514"/>
                  <a:gd name="T61" fmla="*/ 214 h 327"/>
                  <a:gd name="T62" fmla="*/ 40 w 514"/>
                  <a:gd name="T63" fmla="*/ 214 h 327"/>
                  <a:gd name="T64" fmla="*/ 33 w 514"/>
                  <a:gd name="T65" fmla="*/ 206 h 327"/>
                  <a:gd name="T66" fmla="*/ 40 w 514"/>
                  <a:gd name="T67" fmla="*/ 198 h 327"/>
                  <a:gd name="T68" fmla="*/ 368 w 514"/>
                  <a:gd name="T69" fmla="*/ 198 h 327"/>
                  <a:gd name="T70" fmla="*/ 403 w 514"/>
                  <a:gd name="T71" fmla="*/ 163 h 327"/>
                  <a:gd name="T72" fmla="*/ 368 w 514"/>
                  <a:gd name="T73" fmla="*/ 128 h 327"/>
                  <a:gd name="T74" fmla="*/ 95 w 514"/>
                  <a:gd name="T75" fmla="*/ 128 h 327"/>
                  <a:gd name="T76" fmla="*/ 87 w 514"/>
                  <a:gd name="T77" fmla="*/ 121 h 327"/>
                  <a:gd name="T78" fmla="*/ 95 w 514"/>
                  <a:gd name="T79" fmla="*/ 113 h 327"/>
                  <a:gd name="T80" fmla="*/ 259 w 514"/>
                  <a:gd name="T81" fmla="*/ 113 h 327"/>
                  <a:gd name="T82" fmla="*/ 293 w 514"/>
                  <a:gd name="T83" fmla="*/ 78 h 327"/>
                  <a:gd name="T84" fmla="*/ 259 w 514"/>
                  <a:gd name="T85" fmla="*/ 43 h 327"/>
                  <a:gd name="T86" fmla="*/ 36 w 514"/>
                  <a:gd name="T87" fmla="*/ 43 h 327"/>
                  <a:gd name="T88" fmla="*/ 28 w 514"/>
                  <a:gd name="T89" fmla="*/ 36 h 327"/>
                  <a:gd name="T90" fmla="*/ 36 w 514"/>
                  <a:gd name="T91" fmla="*/ 28 h 327"/>
                  <a:gd name="T92" fmla="*/ 36 w 514"/>
                  <a:gd name="T93" fmla="*/ 28 h 327"/>
                  <a:gd name="T94" fmla="*/ 50 w 514"/>
                  <a:gd name="T95" fmla="*/ 14 h 327"/>
                  <a:gd name="T96" fmla="*/ 36 w 514"/>
                  <a:gd name="T97" fmla="*/ 0 h 327"/>
                  <a:gd name="T98" fmla="*/ 0 w 514"/>
                  <a:gd name="T99" fmla="*/ 36 h 327"/>
                  <a:gd name="T100" fmla="*/ 36 w 514"/>
                  <a:gd name="T101"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4" h="327">
                    <a:moveTo>
                      <a:pt x="36" y="71"/>
                    </a:moveTo>
                    <a:cubicBezTo>
                      <a:pt x="259" y="71"/>
                      <a:pt x="259" y="71"/>
                      <a:pt x="259" y="71"/>
                    </a:cubicBezTo>
                    <a:cubicBezTo>
                      <a:pt x="262" y="71"/>
                      <a:pt x="265" y="74"/>
                      <a:pt x="265" y="78"/>
                    </a:cubicBezTo>
                    <a:cubicBezTo>
                      <a:pt x="265" y="82"/>
                      <a:pt x="262" y="85"/>
                      <a:pt x="259" y="85"/>
                    </a:cubicBezTo>
                    <a:cubicBezTo>
                      <a:pt x="95" y="85"/>
                      <a:pt x="95" y="85"/>
                      <a:pt x="95" y="85"/>
                    </a:cubicBezTo>
                    <a:cubicBezTo>
                      <a:pt x="75" y="85"/>
                      <a:pt x="59" y="101"/>
                      <a:pt x="59" y="121"/>
                    </a:cubicBezTo>
                    <a:cubicBezTo>
                      <a:pt x="59" y="140"/>
                      <a:pt x="75" y="156"/>
                      <a:pt x="95" y="156"/>
                    </a:cubicBezTo>
                    <a:cubicBezTo>
                      <a:pt x="368" y="156"/>
                      <a:pt x="368" y="156"/>
                      <a:pt x="368" y="156"/>
                    </a:cubicBezTo>
                    <a:cubicBezTo>
                      <a:pt x="372" y="156"/>
                      <a:pt x="375" y="159"/>
                      <a:pt x="375" y="163"/>
                    </a:cubicBezTo>
                    <a:cubicBezTo>
                      <a:pt x="375" y="167"/>
                      <a:pt x="372" y="170"/>
                      <a:pt x="368" y="170"/>
                    </a:cubicBezTo>
                    <a:cubicBezTo>
                      <a:pt x="40" y="170"/>
                      <a:pt x="40" y="170"/>
                      <a:pt x="40" y="170"/>
                    </a:cubicBezTo>
                    <a:cubicBezTo>
                      <a:pt x="21" y="170"/>
                      <a:pt x="5" y="186"/>
                      <a:pt x="5" y="206"/>
                    </a:cubicBezTo>
                    <a:cubicBezTo>
                      <a:pt x="5" y="225"/>
                      <a:pt x="21" y="242"/>
                      <a:pt x="40" y="242"/>
                    </a:cubicBezTo>
                    <a:cubicBezTo>
                      <a:pt x="412" y="242"/>
                      <a:pt x="412" y="242"/>
                      <a:pt x="412" y="242"/>
                    </a:cubicBezTo>
                    <a:cubicBezTo>
                      <a:pt x="415" y="242"/>
                      <a:pt x="418" y="245"/>
                      <a:pt x="418" y="248"/>
                    </a:cubicBezTo>
                    <a:cubicBezTo>
                      <a:pt x="418" y="252"/>
                      <a:pt x="415" y="255"/>
                      <a:pt x="412" y="255"/>
                    </a:cubicBezTo>
                    <a:cubicBezTo>
                      <a:pt x="94" y="255"/>
                      <a:pt x="94" y="255"/>
                      <a:pt x="94" y="255"/>
                    </a:cubicBezTo>
                    <a:cubicBezTo>
                      <a:pt x="74" y="255"/>
                      <a:pt x="58" y="271"/>
                      <a:pt x="58" y="291"/>
                    </a:cubicBezTo>
                    <a:cubicBezTo>
                      <a:pt x="58" y="311"/>
                      <a:pt x="74" y="327"/>
                      <a:pt x="94" y="327"/>
                    </a:cubicBezTo>
                    <a:cubicBezTo>
                      <a:pt x="500" y="327"/>
                      <a:pt x="500" y="327"/>
                      <a:pt x="500" y="327"/>
                    </a:cubicBezTo>
                    <a:cubicBezTo>
                      <a:pt x="500" y="327"/>
                      <a:pt x="500" y="327"/>
                      <a:pt x="500" y="327"/>
                    </a:cubicBezTo>
                    <a:cubicBezTo>
                      <a:pt x="500" y="327"/>
                      <a:pt x="500" y="327"/>
                      <a:pt x="500" y="327"/>
                    </a:cubicBezTo>
                    <a:cubicBezTo>
                      <a:pt x="508" y="327"/>
                      <a:pt x="514" y="320"/>
                      <a:pt x="514" y="313"/>
                    </a:cubicBezTo>
                    <a:cubicBezTo>
                      <a:pt x="514" y="305"/>
                      <a:pt x="508" y="299"/>
                      <a:pt x="500" y="299"/>
                    </a:cubicBezTo>
                    <a:cubicBezTo>
                      <a:pt x="500" y="299"/>
                      <a:pt x="500" y="299"/>
                      <a:pt x="500" y="299"/>
                    </a:cubicBezTo>
                    <a:cubicBezTo>
                      <a:pt x="94" y="299"/>
                      <a:pt x="94" y="299"/>
                      <a:pt x="94" y="299"/>
                    </a:cubicBezTo>
                    <a:cubicBezTo>
                      <a:pt x="89" y="299"/>
                      <a:pt x="86" y="295"/>
                      <a:pt x="86" y="291"/>
                    </a:cubicBezTo>
                    <a:cubicBezTo>
                      <a:pt x="86" y="286"/>
                      <a:pt x="89" y="283"/>
                      <a:pt x="94" y="283"/>
                    </a:cubicBezTo>
                    <a:cubicBezTo>
                      <a:pt x="412" y="283"/>
                      <a:pt x="412" y="283"/>
                      <a:pt x="412" y="283"/>
                    </a:cubicBezTo>
                    <a:cubicBezTo>
                      <a:pt x="431" y="283"/>
                      <a:pt x="446" y="267"/>
                      <a:pt x="446" y="248"/>
                    </a:cubicBezTo>
                    <a:cubicBezTo>
                      <a:pt x="446" y="229"/>
                      <a:pt x="431" y="214"/>
                      <a:pt x="412" y="214"/>
                    </a:cubicBezTo>
                    <a:cubicBezTo>
                      <a:pt x="40" y="214"/>
                      <a:pt x="40" y="214"/>
                      <a:pt x="40" y="214"/>
                    </a:cubicBezTo>
                    <a:cubicBezTo>
                      <a:pt x="36" y="214"/>
                      <a:pt x="33" y="210"/>
                      <a:pt x="33" y="206"/>
                    </a:cubicBezTo>
                    <a:cubicBezTo>
                      <a:pt x="33" y="201"/>
                      <a:pt x="36" y="198"/>
                      <a:pt x="40" y="198"/>
                    </a:cubicBezTo>
                    <a:cubicBezTo>
                      <a:pt x="368" y="198"/>
                      <a:pt x="368" y="198"/>
                      <a:pt x="368" y="198"/>
                    </a:cubicBezTo>
                    <a:cubicBezTo>
                      <a:pt x="387" y="198"/>
                      <a:pt x="403" y="182"/>
                      <a:pt x="403" y="163"/>
                    </a:cubicBezTo>
                    <a:cubicBezTo>
                      <a:pt x="403" y="144"/>
                      <a:pt x="387" y="128"/>
                      <a:pt x="368" y="128"/>
                    </a:cubicBezTo>
                    <a:cubicBezTo>
                      <a:pt x="95" y="128"/>
                      <a:pt x="95" y="128"/>
                      <a:pt x="95" y="128"/>
                    </a:cubicBezTo>
                    <a:cubicBezTo>
                      <a:pt x="91" y="128"/>
                      <a:pt x="87" y="125"/>
                      <a:pt x="87" y="121"/>
                    </a:cubicBezTo>
                    <a:cubicBezTo>
                      <a:pt x="87" y="116"/>
                      <a:pt x="91" y="113"/>
                      <a:pt x="95" y="113"/>
                    </a:cubicBezTo>
                    <a:cubicBezTo>
                      <a:pt x="259" y="113"/>
                      <a:pt x="259" y="113"/>
                      <a:pt x="259" y="113"/>
                    </a:cubicBezTo>
                    <a:cubicBezTo>
                      <a:pt x="278" y="113"/>
                      <a:pt x="293" y="97"/>
                      <a:pt x="293" y="78"/>
                    </a:cubicBezTo>
                    <a:cubicBezTo>
                      <a:pt x="293" y="59"/>
                      <a:pt x="278" y="43"/>
                      <a:pt x="259" y="43"/>
                    </a:cubicBezTo>
                    <a:cubicBezTo>
                      <a:pt x="36" y="43"/>
                      <a:pt x="36" y="43"/>
                      <a:pt x="36" y="43"/>
                    </a:cubicBezTo>
                    <a:cubicBezTo>
                      <a:pt x="32" y="43"/>
                      <a:pt x="28" y="40"/>
                      <a:pt x="28" y="36"/>
                    </a:cubicBezTo>
                    <a:cubicBezTo>
                      <a:pt x="28" y="31"/>
                      <a:pt x="32" y="28"/>
                      <a:pt x="36" y="28"/>
                    </a:cubicBezTo>
                    <a:cubicBezTo>
                      <a:pt x="36" y="28"/>
                      <a:pt x="36" y="28"/>
                      <a:pt x="36" y="28"/>
                    </a:cubicBezTo>
                    <a:cubicBezTo>
                      <a:pt x="44" y="28"/>
                      <a:pt x="50" y="22"/>
                      <a:pt x="50" y="14"/>
                    </a:cubicBezTo>
                    <a:cubicBezTo>
                      <a:pt x="50" y="6"/>
                      <a:pt x="44" y="0"/>
                      <a:pt x="36" y="0"/>
                    </a:cubicBezTo>
                    <a:cubicBezTo>
                      <a:pt x="16" y="0"/>
                      <a:pt x="0" y="16"/>
                      <a:pt x="0" y="36"/>
                    </a:cubicBezTo>
                    <a:cubicBezTo>
                      <a:pt x="0" y="55"/>
                      <a:pt x="16" y="71"/>
                      <a:pt x="36"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81" name="Group 80"/>
          <p:cNvGrpSpPr/>
          <p:nvPr/>
        </p:nvGrpSpPr>
        <p:grpSpPr>
          <a:xfrm>
            <a:off x="1" y="2982191"/>
            <a:ext cx="11757022" cy="548640"/>
            <a:chOff x="1" y="2982191"/>
            <a:chExt cx="11757022" cy="548640"/>
          </a:xfrm>
        </p:grpSpPr>
        <p:sp>
          <p:nvSpPr>
            <p:cNvPr id="82" name="Rectangle 81"/>
            <p:cNvSpPr/>
            <p:nvPr/>
          </p:nvSpPr>
          <p:spPr bwMode="auto">
            <a:xfrm>
              <a:off x="1" y="2982191"/>
              <a:ext cx="3248024" cy="548640"/>
            </a:xfrm>
            <a:prstGeom prst="rect">
              <a:avLst/>
            </a:prstGeom>
            <a:solidFill>
              <a:srgbClr val="0D163D"/>
            </a:solidFill>
            <a:ln w="9525" cap="flat" cmpd="sng" algn="ctr">
              <a:noFill/>
              <a:prstDash val="solid"/>
              <a:headEnd type="none" w="med" len="med"/>
              <a:tailEnd type="none" w="med" len="med"/>
            </a:ln>
            <a:effectLst/>
          </p:spPr>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	Throughput</a:t>
              </a:r>
            </a:p>
          </p:txBody>
        </p:sp>
        <p:sp>
          <p:nvSpPr>
            <p:cNvPr id="83" name="Rectangle 82"/>
            <p:cNvSpPr/>
            <p:nvPr/>
          </p:nvSpPr>
          <p:spPr>
            <a:xfrm>
              <a:off x="3248024" y="2982191"/>
              <a:ext cx="8508999" cy="548640"/>
            </a:xfrm>
            <a:prstGeom prst="rect">
              <a:avLst/>
            </a:prstGeom>
            <a:solidFill>
              <a:srgbClr val="FFFFFF">
                <a:lumMod val="95000"/>
              </a:srgbClr>
            </a:solidFill>
          </p:spPr>
          <p:txBody>
            <a:bodyPr wrap="square" lIns="91440" anchor="ctr">
              <a:noAutofit/>
            </a:bodyPr>
            <a:lstStyle/>
            <a:p>
              <a:pPr marL="53965" marR="0" lvl="1" indent="0" defTabSz="931954" eaLnBrk="1" fontAlgn="auto" latinLnBrk="0" hangingPunct="1">
                <a:lnSpc>
                  <a:spcPct val="100000"/>
                </a:lnSpc>
                <a:spcBef>
                  <a:spcPts val="0"/>
                </a:spcBef>
                <a:spcAft>
                  <a:spcPts val="0"/>
                </a:spcAft>
                <a:buClr>
                  <a:srgbClr val="68217A">
                    <a:lumMod val="50000"/>
                  </a:srgbClr>
                </a:buClr>
                <a:buSzTx/>
                <a:buFontTx/>
                <a:buNone/>
                <a:tabLst>
                  <a:tab pos="658368" algn="l"/>
                </a:tabLst>
                <a:defRPr/>
              </a:pPr>
              <a:r>
                <a:rPr kumimoji="0" lang="en-IN" sz="14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Must have high throughput for </a:t>
              </a:r>
              <a:r>
                <a:rPr kumimoji="0" lang="en-US" sz="14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massively parallel processing via frameworks such as Hadoop and Spark</a:t>
              </a:r>
              <a:endParaRPr kumimoji="0" lang="en-IN" sz="1400" b="0" i="0" u="none" strike="noStrike" kern="0" cap="none" spc="0" normalizeH="0" baseline="0" noProof="0" dirty="0">
                <a:ln>
                  <a:noFill/>
                </a:ln>
                <a:solidFill>
                  <a:sysClr val="windowText" lastClr="000000"/>
                </a:solidFill>
                <a:effectLst/>
                <a:uLnTx/>
                <a:uFillTx/>
                <a:ea typeface="Segoe UI" pitchFamily="34" charset="0"/>
                <a:cs typeface="Segoe UI" pitchFamily="34" charset="0"/>
              </a:endParaRPr>
            </a:p>
          </p:txBody>
        </p:sp>
        <p:grpSp>
          <p:nvGrpSpPr>
            <p:cNvPr id="84" name="Group 83"/>
            <p:cNvGrpSpPr/>
            <p:nvPr/>
          </p:nvGrpSpPr>
          <p:grpSpPr>
            <a:xfrm>
              <a:off x="491201" y="3023254"/>
              <a:ext cx="792162" cy="466515"/>
              <a:chOff x="5627688" y="2768600"/>
              <a:chExt cx="3579812" cy="2108200"/>
            </a:xfrm>
          </p:grpSpPr>
          <p:sp>
            <p:nvSpPr>
              <p:cNvPr id="85" name="Freeform 367"/>
              <p:cNvSpPr>
                <a:spLocks noEditPoints="1"/>
              </p:cNvSpPr>
              <p:nvPr/>
            </p:nvSpPr>
            <p:spPr bwMode="auto">
              <a:xfrm>
                <a:off x="5627688" y="4702175"/>
                <a:ext cx="3317875" cy="174625"/>
              </a:xfrm>
              <a:custGeom>
                <a:avLst/>
                <a:gdLst>
                  <a:gd name="T0" fmla="*/ 1733 w 1987"/>
                  <a:gd name="T1" fmla="*/ 0 h 105"/>
                  <a:gd name="T2" fmla="*/ 1719 w 1987"/>
                  <a:gd name="T3" fmla="*/ 0 h 105"/>
                  <a:gd name="T4" fmla="*/ 1719 w 1987"/>
                  <a:gd name="T5" fmla="*/ 14 h 105"/>
                  <a:gd name="T6" fmla="*/ 1733 w 1987"/>
                  <a:gd name="T7" fmla="*/ 0 h 105"/>
                  <a:gd name="T8" fmla="*/ 1836 w 1987"/>
                  <a:gd name="T9" fmla="*/ 0 h 105"/>
                  <a:gd name="T10" fmla="*/ 1813 w 1987"/>
                  <a:gd name="T11" fmla="*/ 0 h 105"/>
                  <a:gd name="T12" fmla="*/ 1813 w 1987"/>
                  <a:gd name="T13" fmla="*/ 23 h 105"/>
                  <a:gd name="T14" fmla="*/ 1836 w 1987"/>
                  <a:gd name="T15" fmla="*/ 0 h 105"/>
                  <a:gd name="T16" fmla="*/ 1935 w 1987"/>
                  <a:gd name="T17" fmla="*/ 0 h 105"/>
                  <a:gd name="T18" fmla="*/ 1917 w 1987"/>
                  <a:gd name="T19" fmla="*/ 0 h 105"/>
                  <a:gd name="T20" fmla="*/ 1917 w 1987"/>
                  <a:gd name="T21" fmla="*/ 53 h 105"/>
                  <a:gd name="T22" fmla="*/ 1813 w 1987"/>
                  <a:gd name="T23" fmla="*/ 53 h 105"/>
                  <a:gd name="T24" fmla="*/ 1719 w 1987"/>
                  <a:gd name="T25" fmla="*/ 53 h 105"/>
                  <a:gd name="T26" fmla="*/ 1672 w 1987"/>
                  <a:gd name="T27" fmla="*/ 53 h 105"/>
                  <a:gd name="T28" fmla="*/ 1672 w 1987"/>
                  <a:gd name="T29" fmla="*/ 0 h 105"/>
                  <a:gd name="T30" fmla="*/ 1456 w 1987"/>
                  <a:gd name="T31" fmla="*/ 0 h 105"/>
                  <a:gd name="T32" fmla="*/ 1456 w 1987"/>
                  <a:gd name="T33" fmla="*/ 53 h 105"/>
                  <a:gd name="T34" fmla="*/ 1409 w 1987"/>
                  <a:gd name="T35" fmla="*/ 53 h 105"/>
                  <a:gd name="T36" fmla="*/ 1409 w 1987"/>
                  <a:gd name="T37" fmla="*/ 0 h 105"/>
                  <a:gd name="T38" fmla="*/ 1258 w 1987"/>
                  <a:gd name="T39" fmla="*/ 0 h 105"/>
                  <a:gd name="T40" fmla="*/ 1258 w 1987"/>
                  <a:gd name="T41" fmla="*/ 53 h 105"/>
                  <a:gd name="T42" fmla="*/ 463 w 1987"/>
                  <a:gd name="T43" fmla="*/ 53 h 105"/>
                  <a:gd name="T44" fmla="*/ 463 w 1987"/>
                  <a:gd name="T45" fmla="*/ 0 h 105"/>
                  <a:gd name="T46" fmla="*/ 423 w 1987"/>
                  <a:gd name="T47" fmla="*/ 0 h 105"/>
                  <a:gd name="T48" fmla="*/ 423 w 1987"/>
                  <a:gd name="T49" fmla="*/ 53 h 105"/>
                  <a:gd name="T50" fmla="*/ 375 w 1987"/>
                  <a:gd name="T51" fmla="*/ 53 h 105"/>
                  <a:gd name="T52" fmla="*/ 375 w 1987"/>
                  <a:gd name="T53" fmla="*/ 0 h 105"/>
                  <a:gd name="T54" fmla="*/ 149 w 1987"/>
                  <a:gd name="T55" fmla="*/ 0 h 105"/>
                  <a:gd name="T56" fmla="*/ 149 w 1987"/>
                  <a:gd name="T57" fmla="*/ 53 h 105"/>
                  <a:gd name="T58" fmla="*/ 102 w 1987"/>
                  <a:gd name="T59" fmla="*/ 53 h 105"/>
                  <a:gd name="T60" fmla="*/ 102 w 1987"/>
                  <a:gd name="T61" fmla="*/ 0 h 105"/>
                  <a:gd name="T62" fmla="*/ 52 w 1987"/>
                  <a:gd name="T63" fmla="*/ 0 h 105"/>
                  <a:gd name="T64" fmla="*/ 0 w 1987"/>
                  <a:gd name="T65" fmla="*/ 53 h 105"/>
                  <a:gd name="T66" fmla="*/ 52 w 1987"/>
                  <a:gd name="T67" fmla="*/ 105 h 105"/>
                  <a:gd name="T68" fmla="*/ 1935 w 1987"/>
                  <a:gd name="T69" fmla="*/ 105 h 105"/>
                  <a:gd name="T70" fmla="*/ 1987 w 1987"/>
                  <a:gd name="T71" fmla="*/ 53 h 105"/>
                  <a:gd name="T72" fmla="*/ 1935 w 1987"/>
                  <a:gd name="T7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87" h="105">
                    <a:moveTo>
                      <a:pt x="1733" y="0"/>
                    </a:moveTo>
                    <a:cubicBezTo>
                      <a:pt x="1719" y="0"/>
                      <a:pt x="1719" y="0"/>
                      <a:pt x="1719" y="0"/>
                    </a:cubicBezTo>
                    <a:cubicBezTo>
                      <a:pt x="1719" y="14"/>
                      <a:pt x="1719" y="14"/>
                      <a:pt x="1719" y="14"/>
                    </a:cubicBezTo>
                    <a:cubicBezTo>
                      <a:pt x="1733" y="0"/>
                      <a:pt x="1733" y="0"/>
                      <a:pt x="1733" y="0"/>
                    </a:cubicBezTo>
                    <a:moveTo>
                      <a:pt x="1836" y="0"/>
                    </a:moveTo>
                    <a:cubicBezTo>
                      <a:pt x="1813" y="0"/>
                      <a:pt x="1813" y="0"/>
                      <a:pt x="1813" y="0"/>
                    </a:cubicBezTo>
                    <a:cubicBezTo>
                      <a:pt x="1813" y="23"/>
                      <a:pt x="1813" y="23"/>
                      <a:pt x="1813" y="23"/>
                    </a:cubicBezTo>
                    <a:cubicBezTo>
                      <a:pt x="1836" y="0"/>
                      <a:pt x="1836" y="0"/>
                      <a:pt x="1836" y="0"/>
                    </a:cubicBezTo>
                    <a:moveTo>
                      <a:pt x="1935" y="0"/>
                    </a:moveTo>
                    <a:cubicBezTo>
                      <a:pt x="1917" y="0"/>
                      <a:pt x="1917" y="0"/>
                      <a:pt x="1917" y="0"/>
                    </a:cubicBezTo>
                    <a:cubicBezTo>
                      <a:pt x="1917" y="53"/>
                      <a:pt x="1917" y="53"/>
                      <a:pt x="1917" y="53"/>
                    </a:cubicBezTo>
                    <a:cubicBezTo>
                      <a:pt x="1813" y="53"/>
                      <a:pt x="1813" y="53"/>
                      <a:pt x="1813" y="53"/>
                    </a:cubicBezTo>
                    <a:cubicBezTo>
                      <a:pt x="1719" y="53"/>
                      <a:pt x="1719" y="53"/>
                      <a:pt x="1719" y="53"/>
                    </a:cubicBezTo>
                    <a:cubicBezTo>
                      <a:pt x="1672" y="53"/>
                      <a:pt x="1672" y="53"/>
                      <a:pt x="1672" y="53"/>
                    </a:cubicBezTo>
                    <a:cubicBezTo>
                      <a:pt x="1672" y="0"/>
                      <a:pt x="1672" y="0"/>
                      <a:pt x="1672" y="0"/>
                    </a:cubicBezTo>
                    <a:cubicBezTo>
                      <a:pt x="1456" y="0"/>
                      <a:pt x="1456" y="0"/>
                      <a:pt x="1456" y="0"/>
                    </a:cubicBezTo>
                    <a:cubicBezTo>
                      <a:pt x="1456" y="53"/>
                      <a:pt x="1456" y="53"/>
                      <a:pt x="1456" y="53"/>
                    </a:cubicBezTo>
                    <a:cubicBezTo>
                      <a:pt x="1409" y="53"/>
                      <a:pt x="1409" y="53"/>
                      <a:pt x="1409" y="53"/>
                    </a:cubicBezTo>
                    <a:cubicBezTo>
                      <a:pt x="1409" y="0"/>
                      <a:pt x="1409" y="0"/>
                      <a:pt x="1409" y="0"/>
                    </a:cubicBezTo>
                    <a:cubicBezTo>
                      <a:pt x="1258" y="0"/>
                      <a:pt x="1258" y="0"/>
                      <a:pt x="1258" y="0"/>
                    </a:cubicBezTo>
                    <a:cubicBezTo>
                      <a:pt x="1258" y="53"/>
                      <a:pt x="1258" y="53"/>
                      <a:pt x="1258" y="53"/>
                    </a:cubicBezTo>
                    <a:cubicBezTo>
                      <a:pt x="463" y="53"/>
                      <a:pt x="463" y="53"/>
                      <a:pt x="463" y="53"/>
                    </a:cubicBezTo>
                    <a:cubicBezTo>
                      <a:pt x="463" y="0"/>
                      <a:pt x="463" y="0"/>
                      <a:pt x="463" y="0"/>
                    </a:cubicBezTo>
                    <a:cubicBezTo>
                      <a:pt x="423" y="0"/>
                      <a:pt x="423" y="0"/>
                      <a:pt x="423" y="0"/>
                    </a:cubicBezTo>
                    <a:cubicBezTo>
                      <a:pt x="423" y="53"/>
                      <a:pt x="423" y="53"/>
                      <a:pt x="423" y="53"/>
                    </a:cubicBezTo>
                    <a:cubicBezTo>
                      <a:pt x="375" y="53"/>
                      <a:pt x="375" y="53"/>
                      <a:pt x="375" y="53"/>
                    </a:cubicBezTo>
                    <a:cubicBezTo>
                      <a:pt x="375" y="0"/>
                      <a:pt x="375" y="0"/>
                      <a:pt x="375" y="0"/>
                    </a:cubicBezTo>
                    <a:cubicBezTo>
                      <a:pt x="149" y="0"/>
                      <a:pt x="149" y="0"/>
                      <a:pt x="149" y="0"/>
                    </a:cubicBezTo>
                    <a:cubicBezTo>
                      <a:pt x="149" y="53"/>
                      <a:pt x="149" y="53"/>
                      <a:pt x="149" y="53"/>
                    </a:cubicBezTo>
                    <a:cubicBezTo>
                      <a:pt x="102" y="53"/>
                      <a:pt x="102" y="53"/>
                      <a:pt x="102" y="53"/>
                    </a:cubicBezTo>
                    <a:cubicBezTo>
                      <a:pt x="102" y="0"/>
                      <a:pt x="102" y="0"/>
                      <a:pt x="102" y="0"/>
                    </a:cubicBezTo>
                    <a:cubicBezTo>
                      <a:pt x="52" y="0"/>
                      <a:pt x="52" y="0"/>
                      <a:pt x="52" y="0"/>
                    </a:cubicBezTo>
                    <a:cubicBezTo>
                      <a:pt x="23" y="0"/>
                      <a:pt x="0" y="24"/>
                      <a:pt x="0" y="53"/>
                    </a:cubicBezTo>
                    <a:cubicBezTo>
                      <a:pt x="0" y="81"/>
                      <a:pt x="23" y="105"/>
                      <a:pt x="52" y="105"/>
                    </a:cubicBezTo>
                    <a:cubicBezTo>
                      <a:pt x="1935" y="105"/>
                      <a:pt x="1935" y="105"/>
                      <a:pt x="1935" y="105"/>
                    </a:cubicBezTo>
                    <a:cubicBezTo>
                      <a:pt x="1964" y="105"/>
                      <a:pt x="1987" y="81"/>
                      <a:pt x="1987" y="53"/>
                    </a:cubicBezTo>
                    <a:cubicBezTo>
                      <a:pt x="1987" y="24"/>
                      <a:pt x="1964" y="0"/>
                      <a:pt x="1935" y="0"/>
                    </a:cubicBezTo>
                  </a:path>
                </a:pathLst>
              </a:custGeom>
              <a:solidFill>
                <a:srgbClr val="3F5D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6" name="Freeform 371"/>
              <p:cNvSpPr>
                <a:spLocks noEditPoints="1"/>
              </p:cNvSpPr>
              <p:nvPr/>
            </p:nvSpPr>
            <p:spPr bwMode="auto">
              <a:xfrm>
                <a:off x="5910263" y="3651250"/>
                <a:ext cx="134938" cy="136525"/>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7"/>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7" name="Rectangle 372"/>
              <p:cNvSpPr>
                <a:spLocks noChangeArrowheads="1"/>
              </p:cNvSpPr>
              <p:nvPr/>
            </p:nvSpPr>
            <p:spPr bwMode="auto">
              <a:xfrm>
                <a:off x="6067425" y="3656013"/>
                <a:ext cx="22225"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8" name="Freeform 373"/>
              <p:cNvSpPr>
                <a:spLocks noEditPoints="1"/>
              </p:cNvSpPr>
              <p:nvPr/>
            </p:nvSpPr>
            <p:spPr bwMode="auto">
              <a:xfrm>
                <a:off x="6111875" y="3651250"/>
                <a:ext cx="134938" cy="136525"/>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7"/>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9" name="Freeform 374"/>
              <p:cNvSpPr>
                <a:spLocks noEditPoints="1"/>
              </p:cNvSpPr>
              <p:nvPr/>
            </p:nvSpPr>
            <p:spPr bwMode="auto">
              <a:xfrm>
                <a:off x="6262688" y="3651250"/>
                <a:ext cx="136525" cy="136525"/>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8 w 82"/>
                  <a:gd name="T13" fmla="*/ 41 h 82"/>
                  <a:gd name="T14" fmla="*/ 41 w 82"/>
                  <a:gd name="T15" fmla="*/ 13 h 82"/>
                  <a:gd name="T16" fmla="*/ 15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7"/>
                      <a:pt x="82" y="41"/>
                    </a:cubicBezTo>
                    <a:cubicBezTo>
                      <a:pt x="82" y="65"/>
                      <a:pt x="65" y="81"/>
                      <a:pt x="41" y="82"/>
                    </a:cubicBezTo>
                    <a:cubicBezTo>
                      <a:pt x="17" y="82"/>
                      <a:pt x="0" y="66"/>
                      <a:pt x="0" y="42"/>
                    </a:cubicBezTo>
                    <a:cubicBezTo>
                      <a:pt x="0" y="17"/>
                      <a:pt x="17" y="1"/>
                      <a:pt x="41" y="1"/>
                    </a:cubicBezTo>
                    <a:close/>
                    <a:moveTo>
                      <a:pt x="41" y="69"/>
                    </a:moveTo>
                    <a:cubicBezTo>
                      <a:pt x="57" y="69"/>
                      <a:pt x="68" y="57"/>
                      <a:pt x="68" y="41"/>
                    </a:cubicBezTo>
                    <a:cubicBezTo>
                      <a:pt x="68" y="25"/>
                      <a:pt x="57" y="13"/>
                      <a:pt x="41" y="13"/>
                    </a:cubicBezTo>
                    <a:cubicBezTo>
                      <a:pt x="25" y="13"/>
                      <a:pt x="15" y="25"/>
                      <a:pt x="15" y="41"/>
                    </a:cubicBezTo>
                    <a:cubicBezTo>
                      <a:pt x="15" y="57"/>
                      <a:pt x="25" y="69"/>
                      <a:pt x="41"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0" name="Rectangle 375"/>
              <p:cNvSpPr>
                <a:spLocks noChangeArrowheads="1"/>
              </p:cNvSpPr>
              <p:nvPr/>
            </p:nvSpPr>
            <p:spPr bwMode="auto">
              <a:xfrm>
                <a:off x="5915025" y="3871913"/>
                <a:ext cx="23813"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1" name="Rectangle 376"/>
              <p:cNvSpPr>
                <a:spLocks noChangeArrowheads="1"/>
              </p:cNvSpPr>
              <p:nvPr/>
            </p:nvSpPr>
            <p:spPr bwMode="auto">
              <a:xfrm>
                <a:off x="5967413" y="3871913"/>
                <a:ext cx="20638"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2" name="Freeform 377"/>
              <p:cNvSpPr>
                <a:spLocks noEditPoints="1"/>
              </p:cNvSpPr>
              <p:nvPr/>
            </p:nvSpPr>
            <p:spPr bwMode="auto">
              <a:xfrm>
                <a:off x="6010275" y="3868738"/>
                <a:ext cx="136525" cy="134937"/>
              </a:xfrm>
              <a:custGeom>
                <a:avLst/>
                <a:gdLst>
                  <a:gd name="T0" fmla="*/ 41 w 82"/>
                  <a:gd name="T1" fmla="*/ 0 h 81"/>
                  <a:gd name="T2" fmla="*/ 82 w 82"/>
                  <a:gd name="T3" fmla="*/ 41 h 81"/>
                  <a:gd name="T4" fmla="*/ 41 w 82"/>
                  <a:gd name="T5" fmla="*/ 81 h 81"/>
                  <a:gd name="T6" fmla="*/ 0 w 82"/>
                  <a:gd name="T7" fmla="*/ 41 h 81"/>
                  <a:gd name="T8" fmla="*/ 41 w 82"/>
                  <a:gd name="T9" fmla="*/ 0 h 81"/>
                  <a:gd name="T10" fmla="*/ 41 w 82"/>
                  <a:gd name="T11" fmla="*/ 69 h 81"/>
                  <a:gd name="T12" fmla="*/ 68 w 82"/>
                  <a:gd name="T13" fmla="*/ 40 h 81"/>
                  <a:gd name="T14" fmla="*/ 41 w 82"/>
                  <a:gd name="T15" fmla="*/ 13 h 81"/>
                  <a:gd name="T16" fmla="*/ 15 w 82"/>
                  <a:gd name="T17" fmla="*/ 40 h 81"/>
                  <a:gd name="T18" fmla="*/ 41 w 82"/>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0"/>
                    </a:moveTo>
                    <a:cubicBezTo>
                      <a:pt x="65" y="0"/>
                      <a:pt x="82" y="16"/>
                      <a:pt x="82" y="41"/>
                    </a:cubicBezTo>
                    <a:cubicBezTo>
                      <a:pt x="82" y="65"/>
                      <a:pt x="65" y="81"/>
                      <a:pt x="41" y="81"/>
                    </a:cubicBezTo>
                    <a:cubicBezTo>
                      <a:pt x="17" y="81"/>
                      <a:pt x="0" y="65"/>
                      <a:pt x="0" y="41"/>
                    </a:cubicBezTo>
                    <a:cubicBezTo>
                      <a:pt x="0" y="17"/>
                      <a:pt x="17" y="0"/>
                      <a:pt x="41" y="0"/>
                    </a:cubicBezTo>
                    <a:close/>
                    <a:moveTo>
                      <a:pt x="41" y="69"/>
                    </a:moveTo>
                    <a:cubicBezTo>
                      <a:pt x="57" y="69"/>
                      <a:pt x="68" y="57"/>
                      <a:pt x="68" y="40"/>
                    </a:cubicBezTo>
                    <a:cubicBezTo>
                      <a:pt x="68" y="25"/>
                      <a:pt x="57" y="13"/>
                      <a:pt x="41" y="13"/>
                    </a:cubicBezTo>
                    <a:cubicBezTo>
                      <a:pt x="25" y="13"/>
                      <a:pt x="15" y="25"/>
                      <a:pt x="15" y="40"/>
                    </a:cubicBezTo>
                    <a:cubicBezTo>
                      <a:pt x="15" y="57"/>
                      <a:pt x="25" y="69"/>
                      <a:pt x="41"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3" name="Rectangle 378"/>
              <p:cNvSpPr>
                <a:spLocks noChangeArrowheads="1"/>
              </p:cNvSpPr>
              <p:nvPr/>
            </p:nvSpPr>
            <p:spPr bwMode="auto">
              <a:xfrm>
                <a:off x="6169025" y="3871913"/>
                <a:ext cx="22225"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4" name="Rectangle 379"/>
              <p:cNvSpPr>
                <a:spLocks noChangeArrowheads="1"/>
              </p:cNvSpPr>
              <p:nvPr/>
            </p:nvSpPr>
            <p:spPr bwMode="auto">
              <a:xfrm>
                <a:off x="6218238" y="3871913"/>
                <a:ext cx="23813" cy="128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5" name="Freeform 380"/>
              <p:cNvSpPr>
                <a:spLocks noEditPoints="1"/>
              </p:cNvSpPr>
              <p:nvPr/>
            </p:nvSpPr>
            <p:spPr bwMode="auto">
              <a:xfrm>
                <a:off x="6262688" y="3868738"/>
                <a:ext cx="136525" cy="134937"/>
              </a:xfrm>
              <a:custGeom>
                <a:avLst/>
                <a:gdLst>
                  <a:gd name="T0" fmla="*/ 41 w 82"/>
                  <a:gd name="T1" fmla="*/ 0 h 81"/>
                  <a:gd name="T2" fmla="*/ 82 w 82"/>
                  <a:gd name="T3" fmla="*/ 41 h 81"/>
                  <a:gd name="T4" fmla="*/ 41 w 82"/>
                  <a:gd name="T5" fmla="*/ 81 h 81"/>
                  <a:gd name="T6" fmla="*/ 0 w 82"/>
                  <a:gd name="T7" fmla="*/ 41 h 81"/>
                  <a:gd name="T8" fmla="*/ 41 w 82"/>
                  <a:gd name="T9" fmla="*/ 0 h 81"/>
                  <a:gd name="T10" fmla="*/ 41 w 82"/>
                  <a:gd name="T11" fmla="*/ 69 h 81"/>
                  <a:gd name="T12" fmla="*/ 68 w 82"/>
                  <a:gd name="T13" fmla="*/ 40 h 81"/>
                  <a:gd name="T14" fmla="*/ 41 w 82"/>
                  <a:gd name="T15" fmla="*/ 13 h 81"/>
                  <a:gd name="T16" fmla="*/ 15 w 82"/>
                  <a:gd name="T17" fmla="*/ 40 h 81"/>
                  <a:gd name="T18" fmla="*/ 41 w 82"/>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0"/>
                    </a:moveTo>
                    <a:cubicBezTo>
                      <a:pt x="65" y="0"/>
                      <a:pt x="82" y="16"/>
                      <a:pt x="82" y="41"/>
                    </a:cubicBezTo>
                    <a:cubicBezTo>
                      <a:pt x="82" y="65"/>
                      <a:pt x="65" y="81"/>
                      <a:pt x="41" y="81"/>
                    </a:cubicBezTo>
                    <a:cubicBezTo>
                      <a:pt x="17" y="81"/>
                      <a:pt x="0" y="65"/>
                      <a:pt x="0" y="41"/>
                    </a:cubicBezTo>
                    <a:cubicBezTo>
                      <a:pt x="0" y="17"/>
                      <a:pt x="17" y="0"/>
                      <a:pt x="41" y="0"/>
                    </a:cubicBezTo>
                    <a:moveTo>
                      <a:pt x="41" y="69"/>
                    </a:moveTo>
                    <a:cubicBezTo>
                      <a:pt x="57" y="69"/>
                      <a:pt x="68" y="57"/>
                      <a:pt x="68" y="40"/>
                    </a:cubicBezTo>
                    <a:cubicBezTo>
                      <a:pt x="68" y="25"/>
                      <a:pt x="57" y="13"/>
                      <a:pt x="41" y="13"/>
                    </a:cubicBezTo>
                    <a:cubicBezTo>
                      <a:pt x="25" y="13"/>
                      <a:pt x="15" y="25"/>
                      <a:pt x="15" y="40"/>
                    </a:cubicBezTo>
                    <a:cubicBezTo>
                      <a:pt x="15" y="57"/>
                      <a:pt x="25" y="69"/>
                      <a:pt x="41" y="6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6" name="Rectangle 381"/>
              <p:cNvSpPr>
                <a:spLocks noChangeArrowheads="1"/>
              </p:cNvSpPr>
              <p:nvPr/>
            </p:nvSpPr>
            <p:spPr bwMode="auto">
              <a:xfrm>
                <a:off x="5797550" y="4044950"/>
                <a:ext cx="79375" cy="74612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7" name="Rectangle 382"/>
              <p:cNvSpPr>
                <a:spLocks noChangeArrowheads="1"/>
              </p:cNvSpPr>
              <p:nvPr/>
            </p:nvSpPr>
            <p:spPr bwMode="auto">
              <a:xfrm>
                <a:off x="5797550" y="4044950"/>
                <a:ext cx="79375"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8" name="Freeform 383"/>
              <p:cNvSpPr>
                <a:spLocks/>
              </p:cNvSpPr>
              <p:nvPr/>
            </p:nvSpPr>
            <p:spPr bwMode="auto">
              <a:xfrm>
                <a:off x="5837238" y="4133850"/>
                <a:ext cx="39688" cy="657225"/>
              </a:xfrm>
              <a:custGeom>
                <a:avLst/>
                <a:gdLst>
                  <a:gd name="T0" fmla="*/ 25 w 25"/>
                  <a:gd name="T1" fmla="*/ 0 h 414"/>
                  <a:gd name="T2" fmla="*/ 0 w 25"/>
                  <a:gd name="T3" fmla="*/ 0 h 414"/>
                  <a:gd name="T4" fmla="*/ 0 w 25"/>
                  <a:gd name="T5" fmla="*/ 414 h 414"/>
                  <a:gd name="T6" fmla="*/ 25 w 25"/>
                  <a:gd name="T7" fmla="*/ 414 h 414"/>
                  <a:gd name="T8" fmla="*/ 25 w 25"/>
                  <a:gd name="T9" fmla="*/ 358 h 414"/>
                  <a:gd name="T10" fmla="*/ 25 w 25"/>
                  <a:gd name="T11" fmla="*/ 0 h 414"/>
                </a:gdLst>
                <a:ahLst/>
                <a:cxnLst>
                  <a:cxn ang="0">
                    <a:pos x="T0" y="T1"/>
                  </a:cxn>
                  <a:cxn ang="0">
                    <a:pos x="T2" y="T3"/>
                  </a:cxn>
                  <a:cxn ang="0">
                    <a:pos x="T4" y="T5"/>
                  </a:cxn>
                  <a:cxn ang="0">
                    <a:pos x="T6" y="T7"/>
                  </a:cxn>
                  <a:cxn ang="0">
                    <a:pos x="T8" y="T9"/>
                  </a:cxn>
                  <a:cxn ang="0">
                    <a:pos x="T10" y="T11"/>
                  </a:cxn>
                </a:cxnLst>
                <a:rect l="0" t="0" r="r" b="b"/>
                <a:pathLst>
                  <a:path w="25" h="414">
                    <a:moveTo>
                      <a:pt x="25" y="0"/>
                    </a:moveTo>
                    <a:lnTo>
                      <a:pt x="0" y="0"/>
                    </a:lnTo>
                    <a:lnTo>
                      <a:pt x="0" y="414"/>
                    </a:lnTo>
                    <a:lnTo>
                      <a:pt x="25" y="414"/>
                    </a:lnTo>
                    <a:lnTo>
                      <a:pt x="25" y="358"/>
                    </a:lnTo>
                    <a:lnTo>
                      <a:pt x="25"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9" name="Freeform 384"/>
              <p:cNvSpPr>
                <a:spLocks/>
              </p:cNvSpPr>
              <p:nvPr/>
            </p:nvSpPr>
            <p:spPr bwMode="auto">
              <a:xfrm>
                <a:off x="5837238" y="4133850"/>
                <a:ext cx="39688" cy="657225"/>
              </a:xfrm>
              <a:custGeom>
                <a:avLst/>
                <a:gdLst>
                  <a:gd name="T0" fmla="*/ 25 w 25"/>
                  <a:gd name="T1" fmla="*/ 0 h 414"/>
                  <a:gd name="T2" fmla="*/ 0 w 25"/>
                  <a:gd name="T3" fmla="*/ 0 h 414"/>
                  <a:gd name="T4" fmla="*/ 0 w 25"/>
                  <a:gd name="T5" fmla="*/ 414 h 414"/>
                  <a:gd name="T6" fmla="*/ 25 w 25"/>
                  <a:gd name="T7" fmla="*/ 414 h 414"/>
                  <a:gd name="T8" fmla="*/ 25 w 25"/>
                  <a:gd name="T9" fmla="*/ 358 h 414"/>
                  <a:gd name="T10" fmla="*/ 25 w 25"/>
                  <a:gd name="T11" fmla="*/ 0 h 414"/>
                </a:gdLst>
                <a:ahLst/>
                <a:cxnLst>
                  <a:cxn ang="0">
                    <a:pos x="T0" y="T1"/>
                  </a:cxn>
                  <a:cxn ang="0">
                    <a:pos x="T2" y="T3"/>
                  </a:cxn>
                  <a:cxn ang="0">
                    <a:pos x="T4" y="T5"/>
                  </a:cxn>
                  <a:cxn ang="0">
                    <a:pos x="T6" y="T7"/>
                  </a:cxn>
                  <a:cxn ang="0">
                    <a:pos x="T8" y="T9"/>
                  </a:cxn>
                  <a:cxn ang="0">
                    <a:pos x="T10" y="T11"/>
                  </a:cxn>
                </a:cxnLst>
                <a:rect l="0" t="0" r="r" b="b"/>
                <a:pathLst>
                  <a:path w="25" h="414">
                    <a:moveTo>
                      <a:pt x="25" y="0"/>
                    </a:moveTo>
                    <a:lnTo>
                      <a:pt x="0" y="0"/>
                    </a:lnTo>
                    <a:lnTo>
                      <a:pt x="0" y="414"/>
                    </a:lnTo>
                    <a:lnTo>
                      <a:pt x="25" y="414"/>
                    </a:lnTo>
                    <a:lnTo>
                      <a:pt x="25" y="358"/>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0" name="Rectangle 385"/>
              <p:cNvSpPr>
                <a:spLocks noChangeArrowheads="1"/>
              </p:cNvSpPr>
              <p:nvPr/>
            </p:nvSpPr>
            <p:spPr bwMode="auto">
              <a:xfrm>
                <a:off x="6254750" y="4044950"/>
                <a:ext cx="79375" cy="74612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 name="Rectangle 386"/>
              <p:cNvSpPr>
                <a:spLocks noChangeArrowheads="1"/>
              </p:cNvSpPr>
              <p:nvPr/>
            </p:nvSpPr>
            <p:spPr bwMode="auto">
              <a:xfrm>
                <a:off x="6254750" y="4044950"/>
                <a:ext cx="79375"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2" name="Freeform 387"/>
              <p:cNvSpPr>
                <a:spLocks/>
              </p:cNvSpPr>
              <p:nvPr/>
            </p:nvSpPr>
            <p:spPr bwMode="auto">
              <a:xfrm>
                <a:off x="6294438" y="4133850"/>
                <a:ext cx="39688" cy="657225"/>
              </a:xfrm>
              <a:custGeom>
                <a:avLst/>
                <a:gdLst>
                  <a:gd name="T0" fmla="*/ 25 w 25"/>
                  <a:gd name="T1" fmla="*/ 0 h 414"/>
                  <a:gd name="T2" fmla="*/ 0 w 25"/>
                  <a:gd name="T3" fmla="*/ 0 h 414"/>
                  <a:gd name="T4" fmla="*/ 0 w 25"/>
                  <a:gd name="T5" fmla="*/ 414 h 414"/>
                  <a:gd name="T6" fmla="*/ 25 w 25"/>
                  <a:gd name="T7" fmla="*/ 414 h 414"/>
                  <a:gd name="T8" fmla="*/ 25 w 25"/>
                  <a:gd name="T9" fmla="*/ 358 h 414"/>
                  <a:gd name="T10" fmla="*/ 25 w 25"/>
                  <a:gd name="T11" fmla="*/ 0 h 414"/>
                </a:gdLst>
                <a:ahLst/>
                <a:cxnLst>
                  <a:cxn ang="0">
                    <a:pos x="T0" y="T1"/>
                  </a:cxn>
                  <a:cxn ang="0">
                    <a:pos x="T2" y="T3"/>
                  </a:cxn>
                  <a:cxn ang="0">
                    <a:pos x="T4" y="T5"/>
                  </a:cxn>
                  <a:cxn ang="0">
                    <a:pos x="T6" y="T7"/>
                  </a:cxn>
                  <a:cxn ang="0">
                    <a:pos x="T8" y="T9"/>
                  </a:cxn>
                  <a:cxn ang="0">
                    <a:pos x="T10" y="T11"/>
                  </a:cxn>
                </a:cxnLst>
                <a:rect l="0" t="0" r="r" b="b"/>
                <a:pathLst>
                  <a:path w="25" h="414">
                    <a:moveTo>
                      <a:pt x="25" y="0"/>
                    </a:moveTo>
                    <a:lnTo>
                      <a:pt x="0" y="0"/>
                    </a:lnTo>
                    <a:lnTo>
                      <a:pt x="0" y="414"/>
                    </a:lnTo>
                    <a:lnTo>
                      <a:pt x="25" y="414"/>
                    </a:lnTo>
                    <a:lnTo>
                      <a:pt x="25" y="358"/>
                    </a:lnTo>
                    <a:lnTo>
                      <a:pt x="25"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3" name="Freeform 388"/>
              <p:cNvSpPr>
                <a:spLocks/>
              </p:cNvSpPr>
              <p:nvPr/>
            </p:nvSpPr>
            <p:spPr bwMode="auto">
              <a:xfrm>
                <a:off x="6294438" y="4133850"/>
                <a:ext cx="39688" cy="657225"/>
              </a:xfrm>
              <a:custGeom>
                <a:avLst/>
                <a:gdLst>
                  <a:gd name="T0" fmla="*/ 25 w 25"/>
                  <a:gd name="T1" fmla="*/ 0 h 414"/>
                  <a:gd name="T2" fmla="*/ 0 w 25"/>
                  <a:gd name="T3" fmla="*/ 0 h 414"/>
                  <a:gd name="T4" fmla="*/ 0 w 25"/>
                  <a:gd name="T5" fmla="*/ 414 h 414"/>
                  <a:gd name="T6" fmla="*/ 25 w 25"/>
                  <a:gd name="T7" fmla="*/ 414 h 414"/>
                  <a:gd name="T8" fmla="*/ 25 w 25"/>
                  <a:gd name="T9" fmla="*/ 358 h 414"/>
                  <a:gd name="T10" fmla="*/ 25 w 25"/>
                  <a:gd name="T11" fmla="*/ 0 h 414"/>
                </a:gdLst>
                <a:ahLst/>
                <a:cxnLst>
                  <a:cxn ang="0">
                    <a:pos x="T0" y="T1"/>
                  </a:cxn>
                  <a:cxn ang="0">
                    <a:pos x="T2" y="T3"/>
                  </a:cxn>
                  <a:cxn ang="0">
                    <a:pos x="T4" y="T5"/>
                  </a:cxn>
                  <a:cxn ang="0">
                    <a:pos x="T6" y="T7"/>
                  </a:cxn>
                  <a:cxn ang="0">
                    <a:pos x="T8" y="T9"/>
                  </a:cxn>
                  <a:cxn ang="0">
                    <a:pos x="T10" y="T11"/>
                  </a:cxn>
                </a:cxnLst>
                <a:rect l="0" t="0" r="r" b="b"/>
                <a:pathLst>
                  <a:path w="25" h="414">
                    <a:moveTo>
                      <a:pt x="25" y="0"/>
                    </a:moveTo>
                    <a:lnTo>
                      <a:pt x="0" y="0"/>
                    </a:lnTo>
                    <a:lnTo>
                      <a:pt x="0" y="414"/>
                    </a:lnTo>
                    <a:lnTo>
                      <a:pt x="25" y="414"/>
                    </a:lnTo>
                    <a:lnTo>
                      <a:pt x="25" y="358"/>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4" name="Rectangle 389"/>
              <p:cNvSpPr>
                <a:spLocks noChangeArrowheads="1"/>
              </p:cNvSpPr>
              <p:nvPr/>
            </p:nvSpPr>
            <p:spPr bwMode="auto">
              <a:xfrm>
                <a:off x="5797550" y="4002088"/>
                <a:ext cx="1349375" cy="131762"/>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5" name="Rectangle 390"/>
              <p:cNvSpPr>
                <a:spLocks noChangeArrowheads="1"/>
              </p:cNvSpPr>
              <p:nvPr/>
            </p:nvSpPr>
            <p:spPr bwMode="auto">
              <a:xfrm>
                <a:off x="5797550" y="4002088"/>
                <a:ext cx="1349375" cy="13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6" name="Rectangle 391"/>
              <p:cNvSpPr>
                <a:spLocks noChangeArrowheads="1"/>
              </p:cNvSpPr>
              <p:nvPr/>
            </p:nvSpPr>
            <p:spPr bwMode="auto">
              <a:xfrm>
                <a:off x="7980363" y="4044950"/>
                <a:ext cx="79375" cy="74612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7" name="Rectangle 392"/>
              <p:cNvSpPr>
                <a:spLocks noChangeArrowheads="1"/>
              </p:cNvSpPr>
              <p:nvPr/>
            </p:nvSpPr>
            <p:spPr bwMode="auto">
              <a:xfrm>
                <a:off x="7980363" y="4044950"/>
                <a:ext cx="79375"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8" name="Rectangle 393"/>
              <p:cNvSpPr>
                <a:spLocks noChangeArrowheads="1"/>
              </p:cNvSpPr>
              <p:nvPr/>
            </p:nvSpPr>
            <p:spPr bwMode="auto">
              <a:xfrm>
                <a:off x="8420100" y="4044950"/>
                <a:ext cx="77788" cy="74612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9" name="Rectangle 394"/>
              <p:cNvSpPr>
                <a:spLocks noChangeArrowheads="1"/>
              </p:cNvSpPr>
              <p:nvPr/>
            </p:nvSpPr>
            <p:spPr bwMode="auto">
              <a:xfrm>
                <a:off x="8420100" y="4044950"/>
                <a:ext cx="77788"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0" name="Rectangle 395"/>
              <p:cNvSpPr>
                <a:spLocks noChangeArrowheads="1"/>
              </p:cNvSpPr>
              <p:nvPr/>
            </p:nvSpPr>
            <p:spPr bwMode="auto">
              <a:xfrm>
                <a:off x="6400800" y="3090863"/>
                <a:ext cx="1327150" cy="1700212"/>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1" name="Rectangle 396"/>
              <p:cNvSpPr>
                <a:spLocks noChangeArrowheads="1"/>
              </p:cNvSpPr>
              <p:nvPr/>
            </p:nvSpPr>
            <p:spPr bwMode="auto">
              <a:xfrm>
                <a:off x="6400800" y="3090863"/>
                <a:ext cx="1327150" cy="170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2" name="Rectangle 397"/>
              <p:cNvSpPr>
                <a:spLocks noChangeArrowheads="1"/>
              </p:cNvSpPr>
              <p:nvPr/>
            </p:nvSpPr>
            <p:spPr bwMode="auto">
              <a:xfrm>
                <a:off x="7146925" y="3429000"/>
                <a:ext cx="500063" cy="117475"/>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3" name="Rectangle 398"/>
              <p:cNvSpPr>
                <a:spLocks noChangeArrowheads="1"/>
              </p:cNvSpPr>
              <p:nvPr/>
            </p:nvSpPr>
            <p:spPr bwMode="auto">
              <a:xfrm>
                <a:off x="7146925" y="3429000"/>
                <a:ext cx="500063"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4" name="Freeform 399"/>
              <p:cNvSpPr>
                <a:spLocks noEditPoints="1"/>
              </p:cNvSpPr>
              <p:nvPr/>
            </p:nvSpPr>
            <p:spPr bwMode="auto">
              <a:xfrm>
                <a:off x="7069138" y="3090863"/>
                <a:ext cx="658813" cy="1700212"/>
              </a:xfrm>
              <a:custGeom>
                <a:avLst/>
                <a:gdLst>
                  <a:gd name="T0" fmla="*/ 415 w 415"/>
                  <a:gd name="T1" fmla="*/ 657 h 1071"/>
                  <a:gd name="T2" fmla="*/ 272 w 415"/>
                  <a:gd name="T3" fmla="*/ 657 h 1071"/>
                  <a:gd name="T4" fmla="*/ 415 w 415"/>
                  <a:gd name="T5" fmla="*/ 784 h 1071"/>
                  <a:gd name="T6" fmla="*/ 415 w 415"/>
                  <a:gd name="T7" fmla="*/ 1071 h 1071"/>
                  <a:gd name="T8" fmla="*/ 415 w 415"/>
                  <a:gd name="T9" fmla="*/ 1071 h 1071"/>
                  <a:gd name="T10" fmla="*/ 415 w 415"/>
                  <a:gd name="T11" fmla="*/ 1015 h 1071"/>
                  <a:gd name="T12" fmla="*/ 415 w 415"/>
                  <a:gd name="T13" fmla="*/ 657 h 1071"/>
                  <a:gd name="T14" fmla="*/ 415 w 415"/>
                  <a:gd name="T15" fmla="*/ 557 h 1071"/>
                  <a:gd name="T16" fmla="*/ 364 w 415"/>
                  <a:gd name="T17" fmla="*/ 557 h 1071"/>
                  <a:gd name="T18" fmla="*/ 364 w 415"/>
                  <a:gd name="T19" fmla="*/ 574 h 1071"/>
                  <a:gd name="T20" fmla="*/ 415 w 415"/>
                  <a:gd name="T21" fmla="*/ 574 h 1071"/>
                  <a:gd name="T22" fmla="*/ 415 w 415"/>
                  <a:gd name="T23" fmla="*/ 557 h 1071"/>
                  <a:gd name="T24" fmla="*/ 49 w 415"/>
                  <a:gd name="T25" fmla="*/ 287 h 1071"/>
                  <a:gd name="T26" fmla="*/ 49 w 415"/>
                  <a:gd name="T27" fmla="*/ 213 h 1071"/>
                  <a:gd name="T28" fmla="*/ 364 w 415"/>
                  <a:gd name="T29" fmla="*/ 213 h 1071"/>
                  <a:gd name="T30" fmla="*/ 364 w 415"/>
                  <a:gd name="T31" fmla="*/ 287 h 1071"/>
                  <a:gd name="T32" fmla="*/ 49 w 415"/>
                  <a:gd name="T33" fmla="*/ 287 h 1071"/>
                  <a:gd name="T34" fmla="*/ 415 w 415"/>
                  <a:gd name="T35" fmla="*/ 0 h 1071"/>
                  <a:gd name="T36" fmla="*/ 207 w 415"/>
                  <a:gd name="T37" fmla="*/ 0 h 1071"/>
                  <a:gd name="T38" fmla="*/ 0 w 415"/>
                  <a:gd name="T39" fmla="*/ 0 h 1071"/>
                  <a:gd name="T40" fmla="*/ 0 w 415"/>
                  <a:gd name="T41" fmla="*/ 418 h 1071"/>
                  <a:gd name="T42" fmla="*/ 49 w 415"/>
                  <a:gd name="T43" fmla="*/ 462 h 1071"/>
                  <a:gd name="T44" fmla="*/ 49 w 415"/>
                  <a:gd name="T45" fmla="*/ 314 h 1071"/>
                  <a:gd name="T46" fmla="*/ 364 w 415"/>
                  <a:gd name="T47" fmla="*/ 314 h 1071"/>
                  <a:gd name="T48" fmla="*/ 364 w 415"/>
                  <a:gd name="T49" fmla="*/ 333 h 1071"/>
                  <a:gd name="T50" fmla="*/ 415 w 415"/>
                  <a:gd name="T51" fmla="*/ 333 h 1071"/>
                  <a:gd name="T52" fmla="*/ 415 w 415"/>
                  <a:gd name="T53" fmla="*/ 0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5" h="1071">
                    <a:moveTo>
                      <a:pt x="415" y="657"/>
                    </a:moveTo>
                    <a:lnTo>
                      <a:pt x="272" y="657"/>
                    </a:lnTo>
                    <a:lnTo>
                      <a:pt x="415" y="784"/>
                    </a:lnTo>
                    <a:lnTo>
                      <a:pt x="415" y="1071"/>
                    </a:lnTo>
                    <a:lnTo>
                      <a:pt x="415" y="1071"/>
                    </a:lnTo>
                    <a:lnTo>
                      <a:pt x="415" y="1015"/>
                    </a:lnTo>
                    <a:lnTo>
                      <a:pt x="415" y="657"/>
                    </a:lnTo>
                    <a:close/>
                    <a:moveTo>
                      <a:pt x="415" y="557"/>
                    </a:moveTo>
                    <a:lnTo>
                      <a:pt x="364" y="557"/>
                    </a:lnTo>
                    <a:lnTo>
                      <a:pt x="364" y="574"/>
                    </a:lnTo>
                    <a:lnTo>
                      <a:pt x="415" y="574"/>
                    </a:lnTo>
                    <a:lnTo>
                      <a:pt x="415" y="557"/>
                    </a:lnTo>
                    <a:close/>
                    <a:moveTo>
                      <a:pt x="49" y="287"/>
                    </a:moveTo>
                    <a:lnTo>
                      <a:pt x="49" y="213"/>
                    </a:lnTo>
                    <a:lnTo>
                      <a:pt x="364" y="213"/>
                    </a:lnTo>
                    <a:lnTo>
                      <a:pt x="364" y="287"/>
                    </a:lnTo>
                    <a:lnTo>
                      <a:pt x="49" y="287"/>
                    </a:lnTo>
                    <a:close/>
                    <a:moveTo>
                      <a:pt x="415" y="0"/>
                    </a:moveTo>
                    <a:lnTo>
                      <a:pt x="207" y="0"/>
                    </a:lnTo>
                    <a:lnTo>
                      <a:pt x="0" y="0"/>
                    </a:lnTo>
                    <a:lnTo>
                      <a:pt x="0" y="418"/>
                    </a:lnTo>
                    <a:lnTo>
                      <a:pt x="49" y="462"/>
                    </a:lnTo>
                    <a:lnTo>
                      <a:pt x="49" y="314"/>
                    </a:lnTo>
                    <a:lnTo>
                      <a:pt x="364" y="314"/>
                    </a:lnTo>
                    <a:lnTo>
                      <a:pt x="364" y="333"/>
                    </a:lnTo>
                    <a:lnTo>
                      <a:pt x="415" y="333"/>
                    </a:lnTo>
                    <a:lnTo>
                      <a:pt x="415" y="0"/>
                    </a:lnTo>
                    <a:close/>
                  </a:path>
                </a:pathLst>
              </a:cu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5" name="Freeform 400"/>
              <p:cNvSpPr>
                <a:spLocks noEditPoints="1"/>
              </p:cNvSpPr>
              <p:nvPr/>
            </p:nvSpPr>
            <p:spPr bwMode="auto">
              <a:xfrm>
                <a:off x="7069138" y="3090863"/>
                <a:ext cx="658813" cy="1700212"/>
              </a:xfrm>
              <a:custGeom>
                <a:avLst/>
                <a:gdLst>
                  <a:gd name="T0" fmla="*/ 415 w 415"/>
                  <a:gd name="T1" fmla="*/ 657 h 1071"/>
                  <a:gd name="T2" fmla="*/ 272 w 415"/>
                  <a:gd name="T3" fmla="*/ 657 h 1071"/>
                  <a:gd name="T4" fmla="*/ 415 w 415"/>
                  <a:gd name="T5" fmla="*/ 784 h 1071"/>
                  <a:gd name="T6" fmla="*/ 415 w 415"/>
                  <a:gd name="T7" fmla="*/ 1071 h 1071"/>
                  <a:gd name="T8" fmla="*/ 415 w 415"/>
                  <a:gd name="T9" fmla="*/ 1071 h 1071"/>
                  <a:gd name="T10" fmla="*/ 415 w 415"/>
                  <a:gd name="T11" fmla="*/ 1015 h 1071"/>
                  <a:gd name="T12" fmla="*/ 415 w 415"/>
                  <a:gd name="T13" fmla="*/ 657 h 1071"/>
                  <a:gd name="T14" fmla="*/ 415 w 415"/>
                  <a:gd name="T15" fmla="*/ 557 h 1071"/>
                  <a:gd name="T16" fmla="*/ 364 w 415"/>
                  <a:gd name="T17" fmla="*/ 557 h 1071"/>
                  <a:gd name="T18" fmla="*/ 364 w 415"/>
                  <a:gd name="T19" fmla="*/ 574 h 1071"/>
                  <a:gd name="T20" fmla="*/ 415 w 415"/>
                  <a:gd name="T21" fmla="*/ 574 h 1071"/>
                  <a:gd name="T22" fmla="*/ 415 w 415"/>
                  <a:gd name="T23" fmla="*/ 557 h 1071"/>
                  <a:gd name="T24" fmla="*/ 49 w 415"/>
                  <a:gd name="T25" fmla="*/ 287 h 1071"/>
                  <a:gd name="T26" fmla="*/ 49 w 415"/>
                  <a:gd name="T27" fmla="*/ 213 h 1071"/>
                  <a:gd name="T28" fmla="*/ 364 w 415"/>
                  <a:gd name="T29" fmla="*/ 213 h 1071"/>
                  <a:gd name="T30" fmla="*/ 364 w 415"/>
                  <a:gd name="T31" fmla="*/ 287 h 1071"/>
                  <a:gd name="T32" fmla="*/ 49 w 415"/>
                  <a:gd name="T33" fmla="*/ 287 h 1071"/>
                  <a:gd name="T34" fmla="*/ 415 w 415"/>
                  <a:gd name="T35" fmla="*/ 0 h 1071"/>
                  <a:gd name="T36" fmla="*/ 207 w 415"/>
                  <a:gd name="T37" fmla="*/ 0 h 1071"/>
                  <a:gd name="T38" fmla="*/ 0 w 415"/>
                  <a:gd name="T39" fmla="*/ 0 h 1071"/>
                  <a:gd name="T40" fmla="*/ 0 w 415"/>
                  <a:gd name="T41" fmla="*/ 418 h 1071"/>
                  <a:gd name="T42" fmla="*/ 49 w 415"/>
                  <a:gd name="T43" fmla="*/ 462 h 1071"/>
                  <a:gd name="T44" fmla="*/ 49 w 415"/>
                  <a:gd name="T45" fmla="*/ 314 h 1071"/>
                  <a:gd name="T46" fmla="*/ 364 w 415"/>
                  <a:gd name="T47" fmla="*/ 314 h 1071"/>
                  <a:gd name="T48" fmla="*/ 364 w 415"/>
                  <a:gd name="T49" fmla="*/ 333 h 1071"/>
                  <a:gd name="T50" fmla="*/ 415 w 415"/>
                  <a:gd name="T51" fmla="*/ 333 h 1071"/>
                  <a:gd name="T52" fmla="*/ 415 w 415"/>
                  <a:gd name="T53" fmla="*/ 0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5" h="1071">
                    <a:moveTo>
                      <a:pt x="415" y="657"/>
                    </a:moveTo>
                    <a:lnTo>
                      <a:pt x="272" y="657"/>
                    </a:lnTo>
                    <a:lnTo>
                      <a:pt x="415" y="784"/>
                    </a:lnTo>
                    <a:lnTo>
                      <a:pt x="415" y="1071"/>
                    </a:lnTo>
                    <a:lnTo>
                      <a:pt x="415" y="1071"/>
                    </a:lnTo>
                    <a:lnTo>
                      <a:pt x="415" y="1015"/>
                    </a:lnTo>
                    <a:lnTo>
                      <a:pt x="415" y="657"/>
                    </a:lnTo>
                    <a:moveTo>
                      <a:pt x="415" y="557"/>
                    </a:moveTo>
                    <a:lnTo>
                      <a:pt x="364" y="557"/>
                    </a:lnTo>
                    <a:lnTo>
                      <a:pt x="364" y="574"/>
                    </a:lnTo>
                    <a:lnTo>
                      <a:pt x="415" y="574"/>
                    </a:lnTo>
                    <a:lnTo>
                      <a:pt x="415" y="557"/>
                    </a:lnTo>
                    <a:moveTo>
                      <a:pt x="49" y="287"/>
                    </a:moveTo>
                    <a:lnTo>
                      <a:pt x="49" y="213"/>
                    </a:lnTo>
                    <a:lnTo>
                      <a:pt x="364" y="213"/>
                    </a:lnTo>
                    <a:lnTo>
                      <a:pt x="364" y="287"/>
                    </a:lnTo>
                    <a:lnTo>
                      <a:pt x="49" y="287"/>
                    </a:lnTo>
                    <a:moveTo>
                      <a:pt x="415" y="0"/>
                    </a:moveTo>
                    <a:lnTo>
                      <a:pt x="207" y="0"/>
                    </a:lnTo>
                    <a:lnTo>
                      <a:pt x="0" y="0"/>
                    </a:lnTo>
                    <a:lnTo>
                      <a:pt x="0" y="418"/>
                    </a:lnTo>
                    <a:lnTo>
                      <a:pt x="49" y="462"/>
                    </a:lnTo>
                    <a:lnTo>
                      <a:pt x="49" y="314"/>
                    </a:lnTo>
                    <a:lnTo>
                      <a:pt x="364" y="314"/>
                    </a:lnTo>
                    <a:lnTo>
                      <a:pt x="364" y="333"/>
                    </a:lnTo>
                    <a:lnTo>
                      <a:pt x="415" y="333"/>
                    </a:lnTo>
                    <a:lnTo>
                      <a:pt x="4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6" name="Rectangle 401"/>
              <p:cNvSpPr>
                <a:spLocks noChangeArrowheads="1"/>
              </p:cNvSpPr>
              <p:nvPr/>
            </p:nvSpPr>
            <p:spPr bwMode="auto">
              <a:xfrm>
                <a:off x="7146925" y="3429000"/>
                <a:ext cx="500063" cy="117475"/>
              </a:xfrm>
              <a:prstGeom prst="rect">
                <a:avLst/>
              </a:prstGeom>
              <a:solidFill>
                <a:srgbClr val="008E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7" name="Rectangle 402"/>
              <p:cNvSpPr>
                <a:spLocks noChangeArrowheads="1"/>
              </p:cNvSpPr>
              <p:nvPr/>
            </p:nvSpPr>
            <p:spPr bwMode="auto">
              <a:xfrm>
                <a:off x="7146925" y="3429000"/>
                <a:ext cx="500063"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8" name="Freeform 403"/>
              <p:cNvSpPr>
                <a:spLocks/>
              </p:cNvSpPr>
              <p:nvPr/>
            </p:nvSpPr>
            <p:spPr bwMode="auto">
              <a:xfrm>
                <a:off x="7069138" y="3754438"/>
                <a:ext cx="658813" cy="1036637"/>
              </a:xfrm>
              <a:custGeom>
                <a:avLst/>
                <a:gdLst>
                  <a:gd name="T0" fmla="*/ 0 w 415"/>
                  <a:gd name="T1" fmla="*/ 0 h 653"/>
                  <a:gd name="T2" fmla="*/ 0 w 415"/>
                  <a:gd name="T3" fmla="*/ 653 h 653"/>
                  <a:gd name="T4" fmla="*/ 415 w 415"/>
                  <a:gd name="T5" fmla="*/ 653 h 653"/>
                  <a:gd name="T6" fmla="*/ 415 w 415"/>
                  <a:gd name="T7" fmla="*/ 366 h 653"/>
                  <a:gd name="T8" fmla="*/ 272 w 415"/>
                  <a:gd name="T9" fmla="*/ 239 h 653"/>
                  <a:gd name="T10" fmla="*/ 49 w 415"/>
                  <a:gd name="T11" fmla="*/ 239 h 653"/>
                  <a:gd name="T12" fmla="*/ 49 w 415"/>
                  <a:gd name="T13" fmla="*/ 156 h 653"/>
                  <a:gd name="T14" fmla="*/ 49 w 415"/>
                  <a:gd name="T15" fmla="*/ 44 h 653"/>
                  <a:gd name="T16" fmla="*/ 0 w 415"/>
                  <a:gd name="T17"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5" h="653">
                    <a:moveTo>
                      <a:pt x="0" y="0"/>
                    </a:moveTo>
                    <a:lnTo>
                      <a:pt x="0" y="653"/>
                    </a:lnTo>
                    <a:lnTo>
                      <a:pt x="415" y="653"/>
                    </a:lnTo>
                    <a:lnTo>
                      <a:pt x="415" y="366"/>
                    </a:lnTo>
                    <a:lnTo>
                      <a:pt x="272" y="239"/>
                    </a:lnTo>
                    <a:lnTo>
                      <a:pt x="49" y="239"/>
                    </a:lnTo>
                    <a:lnTo>
                      <a:pt x="49" y="156"/>
                    </a:lnTo>
                    <a:lnTo>
                      <a:pt x="49" y="44"/>
                    </a:lnTo>
                    <a:lnTo>
                      <a:pt x="0" y="0"/>
                    </a:lnTo>
                    <a:close/>
                  </a:path>
                </a:pathLst>
              </a:custGeom>
              <a:solidFill>
                <a:srgbClr val="44A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9" name="Freeform 404"/>
              <p:cNvSpPr>
                <a:spLocks/>
              </p:cNvSpPr>
              <p:nvPr/>
            </p:nvSpPr>
            <p:spPr bwMode="auto">
              <a:xfrm>
                <a:off x="7069138" y="3754438"/>
                <a:ext cx="658813" cy="1036637"/>
              </a:xfrm>
              <a:custGeom>
                <a:avLst/>
                <a:gdLst>
                  <a:gd name="T0" fmla="*/ 0 w 415"/>
                  <a:gd name="T1" fmla="*/ 0 h 653"/>
                  <a:gd name="T2" fmla="*/ 0 w 415"/>
                  <a:gd name="T3" fmla="*/ 653 h 653"/>
                  <a:gd name="T4" fmla="*/ 415 w 415"/>
                  <a:gd name="T5" fmla="*/ 653 h 653"/>
                  <a:gd name="T6" fmla="*/ 415 w 415"/>
                  <a:gd name="T7" fmla="*/ 366 h 653"/>
                  <a:gd name="T8" fmla="*/ 272 w 415"/>
                  <a:gd name="T9" fmla="*/ 239 h 653"/>
                  <a:gd name="T10" fmla="*/ 49 w 415"/>
                  <a:gd name="T11" fmla="*/ 239 h 653"/>
                  <a:gd name="T12" fmla="*/ 49 w 415"/>
                  <a:gd name="T13" fmla="*/ 156 h 653"/>
                  <a:gd name="T14" fmla="*/ 49 w 415"/>
                  <a:gd name="T15" fmla="*/ 44 h 653"/>
                  <a:gd name="T16" fmla="*/ 0 w 415"/>
                  <a:gd name="T17"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5" h="653">
                    <a:moveTo>
                      <a:pt x="0" y="0"/>
                    </a:moveTo>
                    <a:lnTo>
                      <a:pt x="0" y="653"/>
                    </a:lnTo>
                    <a:lnTo>
                      <a:pt x="415" y="653"/>
                    </a:lnTo>
                    <a:lnTo>
                      <a:pt x="415" y="366"/>
                    </a:lnTo>
                    <a:lnTo>
                      <a:pt x="272" y="239"/>
                    </a:lnTo>
                    <a:lnTo>
                      <a:pt x="49" y="239"/>
                    </a:lnTo>
                    <a:lnTo>
                      <a:pt x="49" y="156"/>
                    </a:lnTo>
                    <a:lnTo>
                      <a:pt x="49" y="4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0" name="Rectangle 405"/>
              <p:cNvSpPr>
                <a:spLocks noChangeArrowheads="1"/>
              </p:cNvSpPr>
              <p:nvPr/>
            </p:nvSpPr>
            <p:spPr bwMode="auto">
              <a:xfrm>
                <a:off x="7146925" y="3589338"/>
                <a:ext cx="500063" cy="412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1" name="Rectangle 406"/>
              <p:cNvSpPr>
                <a:spLocks noChangeArrowheads="1"/>
              </p:cNvSpPr>
              <p:nvPr/>
            </p:nvSpPr>
            <p:spPr bwMode="auto">
              <a:xfrm>
                <a:off x="7146925" y="3589338"/>
                <a:ext cx="500063"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2" name="Rectangle 407"/>
              <p:cNvSpPr>
                <a:spLocks noChangeArrowheads="1"/>
              </p:cNvSpPr>
              <p:nvPr/>
            </p:nvSpPr>
            <p:spPr bwMode="auto">
              <a:xfrm>
                <a:off x="7146925" y="4002088"/>
                <a:ext cx="1350963" cy="131762"/>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3" name="Rectangle 408"/>
              <p:cNvSpPr>
                <a:spLocks noChangeArrowheads="1"/>
              </p:cNvSpPr>
              <p:nvPr/>
            </p:nvSpPr>
            <p:spPr bwMode="auto">
              <a:xfrm>
                <a:off x="7146925" y="4002088"/>
                <a:ext cx="1350963" cy="13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4" name="Freeform 409"/>
              <p:cNvSpPr>
                <a:spLocks/>
              </p:cNvSpPr>
              <p:nvPr/>
            </p:nvSpPr>
            <p:spPr bwMode="auto">
              <a:xfrm>
                <a:off x="8459788" y="4133850"/>
                <a:ext cx="38100" cy="631825"/>
              </a:xfrm>
              <a:custGeom>
                <a:avLst/>
                <a:gdLst>
                  <a:gd name="T0" fmla="*/ 24 w 24"/>
                  <a:gd name="T1" fmla="*/ 0 h 398"/>
                  <a:gd name="T2" fmla="*/ 0 w 24"/>
                  <a:gd name="T3" fmla="*/ 0 h 398"/>
                  <a:gd name="T4" fmla="*/ 0 w 24"/>
                  <a:gd name="T5" fmla="*/ 398 h 398"/>
                  <a:gd name="T6" fmla="*/ 24 w 24"/>
                  <a:gd name="T7" fmla="*/ 373 h 398"/>
                  <a:gd name="T8" fmla="*/ 24 w 24"/>
                  <a:gd name="T9" fmla="*/ 358 h 398"/>
                  <a:gd name="T10" fmla="*/ 24 w 24"/>
                  <a:gd name="T11" fmla="*/ 0 h 398"/>
                </a:gdLst>
                <a:ahLst/>
                <a:cxnLst>
                  <a:cxn ang="0">
                    <a:pos x="T0" y="T1"/>
                  </a:cxn>
                  <a:cxn ang="0">
                    <a:pos x="T2" y="T3"/>
                  </a:cxn>
                  <a:cxn ang="0">
                    <a:pos x="T4" y="T5"/>
                  </a:cxn>
                  <a:cxn ang="0">
                    <a:pos x="T6" y="T7"/>
                  </a:cxn>
                  <a:cxn ang="0">
                    <a:pos x="T8" y="T9"/>
                  </a:cxn>
                  <a:cxn ang="0">
                    <a:pos x="T10" y="T11"/>
                  </a:cxn>
                </a:cxnLst>
                <a:rect l="0" t="0" r="r" b="b"/>
                <a:pathLst>
                  <a:path w="24" h="398">
                    <a:moveTo>
                      <a:pt x="24" y="0"/>
                    </a:moveTo>
                    <a:lnTo>
                      <a:pt x="0" y="0"/>
                    </a:lnTo>
                    <a:lnTo>
                      <a:pt x="0" y="398"/>
                    </a:lnTo>
                    <a:lnTo>
                      <a:pt x="24" y="373"/>
                    </a:lnTo>
                    <a:lnTo>
                      <a:pt x="24" y="358"/>
                    </a:lnTo>
                    <a:lnTo>
                      <a:pt x="24"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5" name="Freeform 410"/>
              <p:cNvSpPr>
                <a:spLocks/>
              </p:cNvSpPr>
              <p:nvPr/>
            </p:nvSpPr>
            <p:spPr bwMode="auto">
              <a:xfrm>
                <a:off x="8459788" y="4133850"/>
                <a:ext cx="38100" cy="631825"/>
              </a:xfrm>
              <a:custGeom>
                <a:avLst/>
                <a:gdLst>
                  <a:gd name="T0" fmla="*/ 24 w 24"/>
                  <a:gd name="T1" fmla="*/ 0 h 398"/>
                  <a:gd name="T2" fmla="*/ 0 w 24"/>
                  <a:gd name="T3" fmla="*/ 0 h 398"/>
                  <a:gd name="T4" fmla="*/ 0 w 24"/>
                  <a:gd name="T5" fmla="*/ 398 h 398"/>
                  <a:gd name="T6" fmla="*/ 24 w 24"/>
                  <a:gd name="T7" fmla="*/ 373 h 398"/>
                  <a:gd name="T8" fmla="*/ 24 w 24"/>
                  <a:gd name="T9" fmla="*/ 358 h 398"/>
                  <a:gd name="T10" fmla="*/ 24 w 24"/>
                  <a:gd name="T11" fmla="*/ 0 h 398"/>
                </a:gdLst>
                <a:ahLst/>
                <a:cxnLst>
                  <a:cxn ang="0">
                    <a:pos x="T0" y="T1"/>
                  </a:cxn>
                  <a:cxn ang="0">
                    <a:pos x="T2" y="T3"/>
                  </a:cxn>
                  <a:cxn ang="0">
                    <a:pos x="T4" y="T5"/>
                  </a:cxn>
                  <a:cxn ang="0">
                    <a:pos x="T6" y="T7"/>
                  </a:cxn>
                  <a:cxn ang="0">
                    <a:pos x="T8" y="T9"/>
                  </a:cxn>
                  <a:cxn ang="0">
                    <a:pos x="T10" y="T11"/>
                  </a:cxn>
                </a:cxnLst>
                <a:rect l="0" t="0" r="r" b="b"/>
                <a:pathLst>
                  <a:path w="24" h="398">
                    <a:moveTo>
                      <a:pt x="24" y="0"/>
                    </a:moveTo>
                    <a:lnTo>
                      <a:pt x="0" y="0"/>
                    </a:lnTo>
                    <a:lnTo>
                      <a:pt x="0" y="398"/>
                    </a:lnTo>
                    <a:lnTo>
                      <a:pt x="24" y="373"/>
                    </a:lnTo>
                    <a:lnTo>
                      <a:pt x="24" y="3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6" name="Freeform 411"/>
              <p:cNvSpPr>
                <a:spLocks/>
              </p:cNvSpPr>
              <p:nvPr/>
            </p:nvSpPr>
            <p:spPr bwMode="auto">
              <a:xfrm>
                <a:off x="8018463" y="4133850"/>
                <a:ext cx="41275" cy="657225"/>
              </a:xfrm>
              <a:custGeom>
                <a:avLst/>
                <a:gdLst>
                  <a:gd name="T0" fmla="*/ 26 w 26"/>
                  <a:gd name="T1" fmla="*/ 0 h 414"/>
                  <a:gd name="T2" fmla="*/ 0 w 26"/>
                  <a:gd name="T3" fmla="*/ 0 h 414"/>
                  <a:gd name="T4" fmla="*/ 0 w 26"/>
                  <a:gd name="T5" fmla="*/ 414 h 414"/>
                  <a:gd name="T6" fmla="*/ 26 w 26"/>
                  <a:gd name="T7" fmla="*/ 414 h 414"/>
                  <a:gd name="T8" fmla="*/ 26 w 26"/>
                  <a:gd name="T9" fmla="*/ 358 h 414"/>
                  <a:gd name="T10" fmla="*/ 26 w 26"/>
                  <a:gd name="T11" fmla="*/ 0 h 414"/>
                </a:gdLst>
                <a:ahLst/>
                <a:cxnLst>
                  <a:cxn ang="0">
                    <a:pos x="T0" y="T1"/>
                  </a:cxn>
                  <a:cxn ang="0">
                    <a:pos x="T2" y="T3"/>
                  </a:cxn>
                  <a:cxn ang="0">
                    <a:pos x="T4" y="T5"/>
                  </a:cxn>
                  <a:cxn ang="0">
                    <a:pos x="T6" y="T7"/>
                  </a:cxn>
                  <a:cxn ang="0">
                    <a:pos x="T8" y="T9"/>
                  </a:cxn>
                  <a:cxn ang="0">
                    <a:pos x="T10" y="T11"/>
                  </a:cxn>
                </a:cxnLst>
                <a:rect l="0" t="0" r="r" b="b"/>
                <a:pathLst>
                  <a:path w="26" h="414">
                    <a:moveTo>
                      <a:pt x="26" y="0"/>
                    </a:moveTo>
                    <a:lnTo>
                      <a:pt x="0" y="0"/>
                    </a:lnTo>
                    <a:lnTo>
                      <a:pt x="0" y="414"/>
                    </a:lnTo>
                    <a:lnTo>
                      <a:pt x="26" y="414"/>
                    </a:lnTo>
                    <a:lnTo>
                      <a:pt x="26" y="358"/>
                    </a:lnTo>
                    <a:lnTo>
                      <a:pt x="26"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7" name="Freeform 412"/>
              <p:cNvSpPr>
                <a:spLocks/>
              </p:cNvSpPr>
              <p:nvPr/>
            </p:nvSpPr>
            <p:spPr bwMode="auto">
              <a:xfrm>
                <a:off x="8018463" y="4133850"/>
                <a:ext cx="41275" cy="657225"/>
              </a:xfrm>
              <a:custGeom>
                <a:avLst/>
                <a:gdLst>
                  <a:gd name="T0" fmla="*/ 26 w 26"/>
                  <a:gd name="T1" fmla="*/ 0 h 414"/>
                  <a:gd name="T2" fmla="*/ 0 w 26"/>
                  <a:gd name="T3" fmla="*/ 0 h 414"/>
                  <a:gd name="T4" fmla="*/ 0 w 26"/>
                  <a:gd name="T5" fmla="*/ 414 h 414"/>
                  <a:gd name="T6" fmla="*/ 26 w 26"/>
                  <a:gd name="T7" fmla="*/ 414 h 414"/>
                  <a:gd name="T8" fmla="*/ 26 w 26"/>
                  <a:gd name="T9" fmla="*/ 358 h 414"/>
                  <a:gd name="T10" fmla="*/ 26 w 26"/>
                  <a:gd name="T11" fmla="*/ 0 h 414"/>
                </a:gdLst>
                <a:ahLst/>
                <a:cxnLst>
                  <a:cxn ang="0">
                    <a:pos x="T0" y="T1"/>
                  </a:cxn>
                  <a:cxn ang="0">
                    <a:pos x="T2" y="T3"/>
                  </a:cxn>
                  <a:cxn ang="0">
                    <a:pos x="T4" y="T5"/>
                  </a:cxn>
                  <a:cxn ang="0">
                    <a:pos x="T6" y="T7"/>
                  </a:cxn>
                  <a:cxn ang="0">
                    <a:pos x="T8" y="T9"/>
                  </a:cxn>
                  <a:cxn ang="0">
                    <a:pos x="T10" y="T11"/>
                  </a:cxn>
                </a:cxnLst>
                <a:rect l="0" t="0" r="r" b="b"/>
                <a:pathLst>
                  <a:path w="26" h="414">
                    <a:moveTo>
                      <a:pt x="26" y="0"/>
                    </a:moveTo>
                    <a:lnTo>
                      <a:pt x="0" y="0"/>
                    </a:lnTo>
                    <a:lnTo>
                      <a:pt x="0" y="414"/>
                    </a:lnTo>
                    <a:lnTo>
                      <a:pt x="26" y="414"/>
                    </a:lnTo>
                    <a:lnTo>
                      <a:pt x="26" y="358"/>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8" name="Freeform 413"/>
              <p:cNvSpPr>
                <a:spLocks/>
              </p:cNvSpPr>
              <p:nvPr/>
            </p:nvSpPr>
            <p:spPr bwMode="auto">
              <a:xfrm>
                <a:off x="8018463" y="4002088"/>
                <a:ext cx="479425" cy="131762"/>
              </a:xfrm>
              <a:custGeom>
                <a:avLst/>
                <a:gdLst>
                  <a:gd name="T0" fmla="*/ 302 w 302"/>
                  <a:gd name="T1" fmla="*/ 0 h 83"/>
                  <a:gd name="T2" fmla="*/ 0 w 302"/>
                  <a:gd name="T3" fmla="*/ 0 h 83"/>
                  <a:gd name="T4" fmla="*/ 0 w 302"/>
                  <a:gd name="T5" fmla="*/ 83 h 83"/>
                  <a:gd name="T6" fmla="*/ 26 w 302"/>
                  <a:gd name="T7" fmla="*/ 83 h 83"/>
                  <a:gd name="T8" fmla="*/ 278 w 302"/>
                  <a:gd name="T9" fmla="*/ 83 h 83"/>
                  <a:gd name="T10" fmla="*/ 302 w 302"/>
                  <a:gd name="T11" fmla="*/ 83 h 83"/>
                  <a:gd name="T12" fmla="*/ 302 w 302"/>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302" h="83">
                    <a:moveTo>
                      <a:pt x="302" y="0"/>
                    </a:moveTo>
                    <a:lnTo>
                      <a:pt x="0" y="0"/>
                    </a:lnTo>
                    <a:lnTo>
                      <a:pt x="0" y="83"/>
                    </a:lnTo>
                    <a:lnTo>
                      <a:pt x="26" y="83"/>
                    </a:lnTo>
                    <a:lnTo>
                      <a:pt x="278" y="83"/>
                    </a:lnTo>
                    <a:lnTo>
                      <a:pt x="302" y="83"/>
                    </a:lnTo>
                    <a:lnTo>
                      <a:pt x="302"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9" name="Freeform 414"/>
              <p:cNvSpPr>
                <a:spLocks/>
              </p:cNvSpPr>
              <p:nvPr/>
            </p:nvSpPr>
            <p:spPr bwMode="auto">
              <a:xfrm>
                <a:off x="8018463" y="4002088"/>
                <a:ext cx="479425" cy="131762"/>
              </a:xfrm>
              <a:custGeom>
                <a:avLst/>
                <a:gdLst>
                  <a:gd name="T0" fmla="*/ 302 w 302"/>
                  <a:gd name="T1" fmla="*/ 0 h 83"/>
                  <a:gd name="T2" fmla="*/ 0 w 302"/>
                  <a:gd name="T3" fmla="*/ 0 h 83"/>
                  <a:gd name="T4" fmla="*/ 0 w 302"/>
                  <a:gd name="T5" fmla="*/ 83 h 83"/>
                  <a:gd name="T6" fmla="*/ 26 w 302"/>
                  <a:gd name="T7" fmla="*/ 83 h 83"/>
                  <a:gd name="T8" fmla="*/ 278 w 302"/>
                  <a:gd name="T9" fmla="*/ 83 h 83"/>
                  <a:gd name="T10" fmla="*/ 302 w 302"/>
                  <a:gd name="T11" fmla="*/ 83 h 83"/>
                  <a:gd name="T12" fmla="*/ 302 w 302"/>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302" h="83">
                    <a:moveTo>
                      <a:pt x="302" y="0"/>
                    </a:moveTo>
                    <a:lnTo>
                      <a:pt x="0" y="0"/>
                    </a:lnTo>
                    <a:lnTo>
                      <a:pt x="0" y="83"/>
                    </a:lnTo>
                    <a:lnTo>
                      <a:pt x="26" y="83"/>
                    </a:lnTo>
                    <a:lnTo>
                      <a:pt x="278" y="83"/>
                    </a:lnTo>
                    <a:lnTo>
                      <a:pt x="302" y="83"/>
                    </a:lnTo>
                    <a:lnTo>
                      <a:pt x="3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0" name="Freeform 415"/>
              <p:cNvSpPr>
                <a:spLocks/>
              </p:cNvSpPr>
              <p:nvPr/>
            </p:nvSpPr>
            <p:spPr bwMode="auto">
              <a:xfrm>
                <a:off x="8459788" y="4679950"/>
                <a:ext cx="195263" cy="111125"/>
              </a:xfrm>
              <a:custGeom>
                <a:avLst/>
                <a:gdLst>
                  <a:gd name="T0" fmla="*/ 0 w 123"/>
                  <a:gd name="T1" fmla="*/ 54 h 70"/>
                  <a:gd name="T2" fmla="*/ 53 w 123"/>
                  <a:gd name="T3" fmla="*/ 0 h 70"/>
                  <a:gd name="T4" fmla="*/ 123 w 123"/>
                  <a:gd name="T5" fmla="*/ 0 h 70"/>
                  <a:gd name="T6" fmla="*/ 123 w 123"/>
                  <a:gd name="T7" fmla="*/ 70 h 70"/>
                  <a:gd name="T8" fmla="*/ 0 w 123"/>
                  <a:gd name="T9" fmla="*/ 70 h 70"/>
                  <a:gd name="T10" fmla="*/ 0 w 123"/>
                  <a:gd name="T11" fmla="*/ 54 h 70"/>
                </a:gdLst>
                <a:ahLst/>
                <a:cxnLst>
                  <a:cxn ang="0">
                    <a:pos x="T0" y="T1"/>
                  </a:cxn>
                  <a:cxn ang="0">
                    <a:pos x="T2" y="T3"/>
                  </a:cxn>
                  <a:cxn ang="0">
                    <a:pos x="T4" y="T5"/>
                  </a:cxn>
                  <a:cxn ang="0">
                    <a:pos x="T6" y="T7"/>
                  </a:cxn>
                  <a:cxn ang="0">
                    <a:pos x="T8" y="T9"/>
                  </a:cxn>
                  <a:cxn ang="0">
                    <a:pos x="T10" y="T11"/>
                  </a:cxn>
                </a:cxnLst>
                <a:rect l="0" t="0" r="r" b="b"/>
                <a:pathLst>
                  <a:path w="123" h="70">
                    <a:moveTo>
                      <a:pt x="0" y="54"/>
                    </a:moveTo>
                    <a:lnTo>
                      <a:pt x="53" y="0"/>
                    </a:lnTo>
                    <a:lnTo>
                      <a:pt x="123" y="0"/>
                    </a:lnTo>
                    <a:lnTo>
                      <a:pt x="123" y="70"/>
                    </a:lnTo>
                    <a:lnTo>
                      <a:pt x="0" y="70"/>
                    </a:lnTo>
                    <a:lnTo>
                      <a:pt x="0" y="5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1" name="Freeform 416"/>
              <p:cNvSpPr>
                <a:spLocks/>
              </p:cNvSpPr>
              <p:nvPr/>
            </p:nvSpPr>
            <p:spPr bwMode="auto">
              <a:xfrm>
                <a:off x="8459788" y="4679950"/>
                <a:ext cx="195263" cy="111125"/>
              </a:xfrm>
              <a:custGeom>
                <a:avLst/>
                <a:gdLst>
                  <a:gd name="T0" fmla="*/ 0 w 123"/>
                  <a:gd name="T1" fmla="*/ 54 h 70"/>
                  <a:gd name="T2" fmla="*/ 53 w 123"/>
                  <a:gd name="T3" fmla="*/ 0 h 70"/>
                  <a:gd name="T4" fmla="*/ 123 w 123"/>
                  <a:gd name="T5" fmla="*/ 0 h 70"/>
                  <a:gd name="T6" fmla="*/ 123 w 123"/>
                  <a:gd name="T7" fmla="*/ 70 h 70"/>
                  <a:gd name="T8" fmla="*/ 0 w 123"/>
                  <a:gd name="T9" fmla="*/ 70 h 70"/>
                  <a:gd name="T10" fmla="*/ 0 w 123"/>
                  <a:gd name="T11" fmla="*/ 54 h 70"/>
                </a:gdLst>
                <a:ahLst/>
                <a:cxnLst>
                  <a:cxn ang="0">
                    <a:pos x="T0" y="T1"/>
                  </a:cxn>
                  <a:cxn ang="0">
                    <a:pos x="T2" y="T3"/>
                  </a:cxn>
                  <a:cxn ang="0">
                    <a:pos x="T4" y="T5"/>
                  </a:cxn>
                  <a:cxn ang="0">
                    <a:pos x="T6" y="T7"/>
                  </a:cxn>
                  <a:cxn ang="0">
                    <a:pos x="T8" y="T9"/>
                  </a:cxn>
                  <a:cxn ang="0">
                    <a:pos x="T10" y="T11"/>
                  </a:cxn>
                </a:cxnLst>
                <a:rect l="0" t="0" r="r" b="b"/>
                <a:pathLst>
                  <a:path w="123" h="70">
                    <a:moveTo>
                      <a:pt x="0" y="54"/>
                    </a:moveTo>
                    <a:lnTo>
                      <a:pt x="53" y="0"/>
                    </a:lnTo>
                    <a:lnTo>
                      <a:pt x="123" y="0"/>
                    </a:lnTo>
                    <a:lnTo>
                      <a:pt x="123" y="70"/>
                    </a:lnTo>
                    <a:lnTo>
                      <a:pt x="0" y="70"/>
                    </a:lnTo>
                    <a:lnTo>
                      <a:pt x="0"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2" name="Rectangle 417"/>
              <p:cNvSpPr>
                <a:spLocks noChangeArrowheads="1"/>
              </p:cNvSpPr>
              <p:nvPr/>
            </p:nvSpPr>
            <p:spPr bwMode="auto">
              <a:xfrm>
                <a:off x="8545513" y="3960813"/>
                <a:ext cx="109538" cy="7191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3" name="Rectangle 418"/>
              <p:cNvSpPr>
                <a:spLocks noChangeArrowheads="1"/>
              </p:cNvSpPr>
              <p:nvPr/>
            </p:nvSpPr>
            <p:spPr bwMode="auto">
              <a:xfrm>
                <a:off x="8545513" y="3960813"/>
                <a:ext cx="109538"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4" name="Freeform 419"/>
              <p:cNvSpPr>
                <a:spLocks/>
              </p:cNvSpPr>
              <p:nvPr/>
            </p:nvSpPr>
            <p:spPr bwMode="auto">
              <a:xfrm>
                <a:off x="8604250" y="4679950"/>
                <a:ext cx="50800" cy="111125"/>
              </a:xfrm>
              <a:custGeom>
                <a:avLst/>
                <a:gdLst>
                  <a:gd name="T0" fmla="*/ 32 w 32"/>
                  <a:gd name="T1" fmla="*/ 0 h 70"/>
                  <a:gd name="T2" fmla="*/ 0 w 32"/>
                  <a:gd name="T3" fmla="*/ 0 h 70"/>
                  <a:gd name="T4" fmla="*/ 0 w 32"/>
                  <a:gd name="T5" fmla="*/ 70 h 70"/>
                  <a:gd name="T6" fmla="*/ 32 w 32"/>
                  <a:gd name="T7" fmla="*/ 70 h 70"/>
                  <a:gd name="T8" fmla="*/ 17 w 32"/>
                  <a:gd name="T9" fmla="*/ 70 h 70"/>
                  <a:gd name="T10" fmla="*/ 17 w 32"/>
                  <a:gd name="T11" fmla="*/ 54 h 70"/>
                  <a:gd name="T12" fmla="*/ 32 w 32"/>
                  <a:gd name="T13" fmla="*/ 38 h 70"/>
                  <a:gd name="T14" fmla="*/ 32 w 32"/>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70">
                    <a:moveTo>
                      <a:pt x="32" y="0"/>
                    </a:moveTo>
                    <a:lnTo>
                      <a:pt x="0" y="0"/>
                    </a:lnTo>
                    <a:lnTo>
                      <a:pt x="0" y="70"/>
                    </a:lnTo>
                    <a:lnTo>
                      <a:pt x="32" y="70"/>
                    </a:lnTo>
                    <a:lnTo>
                      <a:pt x="17" y="70"/>
                    </a:lnTo>
                    <a:lnTo>
                      <a:pt x="17" y="54"/>
                    </a:lnTo>
                    <a:lnTo>
                      <a:pt x="32" y="38"/>
                    </a:lnTo>
                    <a:lnTo>
                      <a:pt x="32" y="0"/>
                    </a:lnTo>
                    <a:close/>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5" name="Freeform 420"/>
              <p:cNvSpPr>
                <a:spLocks/>
              </p:cNvSpPr>
              <p:nvPr/>
            </p:nvSpPr>
            <p:spPr bwMode="auto">
              <a:xfrm>
                <a:off x="8604250" y="4679950"/>
                <a:ext cx="50800" cy="111125"/>
              </a:xfrm>
              <a:custGeom>
                <a:avLst/>
                <a:gdLst>
                  <a:gd name="T0" fmla="*/ 32 w 32"/>
                  <a:gd name="T1" fmla="*/ 0 h 70"/>
                  <a:gd name="T2" fmla="*/ 0 w 32"/>
                  <a:gd name="T3" fmla="*/ 0 h 70"/>
                  <a:gd name="T4" fmla="*/ 0 w 32"/>
                  <a:gd name="T5" fmla="*/ 70 h 70"/>
                  <a:gd name="T6" fmla="*/ 32 w 32"/>
                  <a:gd name="T7" fmla="*/ 70 h 70"/>
                  <a:gd name="T8" fmla="*/ 17 w 32"/>
                  <a:gd name="T9" fmla="*/ 70 h 70"/>
                  <a:gd name="T10" fmla="*/ 17 w 32"/>
                  <a:gd name="T11" fmla="*/ 54 h 70"/>
                  <a:gd name="T12" fmla="*/ 32 w 32"/>
                  <a:gd name="T13" fmla="*/ 38 h 70"/>
                  <a:gd name="T14" fmla="*/ 32 w 32"/>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70">
                    <a:moveTo>
                      <a:pt x="32" y="0"/>
                    </a:moveTo>
                    <a:lnTo>
                      <a:pt x="0" y="0"/>
                    </a:lnTo>
                    <a:lnTo>
                      <a:pt x="0" y="70"/>
                    </a:lnTo>
                    <a:lnTo>
                      <a:pt x="32" y="70"/>
                    </a:lnTo>
                    <a:lnTo>
                      <a:pt x="17" y="70"/>
                    </a:lnTo>
                    <a:lnTo>
                      <a:pt x="17" y="54"/>
                    </a:lnTo>
                    <a:lnTo>
                      <a:pt x="32" y="38"/>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6" name="Rectangle 421"/>
              <p:cNvSpPr>
                <a:spLocks noChangeArrowheads="1"/>
              </p:cNvSpPr>
              <p:nvPr/>
            </p:nvSpPr>
            <p:spPr bwMode="auto">
              <a:xfrm>
                <a:off x="8604250" y="3992563"/>
                <a:ext cx="50800" cy="687387"/>
              </a:xfrm>
              <a:prstGeom prst="rect">
                <a:avLst/>
              </a:prstGeom>
              <a:solidFill>
                <a:srgbClr val="001A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7" name="Rectangle 422"/>
              <p:cNvSpPr>
                <a:spLocks noChangeArrowheads="1"/>
              </p:cNvSpPr>
              <p:nvPr/>
            </p:nvSpPr>
            <p:spPr bwMode="auto">
              <a:xfrm>
                <a:off x="8604250" y="3992563"/>
                <a:ext cx="50800" cy="687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8" name="Rectangle 423"/>
              <p:cNvSpPr>
                <a:spLocks noChangeArrowheads="1"/>
              </p:cNvSpPr>
              <p:nvPr/>
            </p:nvSpPr>
            <p:spPr bwMode="auto">
              <a:xfrm>
                <a:off x="8716963" y="3960813"/>
                <a:ext cx="112713" cy="7191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9" name="Rectangle 424"/>
              <p:cNvSpPr>
                <a:spLocks noChangeArrowheads="1"/>
              </p:cNvSpPr>
              <p:nvPr/>
            </p:nvSpPr>
            <p:spPr bwMode="auto">
              <a:xfrm>
                <a:off x="8716963" y="3960813"/>
                <a:ext cx="112713"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0" name="Freeform 425"/>
              <p:cNvSpPr>
                <a:spLocks/>
              </p:cNvSpPr>
              <p:nvPr/>
            </p:nvSpPr>
            <p:spPr bwMode="auto">
              <a:xfrm>
                <a:off x="8631238" y="4679950"/>
                <a:ext cx="198438" cy="111125"/>
              </a:xfrm>
              <a:custGeom>
                <a:avLst/>
                <a:gdLst>
                  <a:gd name="T0" fmla="*/ 0 w 125"/>
                  <a:gd name="T1" fmla="*/ 54 h 70"/>
                  <a:gd name="T2" fmla="*/ 54 w 125"/>
                  <a:gd name="T3" fmla="*/ 0 h 70"/>
                  <a:gd name="T4" fmla="*/ 125 w 125"/>
                  <a:gd name="T5" fmla="*/ 0 h 70"/>
                  <a:gd name="T6" fmla="*/ 125 w 125"/>
                  <a:gd name="T7" fmla="*/ 70 h 70"/>
                  <a:gd name="T8" fmla="*/ 0 w 125"/>
                  <a:gd name="T9" fmla="*/ 70 h 70"/>
                  <a:gd name="T10" fmla="*/ 0 w 125"/>
                  <a:gd name="T11" fmla="*/ 54 h 70"/>
                </a:gdLst>
                <a:ahLst/>
                <a:cxnLst>
                  <a:cxn ang="0">
                    <a:pos x="T0" y="T1"/>
                  </a:cxn>
                  <a:cxn ang="0">
                    <a:pos x="T2" y="T3"/>
                  </a:cxn>
                  <a:cxn ang="0">
                    <a:pos x="T4" y="T5"/>
                  </a:cxn>
                  <a:cxn ang="0">
                    <a:pos x="T6" y="T7"/>
                  </a:cxn>
                  <a:cxn ang="0">
                    <a:pos x="T8" y="T9"/>
                  </a:cxn>
                  <a:cxn ang="0">
                    <a:pos x="T10" y="T11"/>
                  </a:cxn>
                </a:cxnLst>
                <a:rect l="0" t="0" r="r" b="b"/>
                <a:pathLst>
                  <a:path w="125" h="70">
                    <a:moveTo>
                      <a:pt x="0" y="54"/>
                    </a:moveTo>
                    <a:lnTo>
                      <a:pt x="54" y="0"/>
                    </a:lnTo>
                    <a:lnTo>
                      <a:pt x="125" y="0"/>
                    </a:lnTo>
                    <a:lnTo>
                      <a:pt x="125" y="70"/>
                    </a:lnTo>
                    <a:lnTo>
                      <a:pt x="0" y="70"/>
                    </a:lnTo>
                    <a:lnTo>
                      <a:pt x="0" y="5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1" name="Freeform 426"/>
              <p:cNvSpPr>
                <a:spLocks/>
              </p:cNvSpPr>
              <p:nvPr/>
            </p:nvSpPr>
            <p:spPr bwMode="auto">
              <a:xfrm>
                <a:off x="8631238" y="4679950"/>
                <a:ext cx="198438" cy="111125"/>
              </a:xfrm>
              <a:custGeom>
                <a:avLst/>
                <a:gdLst>
                  <a:gd name="T0" fmla="*/ 0 w 125"/>
                  <a:gd name="T1" fmla="*/ 54 h 70"/>
                  <a:gd name="T2" fmla="*/ 54 w 125"/>
                  <a:gd name="T3" fmla="*/ 0 h 70"/>
                  <a:gd name="T4" fmla="*/ 125 w 125"/>
                  <a:gd name="T5" fmla="*/ 0 h 70"/>
                  <a:gd name="T6" fmla="*/ 125 w 125"/>
                  <a:gd name="T7" fmla="*/ 70 h 70"/>
                  <a:gd name="T8" fmla="*/ 0 w 125"/>
                  <a:gd name="T9" fmla="*/ 70 h 70"/>
                  <a:gd name="T10" fmla="*/ 0 w 125"/>
                  <a:gd name="T11" fmla="*/ 54 h 70"/>
                </a:gdLst>
                <a:ahLst/>
                <a:cxnLst>
                  <a:cxn ang="0">
                    <a:pos x="T0" y="T1"/>
                  </a:cxn>
                  <a:cxn ang="0">
                    <a:pos x="T2" y="T3"/>
                  </a:cxn>
                  <a:cxn ang="0">
                    <a:pos x="T4" y="T5"/>
                  </a:cxn>
                  <a:cxn ang="0">
                    <a:pos x="T6" y="T7"/>
                  </a:cxn>
                  <a:cxn ang="0">
                    <a:pos x="T8" y="T9"/>
                  </a:cxn>
                  <a:cxn ang="0">
                    <a:pos x="T10" y="T11"/>
                  </a:cxn>
                </a:cxnLst>
                <a:rect l="0" t="0" r="r" b="b"/>
                <a:pathLst>
                  <a:path w="125" h="70">
                    <a:moveTo>
                      <a:pt x="0" y="54"/>
                    </a:moveTo>
                    <a:lnTo>
                      <a:pt x="54" y="0"/>
                    </a:lnTo>
                    <a:lnTo>
                      <a:pt x="125" y="0"/>
                    </a:lnTo>
                    <a:lnTo>
                      <a:pt x="125" y="70"/>
                    </a:lnTo>
                    <a:lnTo>
                      <a:pt x="0" y="70"/>
                    </a:lnTo>
                    <a:lnTo>
                      <a:pt x="0"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2" name="Rectangle 427"/>
              <p:cNvSpPr>
                <a:spLocks noChangeArrowheads="1"/>
              </p:cNvSpPr>
              <p:nvPr/>
            </p:nvSpPr>
            <p:spPr bwMode="auto">
              <a:xfrm>
                <a:off x="8775700" y="3992563"/>
                <a:ext cx="53975" cy="687387"/>
              </a:xfrm>
              <a:prstGeom prst="rect">
                <a:avLst/>
              </a:prstGeom>
              <a:solidFill>
                <a:srgbClr val="001A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3" name="Rectangle 428"/>
              <p:cNvSpPr>
                <a:spLocks noChangeArrowheads="1"/>
              </p:cNvSpPr>
              <p:nvPr/>
            </p:nvSpPr>
            <p:spPr bwMode="auto">
              <a:xfrm>
                <a:off x="8775700" y="3992563"/>
                <a:ext cx="53975" cy="687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4" name="Freeform 429"/>
              <p:cNvSpPr>
                <a:spLocks/>
              </p:cNvSpPr>
              <p:nvPr/>
            </p:nvSpPr>
            <p:spPr bwMode="auto">
              <a:xfrm>
                <a:off x="8775700" y="4679950"/>
                <a:ext cx="53975" cy="111125"/>
              </a:xfrm>
              <a:custGeom>
                <a:avLst/>
                <a:gdLst>
                  <a:gd name="T0" fmla="*/ 34 w 34"/>
                  <a:gd name="T1" fmla="*/ 0 h 70"/>
                  <a:gd name="T2" fmla="*/ 34 w 34"/>
                  <a:gd name="T3" fmla="*/ 0 h 70"/>
                  <a:gd name="T4" fmla="*/ 0 w 34"/>
                  <a:gd name="T5" fmla="*/ 0 h 70"/>
                  <a:gd name="T6" fmla="*/ 0 w 34"/>
                  <a:gd name="T7" fmla="*/ 70 h 70"/>
                  <a:gd name="T8" fmla="*/ 34 w 34"/>
                  <a:gd name="T9" fmla="*/ 70 h 70"/>
                  <a:gd name="T10" fmla="*/ 34 w 34"/>
                  <a:gd name="T11" fmla="*/ 14 h 70"/>
                  <a:gd name="T12" fmla="*/ 34 w 34"/>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34" h="70">
                    <a:moveTo>
                      <a:pt x="34" y="0"/>
                    </a:moveTo>
                    <a:lnTo>
                      <a:pt x="34" y="0"/>
                    </a:lnTo>
                    <a:lnTo>
                      <a:pt x="0" y="0"/>
                    </a:lnTo>
                    <a:lnTo>
                      <a:pt x="0" y="70"/>
                    </a:lnTo>
                    <a:lnTo>
                      <a:pt x="34" y="70"/>
                    </a:lnTo>
                    <a:lnTo>
                      <a:pt x="34" y="14"/>
                    </a:lnTo>
                    <a:lnTo>
                      <a:pt x="34" y="0"/>
                    </a:lnTo>
                    <a:close/>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5" name="Freeform 430"/>
              <p:cNvSpPr>
                <a:spLocks/>
              </p:cNvSpPr>
              <p:nvPr/>
            </p:nvSpPr>
            <p:spPr bwMode="auto">
              <a:xfrm>
                <a:off x="8775700" y="4679950"/>
                <a:ext cx="53975" cy="111125"/>
              </a:xfrm>
              <a:custGeom>
                <a:avLst/>
                <a:gdLst>
                  <a:gd name="T0" fmla="*/ 34 w 34"/>
                  <a:gd name="T1" fmla="*/ 0 h 70"/>
                  <a:gd name="T2" fmla="*/ 34 w 34"/>
                  <a:gd name="T3" fmla="*/ 0 h 70"/>
                  <a:gd name="T4" fmla="*/ 0 w 34"/>
                  <a:gd name="T5" fmla="*/ 0 h 70"/>
                  <a:gd name="T6" fmla="*/ 0 w 34"/>
                  <a:gd name="T7" fmla="*/ 70 h 70"/>
                  <a:gd name="T8" fmla="*/ 34 w 34"/>
                  <a:gd name="T9" fmla="*/ 70 h 70"/>
                  <a:gd name="T10" fmla="*/ 34 w 34"/>
                  <a:gd name="T11" fmla="*/ 14 h 70"/>
                  <a:gd name="T12" fmla="*/ 34 w 34"/>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34" h="70">
                    <a:moveTo>
                      <a:pt x="34" y="0"/>
                    </a:moveTo>
                    <a:lnTo>
                      <a:pt x="34" y="0"/>
                    </a:lnTo>
                    <a:lnTo>
                      <a:pt x="0" y="0"/>
                    </a:lnTo>
                    <a:lnTo>
                      <a:pt x="0" y="70"/>
                    </a:lnTo>
                    <a:lnTo>
                      <a:pt x="34" y="70"/>
                    </a:lnTo>
                    <a:lnTo>
                      <a:pt x="34" y="14"/>
                    </a:lnTo>
                    <a:lnTo>
                      <a:pt x="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6" name="Rectangle 431"/>
              <p:cNvSpPr>
                <a:spLocks noChangeArrowheads="1"/>
              </p:cNvSpPr>
              <p:nvPr/>
            </p:nvSpPr>
            <p:spPr bwMode="auto">
              <a:xfrm>
                <a:off x="6489700" y="3179763"/>
                <a:ext cx="496888"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7" name="Rectangle 432"/>
              <p:cNvSpPr>
                <a:spLocks noChangeArrowheads="1"/>
              </p:cNvSpPr>
              <p:nvPr/>
            </p:nvSpPr>
            <p:spPr bwMode="auto">
              <a:xfrm>
                <a:off x="6489700" y="3179763"/>
                <a:ext cx="39688" cy="158750"/>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8" name="Rectangle 433"/>
              <p:cNvSpPr>
                <a:spLocks noChangeArrowheads="1"/>
              </p:cNvSpPr>
              <p:nvPr/>
            </p:nvSpPr>
            <p:spPr bwMode="auto">
              <a:xfrm>
                <a:off x="7162800" y="4581525"/>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9" name="Rectangle 434"/>
              <p:cNvSpPr>
                <a:spLocks noChangeArrowheads="1"/>
              </p:cNvSpPr>
              <p:nvPr/>
            </p:nvSpPr>
            <p:spPr bwMode="auto">
              <a:xfrm>
                <a:off x="7162800" y="4608513"/>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0" name="Rectangle 435"/>
              <p:cNvSpPr>
                <a:spLocks noChangeArrowheads="1"/>
              </p:cNvSpPr>
              <p:nvPr/>
            </p:nvSpPr>
            <p:spPr bwMode="auto">
              <a:xfrm>
                <a:off x="7162800" y="4635500"/>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1" name="Rectangle 436"/>
              <p:cNvSpPr>
                <a:spLocks noChangeArrowheads="1"/>
              </p:cNvSpPr>
              <p:nvPr/>
            </p:nvSpPr>
            <p:spPr bwMode="auto">
              <a:xfrm>
                <a:off x="7162800" y="4662488"/>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2" name="Rectangle 437"/>
              <p:cNvSpPr>
                <a:spLocks noChangeArrowheads="1"/>
              </p:cNvSpPr>
              <p:nvPr/>
            </p:nvSpPr>
            <p:spPr bwMode="auto">
              <a:xfrm>
                <a:off x="7162800" y="4691063"/>
                <a:ext cx="207963" cy="63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3" name="Rectangle 438"/>
              <p:cNvSpPr>
                <a:spLocks noChangeArrowheads="1"/>
              </p:cNvSpPr>
              <p:nvPr/>
            </p:nvSpPr>
            <p:spPr bwMode="auto">
              <a:xfrm>
                <a:off x="7162800" y="4716463"/>
                <a:ext cx="2079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4" name="Rectangle 439"/>
              <p:cNvSpPr>
                <a:spLocks noChangeArrowheads="1"/>
              </p:cNvSpPr>
              <p:nvPr/>
            </p:nvSpPr>
            <p:spPr bwMode="auto">
              <a:xfrm>
                <a:off x="6489700" y="3395663"/>
                <a:ext cx="136525" cy="158750"/>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5" name="Rectangle 440"/>
              <p:cNvSpPr>
                <a:spLocks noChangeArrowheads="1"/>
              </p:cNvSpPr>
              <p:nvPr/>
            </p:nvSpPr>
            <p:spPr bwMode="auto">
              <a:xfrm>
                <a:off x="6584950" y="3395663"/>
                <a:ext cx="41275"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6" name="Rectangle 441"/>
              <p:cNvSpPr>
                <a:spLocks noChangeArrowheads="1"/>
              </p:cNvSpPr>
              <p:nvPr/>
            </p:nvSpPr>
            <p:spPr bwMode="auto">
              <a:xfrm>
                <a:off x="6808788"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7" name="Rectangle 442"/>
              <p:cNvSpPr>
                <a:spLocks noChangeArrowheads="1"/>
              </p:cNvSpPr>
              <p:nvPr/>
            </p:nvSpPr>
            <p:spPr bwMode="auto">
              <a:xfrm>
                <a:off x="6780213"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8" name="Rectangle 443"/>
              <p:cNvSpPr>
                <a:spLocks noChangeArrowheads="1"/>
              </p:cNvSpPr>
              <p:nvPr/>
            </p:nvSpPr>
            <p:spPr bwMode="auto">
              <a:xfrm>
                <a:off x="6753225"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9" name="Rectangle 444"/>
              <p:cNvSpPr>
                <a:spLocks noChangeArrowheads="1"/>
              </p:cNvSpPr>
              <p:nvPr/>
            </p:nvSpPr>
            <p:spPr bwMode="auto">
              <a:xfrm>
                <a:off x="6726238"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0" name="Rectangle 445"/>
              <p:cNvSpPr>
                <a:spLocks noChangeArrowheads="1"/>
              </p:cNvSpPr>
              <p:nvPr/>
            </p:nvSpPr>
            <p:spPr bwMode="auto">
              <a:xfrm>
                <a:off x="6699250" y="3394075"/>
                <a:ext cx="7938"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1" name="Rectangle 446"/>
              <p:cNvSpPr>
                <a:spLocks noChangeArrowheads="1"/>
              </p:cNvSpPr>
              <p:nvPr/>
            </p:nvSpPr>
            <p:spPr bwMode="auto">
              <a:xfrm>
                <a:off x="6672263" y="3394075"/>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2" name="Freeform 447"/>
              <p:cNvSpPr>
                <a:spLocks/>
              </p:cNvSpPr>
              <p:nvPr/>
            </p:nvSpPr>
            <p:spPr bwMode="auto">
              <a:xfrm>
                <a:off x="6673850" y="3586163"/>
                <a:ext cx="50800" cy="46037"/>
              </a:xfrm>
              <a:custGeom>
                <a:avLst/>
                <a:gdLst>
                  <a:gd name="T0" fmla="*/ 17 w 31"/>
                  <a:gd name="T1" fmla="*/ 0 h 28"/>
                  <a:gd name="T2" fmla="*/ 0 w 31"/>
                  <a:gd name="T3" fmla="*/ 0 h 28"/>
                  <a:gd name="T4" fmla="*/ 0 w 31"/>
                  <a:gd name="T5" fmla="*/ 28 h 28"/>
                  <a:gd name="T6" fmla="*/ 17 w 31"/>
                  <a:gd name="T7" fmla="*/ 28 h 28"/>
                  <a:gd name="T8" fmla="*/ 31 w 31"/>
                  <a:gd name="T9" fmla="*/ 14 h 28"/>
                  <a:gd name="T10" fmla="*/ 17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17" y="0"/>
                    </a:moveTo>
                    <a:cubicBezTo>
                      <a:pt x="0" y="0"/>
                      <a:pt x="0" y="0"/>
                      <a:pt x="0" y="0"/>
                    </a:cubicBezTo>
                    <a:cubicBezTo>
                      <a:pt x="0" y="28"/>
                      <a:pt x="0" y="28"/>
                      <a:pt x="0" y="28"/>
                    </a:cubicBezTo>
                    <a:cubicBezTo>
                      <a:pt x="17" y="28"/>
                      <a:pt x="17" y="28"/>
                      <a:pt x="17" y="28"/>
                    </a:cubicBezTo>
                    <a:cubicBezTo>
                      <a:pt x="24" y="28"/>
                      <a:pt x="31" y="22"/>
                      <a:pt x="31" y="14"/>
                    </a:cubicBezTo>
                    <a:cubicBezTo>
                      <a:pt x="31" y="6"/>
                      <a:pt x="24" y="0"/>
                      <a:pt x="17" y="0"/>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3" name="Freeform 448"/>
              <p:cNvSpPr>
                <a:spLocks/>
              </p:cNvSpPr>
              <p:nvPr/>
            </p:nvSpPr>
            <p:spPr bwMode="auto">
              <a:xfrm>
                <a:off x="6761163" y="3586163"/>
                <a:ext cx="52388" cy="46037"/>
              </a:xfrm>
              <a:custGeom>
                <a:avLst/>
                <a:gdLst>
                  <a:gd name="T0" fmla="*/ 17 w 31"/>
                  <a:gd name="T1" fmla="*/ 0 h 28"/>
                  <a:gd name="T2" fmla="*/ 0 w 31"/>
                  <a:gd name="T3" fmla="*/ 0 h 28"/>
                  <a:gd name="T4" fmla="*/ 0 w 31"/>
                  <a:gd name="T5" fmla="*/ 28 h 28"/>
                  <a:gd name="T6" fmla="*/ 17 w 31"/>
                  <a:gd name="T7" fmla="*/ 28 h 28"/>
                  <a:gd name="T8" fmla="*/ 31 w 31"/>
                  <a:gd name="T9" fmla="*/ 14 h 28"/>
                  <a:gd name="T10" fmla="*/ 17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17" y="0"/>
                    </a:moveTo>
                    <a:cubicBezTo>
                      <a:pt x="0" y="0"/>
                      <a:pt x="0" y="0"/>
                      <a:pt x="0" y="0"/>
                    </a:cubicBezTo>
                    <a:cubicBezTo>
                      <a:pt x="0" y="28"/>
                      <a:pt x="0" y="28"/>
                      <a:pt x="0" y="28"/>
                    </a:cubicBezTo>
                    <a:cubicBezTo>
                      <a:pt x="17" y="28"/>
                      <a:pt x="17" y="28"/>
                      <a:pt x="17" y="28"/>
                    </a:cubicBezTo>
                    <a:cubicBezTo>
                      <a:pt x="24" y="28"/>
                      <a:pt x="31" y="22"/>
                      <a:pt x="31" y="14"/>
                    </a:cubicBezTo>
                    <a:cubicBezTo>
                      <a:pt x="31" y="6"/>
                      <a:pt x="24" y="0"/>
                      <a:pt x="17" y="0"/>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4" name="Freeform 449"/>
              <p:cNvSpPr>
                <a:spLocks/>
              </p:cNvSpPr>
              <p:nvPr/>
            </p:nvSpPr>
            <p:spPr bwMode="auto">
              <a:xfrm>
                <a:off x="6850063" y="3586163"/>
                <a:ext cx="52388" cy="46037"/>
              </a:xfrm>
              <a:custGeom>
                <a:avLst/>
                <a:gdLst>
                  <a:gd name="T0" fmla="*/ 16 w 31"/>
                  <a:gd name="T1" fmla="*/ 0 h 28"/>
                  <a:gd name="T2" fmla="*/ 0 w 31"/>
                  <a:gd name="T3" fmla="*/ 0 h 28"/>
                  <a:gd name="T4" fmla="*/ 0 w 31"/>
                  <a:gd name="T5" fmla="*/ 28 h 28"/>
                  <a:gd name="T6" fmla="*/ 16 w 31"/>
                  <a:gd name="T7" fmla="*/ 28 h 28"/>
                  <a:gd name="T8" fmla="*/ 31 w 31"/>
                  <a:gd name="T9" fmla="*/ 14 h 28"/>
                  <a:gd name="T10" fmla="*/ 16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16" y="0"/>
                    </a:moveTo>
                    <a:cubicBezTo>
                      <a:pt x="0" y="0"/>
                      <a:pt x="0" y="0"/>
                      <a:pt x="0" y="0"/>
                    </a:cubicBezTo>
                    <a:cubicBezTo>
                      <a:pt x="0" y="28"/>
                      <a:pt x="0" y="28"/>
                      <a:pt x="0" y="28"/>
                    </a:cubicBezTo>
                    <a:cubicBezTo>
                      <a:pt x="16" y="28"/>
                      <a:pt x="16" y="28"/>
                      <a:pt x="16" y="28"/>
                    </a:cubicBezTo>
                    <a:cubicBezTo>
                      <a:pt x="24" y="28"/>
                      <a:pt x="31" y="22"/>
                      <a:pt x="31" y="14"/>
                    </a:cubicBezTo>
                    <a:cubicBezTo>
                      <a:pt x="31" y="6"/>
                      <a:pt x="24" y="0"/>
                      <a:pt x="16" y="0"/>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5" name="Oval 450"/>
              <p:cNvSpPr>
                <a:spLocks noChangeArrowheads="1"/>
              </p:cNvSpPr>
              <p:nvPr/>
            </p:nvSpPr>
            <p:spPr bwMode="auto">
              <a:xfrm>
                <a:off x="6826250" y="3586163"/>
                <a:ext cx="47625" cy="46037"/>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6" name="Freeform 451"/>
              <p:cNvSpPr>
                <a:spLocks/>
              </p:cNvSpPr>
              <p:nvPr/>
            </p:nvSpPr>
            <p:spPr bwMode="auto">
              <a:xfrm>
                <a:off x="6523038" y="3792538"/>
                <a:ext cx="411163" cy="719137"/>
              </a:xfrm>
              <a:custGeom>
                <a:avLst/>
                <a:gdLst>
                  <a:gd name="T0" fmla="*/ 246 w 246"/>
                  <a:gd name="T1" fmla="*/ 115 h 431"/>
                  <a:gd name="T2" fmla="*/ 123 w 246"/>
                  <a:gd name="T3" fmla="*/ 0 h 431"/>
                  <a:gd name="T4" fmla="*/ 0 w 246"/>
                  <a:gd name="T5" fmla="*/ 123 h 431"/>
                  <a:gd name="T6" fmla="*/ 0 w 246"/>
                  <a:gd name="T7" fmla="*/ 431 h 431"/>
                  <a:gd name="T8" fmla="*/ 218 w 246"/>
                  <a:gd name="T9" fmla="*/ 431 h 431"/>
                  <a:gd name="T10" fmla="*/ 215 w 246"/>
                  <a:gd name="T11" fmla="*/ 269 h 431"/>
                  <a:gd name="T12" fmla="*/ 246 w 246"/>
                  <a:gd name="T13" fmla="*/ 269 h 431"/>
                  <a:gd name="T14" fmla="*/ 246 w 246"/>
                  <a:gd name="T15" fmla="*/ 115 h 431"/>
                  <a:gd name="T16" fmla="*/ 246 w 246"/>
                  <a:gd name="T17" fmla="*/ 115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431">
                    <a:moveTo>
                      <a:pt x="246" y="115"/>
                    </a:moveTo>
                    <a:cubicBezTo>
                      <a:pt x="242" y="51"/>
                      <a:pt x="189" y="0"/>
                      <a:pt x="123" y="0"/>
                    </a:cubicBezTo>
                    <a:cubicBezTo>
                      <a:pt x="55" y="0"/>
                      <a:pt x="0" y="55"/>
                      <a:pt x="0" y="123"/>
                    </a:cubicBezTo>
                    <a:cubicBezTo>
                      <a:pt x="0" y="431"/>
                      <a:pt x="0" y="431"/>
                      <a:pt x="0" y="431"/>
                    </a:cubicBezTo>
                    <a:cubicBezTo>
                      <a:pt x="218" y="431"/>
                      <a:pt x="218" y="431"/>
                      <a:pt x="218" y="431"/>
                    </a:cubicBezTo>
                    <a:cubicBezTo>
                      <a:pt x="215" y="269"/>
                      <a:pt x="215" y="269"/>
                      <a:pt x="215" y="269"/>
                    </a:cubicBezTo>
                    <a:cubicBezTo>
                      <a:pt x="246" y="269"/>
                      <a:pt x="246" y="269"/>
                      <a:pt x="246" y="269"/>
                    </a:cubicBezTo>
                    <a:cubicBezTo>
                      <a:pt x="246" y="115"/>
                      <a:pt x="246" y="115"/>
                      <a:pt x="246" y="115"/>
                    </a:cubicBezTo>
                    <a:cubicBezTo>
                      <a:pt x="246" y="115"/>
                      <a:pt x="246" y="115"/>
                      <a:pt x="246" y="1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7" name="Oval 452"/>
              <p:cNvSpPr>
                <a:spLocks noChangeArrowheads="1"/>
              </p:cNvSpPr>
              <p:nvPr/>
            </p:nvSpPr>
            <p:spPr bwMode="auto">
              <a:xfrm>
                <a:off x="6831013" y="4148138"/>
                <a:ext cx="25400" cy="25400"/>
              </a:xfrm>
              <a:prstGeom prst="ellipse">
                <a:avLst/>
              </a:pr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8" name="Oval 453"/>
              <p:cNvSpPr>
                <a:spLocks noChangeArrowheads="1"/>
              </p:cNvSpPr>
              <p:nvPr/>
            </p:nvSpPr>
            <p:spPr bwMode="auto">
              <a:xfrm>
                <a:off x="6572250" y="3840163"/>
                <a:ext cx="311150" cy="311150"/>
              </a:xfrm>
              <a:prstGeom prst="ellipse">
                <a:avLst/>
              </a:pr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9" name="Freeform 454"/>
              <p:cNvSpPr>
                <a:spLocks noEditPoints="1"/>
              </p:cNvSpPr>
              <p:nvPr/>
            </p:nvSpPr>
            <p:spPr bwMode="auto">
              <a:xfrm>
                <a:off x="6669088" y="3910013"/>
                <a:ext cx="109538" cy="142875"/>
              </a:xfrm>
              <a:custGeom>
                <a:avLst/>
                <a:gdLst>
                  <a:gd name="T0" fmla="*/ 65 w 65"/>
                  <a:gd name="T1" fmla="*/ 33 h 86"/>
                  <a:gd name="T2" fmla="*/ 33 w 65"/>
                  <a:gd name="T3" fmla="*/ 0 h 86"/>
                  <a:gd name="T4" fmla="*/ 0 w 65"/>
                  <a:gd name="T5" fmla="*/ 33 h 86"/>
                  <a:gd name="T6" fmla="*/ 15 w 65"/>
                  <a:gd name="T7" fmla="*/ 60 h 86"/>
                  <a:gd name="T8" fmla="*/ 22 w 65"/>
                  <a:gd name="T9" fmla="*/ 82 h 86"/>
                  <a:gd name="T10" fmla="*/ 33 w 65"/>
                  <a:gd name="T11" fmla="*/ 86 h 86"/>
                  <a:gd name="T12" fmla="*/ 33 w 65"/>
                  <a:gd name="T13" fmla="*/ 86 h 86"/>
                  <a:gd name="T14" fmla="*/ 33 w 65"/>
                  <a:gd name="T15" fmla="*/ 86 h 86"/>
                  <a:gd name="T16" fmla="*/ 33 w 65"/>
                  <a:gd name="T17" fmla="*/ 86 h 86"/>
                  <a:gd name="T18" fmla="*/ 33 w 65"/>
                  <a:gd name="T19" fmla="*/ 86 h 86"/>
                  <a:gd name="T20" fmla="*/ 44 w 65"/>
                  <a:gd name="T21" fmla="*/ 82 h 86"/>
                  <a:gd name="T22" fmla="*/ 44 w 65"/>
                  <a:gd name="T23" fmla="*/ 82 h 86"/>
                  <a:gd name="T24" fmla="*/ 44 w 65"/>
                  <a:gd name="T25" fmla="*/ 80 h 86"/>
                  <a:gd name="T26" fmla="*/ 51 w 65"/>
                  <a:gd name="T27" fmla="*/ 60 h 86"/>
                  <a:gd name="T28" fmla="*/ 65 w 65"/>
                  <a:gd name="T29" fmla="*/ 33 h 86"/>
                  <a:gd name="T30" fmla="*/ 33 w 65"/>
                  <a:gd name="T31" fmla="*/ 86 h 86"/>
                  <a:gd name="T32" fmla="*/ 33 w 65"/>
                  <a:gd name="T33" fmla="*/ 82 h 86"/>
                  <a:gd name="T34" fmla="*/ 33 w 65"/>
                  <a:gd name="T35" fmla="*/ 82 h 86"/>
                  <a:gd name="T36" fmla="*/ 33 w 65"/>
                  <a:gd name="T37"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 h="86">
                    <a:moveTo>
                      <a:pt x="65" y="33"/>
                    </a:moveTo>
                    <a:cubicBezTo>
                      <a:pt x="65" y="15"/>
                      <a:pt x="51" y="0"/>
                      <a:pt x="33" y="0"/>
                    </a:cubicBezTo>
                    <a:cubicBezTo>
                      <a:pt x="15" y="0"/>
                      <a:pt x="0" y="15"/>
                      <a:pt x="0" y="33"/>
                    </a:cubicBezTo>
                    <a:cubicBezTo>
                      <a:pt x="0" y="44"/>
                      <a:pt x="6" y="54"/>
                      <a:pt x="15" y="60"/>
                    </a:cubicBezTo>
                    <a:cubicBezTo>
                      <a:pt x="15" y="60"/>
                      <a:pt x="22" y="65"/>
                      <a:pt x="22" y="82"/>
                    </a:cubicBezTo>
                    <a:cubicBezTo>
                      <a:pt x="33" y="86"/>
                      <a:pt x="33" y="86"/>
                      <a:pt x="33" y="86"/>
                    </a:cubicBezTo>
                    <a:cubicBezTo>
                      <a:pt x="33" y="86"/>
                      <a:pt x="33" y="86"/>
                      <a:pt x="33" y="86"/>
                    </a:cubicBezTo>
                    <a:cubicBezTo>
                      <a:pt x="33" y="86"/>
                      <a:pt x="33" y="86"/>
                      <a:pt x="33" y="86"/>
                    </a:cubicBezTo>
                    <a:cubicBezTo>
                      <a:pt x="33" y="86"/>
                      <a:pt x="33" y="86"/>
                      <a:pt x="33" y="86"/>
                    </a:cubicBezTo>
                    <a:cubicBezTo>
                      <a:pt x="33" y="86"/>
                      <a:pt x="33" y="86"/>
                      <a:pt x="33" y="86"/>
                    </a:cubicBezTo>
                    <a:cubicBezTo>
                      <a:pt x="44" y="82"/>
                      <a:pt x="44" y="82"/>
                      <a:pt x="44" y="82"/>
                    </a:cubicBezTo>
                    <a:cubicBezTo>
                      <a:pt x="44" y="82"/>
                      <a:pt x="44" y="82"/>
                      <a:pt x="44" y="82"/>
                    </a:cubicBezTo>
                    <a:cubicBezTo>
                      <a:pt x="44" y="80"/>
                      <a:pt x="44" y="80"/>
                      <a:pt x="44" y="80"/>
                    </a:cubicBezTo>
                    <a:cubicBezTo>
                      <a:pt x="44" y="66"/>
                      <a:pt x="50" y="60"/>
                      <a:pt x="51" y="60"/>
                    </a:cubicBezTo>
                    <a:cubicBezTo>
                      <a:pt x="60" y="54"/>
                      <a:pt x="65" y="44"/>
                      <a:pt x="65" y="33"/>
                    </a:cubicBezTo>
                    <a:moveTo>
                      <a:pt x="33" y="86"/>
                    </a:moveTo>
                    <a:cubicBezTo>
                      <a:pt x="33" y="82"/>
                      <a:pt x="33" y="82"/>
                      <a:pt x="33" y="82"/>
                    </a:cubicBezTo>
                    <a:cubicBezTo>
                      <a:pt x="33" y="82"/>
                      <a:pt x="33" y="82"/>
                      <a:pt x="33" y="82"/>
                    </a:cubicBezTo>
                    <a:cubicBezTo>
                      <a:pt x="33" y="86"/>
                      <a:pt x="33" y="86"/>
                      <a:pt x="33" y="8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0" name="Rectangle 455"/>
              <p:cNvSpPr>
                <a:spLocks noChangeArrowheads="1"/>
              </p:cNvSpPr>
              <p:nvPr/>
            </p:nvSpPr>
            <p:spPr bwMode="auto">
              <a:xfrm>
                <a:off x="6707188" y="4046538"/>
                <a:ext cx="36513" cy="254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1" name="Rectangle 456"/>
              <p:cNvSpPr>
                <a:spLocks noChangeArrowheads="1"/>
              </p:cNvSpPr>
              <p:nvPr/>
            </p:nvSpPr>
            <p:spPr bwMode="auto">
              <a:xfrm>
                <a:off x="6707188" y="4046538"/>
                <a:ext cx="36513" cy="2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2" name="Freeform 457"/>
              <p:cNvSpPr>
                <a:spLocks/>
              </p:cNvSpPr>
              <p:nvPr/>
            </p:nvSpPr>
            <p:spPr bwMode="auto">
              <a:xfrm>
                <a:off x="6707188" y="4048125"/>
                <a:ext cx="36513" cy="7937"/>
              </a:xfrm>
              <a:custGeom>
                <a:avLst/>
                <a:gdLst>
                  <a:gd name="T0" fmla="*/ 0 w 23"/>
                  <a:gd name="T1" fmla="*/ 5 h 5"/>
                  <a:gd name="T2" fmla="*/ 0 w 23"/>
                  <a:gd name="T3" fmla="*/ 4 h 5"/>
                  <a:gd name="T4" fmla="*/ 23 w 23"/>
                  <a:gd name="T5" fmla="*/ 0 h 5"/>
                  <a:gd name="T6" fmla="*/ 23 w 23"/>
                  <a:gd name="T7" fmla="*/ 1 h 5"/>
                  <a:gd name="T8" fmla="*/ 0 w 23"/>
                  <a:gd name="T9" fmla="*/ 5 h 5"/>
                </a:gdLst>
                <a:ahLst/>
                <a:cxnLst>
                  <a:cxn ang="0">
                    <a:pos x="T0" y="T1"/>
                  </a:cxn>
                  <a:cxn ang="0">
                    <a:pos x="T2" y="T3"/>
                  </a:cxn>
                  <a:cxn ang="0">
                    <a:pos x="T4" y="T5"/>
                  </a:cxn>
                  <a:cxn ang="0">
                    <a:pos x="T6" y="T7"/>
                  </a:cxn>
                  <a:cxn ang="0">
                    <a:pos x="T8" y="T9"/>
                  </a:cxn>
                </a:cxnLst>
                <a:rect l="0" t="0" r="r" b="b"/>
                <a:pathLst>
                  <a:path w="23" h="5">
                    <a:moveTo>
                      <a:pt x="0" y="5"/>
                    </a:moveTo>
                    <a:lnTo>
                      <a:pt x="0" y="4"/>
                    </a:lnTo>
                    <a:lnTo>
                      <a:pt x="23" y="0"/>
                    </a:lnTo>
                    <a:lnTo>
                      <a:pt x="23" y="1"/>
                    </a:lnTo>
                    <a:lnTo>
                      <a:pt x="0" y="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3" name="Freeform 458"/>
              <p:cNvSpPr>
                <a:spLocks/>
              </p:cNvSpPr>
              <p:nvPr/>
            </p:nvSpPr>
            <p:spPr bwMode="auto">
              <a:xfrm>
                <a:off x="6707188" y="4048125"/>
                <a:ext cx="36513" cy="7937"/>
              </a:xfrm>
              <a:custGeom>
                <a:avLst/>
                <a:gdLst>
                  <a:gd name="T0" fmla="*/ 0 w 23"/>
                  <a:gd name="T1" fmla="*/ 5 h 5"/>
                  <a:gd name="T2" fmla="*/ 0 w 23"/>
                  <a:gd name="T3" fmla="*/ 4 h 5"/>
                  <a:gd name="T4" fmla="*/ 23 w 23"/>
                  <a:gd name="T5" fmla="*/ 0 h 5"/>
                  <a:gd name="T6" fmla="*/ 23 w 23"/>
                  <a:gd name="T7" fmla="*/ 1 h 5"/>
                  <a:gd name="T8" fmla="*/ 0 w 23"/>
                  <a:gd name="T9" fmla="*/ 5 h 5"/>
                </a:gdLst>
                <a:ahLst/>
                <a:cxnLst>
                  <a:cxn ang="0">
                    <a:pos x="T0" y="T1"/>
                  </a:cxn>
                  <a:cxn ang="0">
                    <a:pos x="T2" y="T3"/>
                  </a:cxn>
                  <a:cxn ang="0">
                    <a:pos x="T4" y="T5"/>
                  </a:cxn>
                  <a:cxn ang="0">
                    <a:pos x="T6" y="T7"/>
                  </a:cxn>
                  <a:cxn ang="0">
                    <a:pos x="T8" y="T9"/>
                  </a:cxn>
                </a:cxnLst>
                <a:rect l="0" t="0" r="r" b="b"/>
                <a:pathLst>
                  <a:path w="23" h="5">
                    <a:moveTo>
                      <a:pt x="0" y="5"/>
                    </a:moveTo>
                    <a:lnTo>
                      <a:pt x="0" y="4"/>
                    </a:lnTo>
                    <a:lnTo>
                      <a:pt x="23" y="0"/>
                    </a:lnTo>
                    <a:lnTo>
                      <a:pt x="23" y="1"/>
                    </a:lnTo>
                    <a:lnTo>
                      <a:pt x="0"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4" name="Freeform 459"/>
              <p:cNvSpPr>
                <a:spLocks/>
              </p:cNvSpPr>
              <p:nvPr/>
            </p:nvSpPr>
            <p:spPr bwMode="auto">
              <a:xfrm>
                <a:off x="6707188" y="4056063"/>
                <a:ext cx="36513" cy="6350"/>
              </a:xfrm>
              <a:custGeom>
                <a:avLst/>
                <a:gdLst>
                  <a:gd name="T0" fmla="*/ 0 w 23"/>
                  <a:gd name="T1" fmla="*/ 4 h 4"/>
                  <a:gd name="T2" fmla="*/ 0 w 23"/>
                  <a:gd name="T3" fmla="*/ 3 h 4"/>
                  <a:gd name="T4" fmla="*/ 23 w 23"/>
                  <a:gd name="T5" fmla="*/ 0 h 4"/>
                  <a:gd name="T6" fmla="*/ 23 w 23"/>
                  <a:gd name="T7" fmla="*/ 1 h 4"/>
                  <a:gd name="T8" fmla="*/ 0 w 23"/>
                  <a:gd name="T9" fmla="*/ 4 h 4"/>
                </a:gdLst>
                <a:ahLst/>
                <a:cxnLst>
                  <a:cxn ang="0">
                    <a:pos x="T0" y="T1"/>
                  </a:cxn>
                  <a:cxn ang="0">
                    <a:pos x="T2" y="T3"/>
                  </a:cxn>
                  <a:cxn ang="0">
                    <a:pos x="T4" y="T5"/>
                  </a:cxn>
                  <a:cxn ang="0">
                    <a:pos x="T6" y="T7"/>
                  </a:cxn>
                  <a:cxn ang="0">
                    <a:pos x="T8" y="T9"/>
                  </a:cxn>
                </a:cxnLst>
                <a:rect l="0" t="0" r="r" b="b"/>
                <a:pathLst>
                  <a:path w="23" h="4">
                    <a:moveTo>
                      <a:pt x="0" y="4"/>
                    </a:moveTo>
                    <a:lnTo>
                      <a:pt x="0" y="3"/>
                    </a:lnTo>
                    <a:lnTo>
                      <a:pt x="23" y="0"/>
                    </a:lnTo>
                    <a:lnTo>
                      <a:pt x="23" y="1"/>
                    </a:lnTo>
                    <a:lnTo>
                      <a:pt x="0" y="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5" name="Freeform 460"/>
              <p:cNvSpPr>
                <a:spLocks/>
              </p:cNvSpPr>
              <p:nvPr/>
            </p:nvSpPr>
            <p:spPr bwMode="auto">
              <a:xfrm>
                <a:off x="6707188" y="4056063"/>
                <a:ext cx="36513" cy="6350"/>
              </a:xfrm>
              <a:custGeom>
                <a:avLst/>
                <a:gdLst>
                  <a:gd name="T0" fmla="*/ 0 w 23"/>
                  <a:gd name="T1" fmla="*/ 4 h 4"/>
                  <a:gd name="T2" fmla="*/ 0 w 23"/>
                  <a:gd name="T3" fmla="*/ 3 h 4"/>
                  <a:gd name="T4" fmla="*/ 23 w 23"/>
                  <a:gd name="T5" fmla="*/ 0 h 4"/>
                  <a:gd name="T6" fmla="*/ 23 w 23"/>
                  <a:gd name="T7" fmla="*/ 1 h 4"/>
                  <a:gd name="T8" fmla="*/ 0 w 23"/>
                  <a:gd name="T9" fmla="*/ 4 h 4"/>
                </a:gdLst>
                <a:ahLst/>
                <a:cxnLst>
                  <a:cxn ang="0">
                    <a:pos x="T0" y="T1"/>
                  </a:cxn>
                  <a:cxn ang="0">
                    <a:pos x="T2" y="T3"/>
                  </a:cxn>
                  <a:cxn ang="0">
                    <a:pos x="T4" y="T5"/>
                  </a:cxn>
                  <a:cxn ang="0">
                    <a:pos x="T6" y="T7"/>
                  </a:cxn>
                  <a:cxn ang="0">
                    <a:pos x="T8" y="T9"/>
                  </a:cxn>
                </a:cxnLst>
                <a:rect l="0" t="0" r="r" b="b"/>
                <a:pathLst>
                  <a:path w="23" h="4">
                    <a:moveTo>
                      <a:pt x="0" y="4"/>
                    </a:moveTo>
                    <a:lnTo>
                      <a:pt x="0" y="3"/>
                    </a:lnTo>
                    <a:lnTo>
                      <a:pt x="23" y="0"/>
                    </a:lnTo>
                    <a:lnTo>
                      <a:pt x="23" y="1"/>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6" name="Freeform 461"/>
              <p:cNvSpPr>
                <a:spLocks/>
              </p:cNvSpPr>
              <p:nvPr/>
            </p:nvSpPr>
            <p:spPr bwMode="auto">
              <a:xfrm>
                <a:off x="6707188" y="4062413"/>
                <a:ext cx="36513" cy="6350"/>
              </a:xfrm>
              <a:custGeom>
                <a:avLst/>
                <a:gdLst>
                  <a:gd name="T0" fmla="*/ 0 w 23"/>
                  <a:gd name="T1" fmla="*/ 4 h 4"/>
                  <a:gd name="T2" fmla="*/ 0 w 23"/>
                  <a:gd name="T3" fmla="*/ 3 h 4"/>
                  <a:gd name="T4" fmla="*/ 23 w 23"/>
                  <a:gd name="T5" fmla="*/ 0 h 4"/>
                  <a:gd name="T6" fmla="*/ 23 w 23"/>
                  <a:gd name="T7" fmla="*/ 1 h 4"/>
                  <a:gd name="T8" fmla="*/ 0 w 23"/>
                  <a:gd name="T9" fmla="*/ 4 h 4"/>
                </a:gdLst>
                <a:ahLst/>
                <a:cxnLst>
                  <a:cxn ang="0">
                    <a:pos x="T0" y="T1"/>
                  </a:cxn>
                  <a:cxn ang="0">
                    <a:pos x="T2" y="T3"/>
                  </a:cxn>
                  <a:cxn ang="0">
                    <a:pos x="T4" y="T5"/>
                  </a:cxn>
                  <a:cxn ang="0">
                    <a:pos x="T6" y="T7"/>
                  </a:cxn>
                  <a:cxn ang="0">
                    <a:pos x="T8" y="T9"/>
                  </a:cxn>
                </a:cxnLst>
                <a:rect l="0" t="0" r="r" b="b"/>
                <a:pathLst>
                  <a:path w="23" h="4">
                    <a:moveTo>
                      <a:pt x="0" y="4"/>
                    </a:moveTo>
                    <a:lnTo>
                      <a:pt x="0" y="3"/>
                    </a:lnTo>
                    <a:lnTo>
                      <a:pt x="23" y="0"/>
                    </a:lnTo>
                    <a:lnTo>
                      <a:pt x="23" y="1"/>
                    </a:lnTo>
                    <a:lnTo>
                      <a:pt x="0" y="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7" name="Freeform 462"/>
              <p:cNvSpPr>
                <a:spLocks/>
              </p:cNvSpPr>
              <p:nvPr/>
            </p:nvSpPr>
            <p:spPr bwMode="auto">
              <a:xfrm>
                <a:off x="6707188" y="4062413"/>
                <a:ext cx="36513" cy="6350"/>
              </a:xfrm>
              <a:custGeom>
                <a:avLst/>
                <a:gdLst>
                  <a:gd name="T0" fmla="*/ 0 w 23"/>
                  <a:gd name="T1" fmla="*/ 4 h 4"/>
                  <a:gd name="T2" fmla="*/ 0 w 23"/>
                  <a:gd name="T3" fmla="*/ 3 h 4"/>
                  <a:gd name="T4" fmla="*/ 23 w 23"/>
                  <a:gd name="T5" fmla="*/ 0 h 4"/>
                  <a:gd name="T6" fmla="*/ 23 w 23"/>
                  <a:gd name="T7" fmla="*/ 1 h 4"/>
                  <a:gd name="T8" fmla="*/ 0 w 23"/>
                  <a:gd name="T9" fmla="*/ 4 h 4"/>
                </a:gdLst>
                <a:ahLst/>
                <a:cxnLst>
                  <a:cxn ang="0">
                    <a:pos x="T0" y="T1"/>
                  </a:cxn>
                  <a:cxn ang="0">
                    <a:pos x="T2" y="T3"/>
                  </a:cxn>
                  <a:cxn ang="0">
                    <a:pos x="T4" y="T5"/>
                  </a:cxn>
                  <a:cxn ang="0">
                    <a:pos x="T6" y="T7"/>
                  </a:cxn>
                  <a:cxn ang="0">
                    <a:pos x="T8" y="T9"/>
                  </a:cxn>
                </a:cxnLst>
                <a:rect l="0" t="0" r="r" b="b"/>
                <a:pathLst>
                  <a:path w="23" h="4">
                    <a:moveTo>
                      <a:pt x="0" y="4"/>
                    </a:moveTo>
                    <a:lnTo>
                      <a:pt x="0" y="3"/>
                    </a:lnTo>
                    <a:lnTo>
                      <a:pt x="23" y="0"/>
                    </a:lnTo>
                    <a:lnTo>
                      <a:pt x="23" y="1"/>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8" name="Freeform 463"/>
              <p:cNvSpPr>
                <a:spLocks/>
              </p:cNvSpPr>
              <p:nvPr/>
            </p:nvSpPr>
            <p:spPr bwMode="auto">
              <a:xfrm>
                <a:off x="6715125" y="4071938"/>
                <a:ext cx="19050" cy="6350"/>
              </a:xfrm>
              <a:custGeom>
                <a:avLst/>
                <a:gdLst>
                  <a:gd name="T0" fmla="*/ 0 w 12"/>
                  <a:gd name="T1" fmla="*/ 0 h 4"/>
                  <a:gd name="T2" fmla="*/ 2 w 12"/>
                  <a:gd name="T3" fmla="*/ 4 h 4"/>
                  <a:gd name="T4" fmla="*/ 10 w 12"/>
                  <a:gd name="T5" fmla="*/ 4 h 4"/>
                  <a:gd name="T6" fmla="*/ 12 w 12"/>
                  <a:gd name="T7" fmla="*/ 0 h 4"/>
                  <a:gd name="T8" fmla="*/ 0 w 12"/>
                  <a:gd name="T9" fmla="*/ 0 h 4"/>
                </a:gdLst>
                <a:ahLst/>
                <a:cxnLst>
                  <a:cxn ang="0">
                    <a:pos x="T0" y="T1"/>
                  </a:cxn>
                  <a:cxn ang="0">
                    <a:pos x="T2" y="T3"/>
                  </a:cxn>
                  <a:cxn ang="0">
                    <a:pos x="T4" y="T5"/>
                  </a:cxn>
                  <a:cxn ang="0">
                    <a:pos x="T6" y="T7"/>
                  </a:cxn>
                  <a:cxn ang="0">
                    <a:pos x="T8" y="T9"/>
                  </a:cxn>
                </a:cxnLst>
                <a:rect l="0" t="0" r="r" b="b"/>
                <a:pathLst>
                  <a:path w="12" h="4">
                    <a:moveTo>
                      <a:pt x="0" y="0"/>
                    </a:moveTo>
                    <a:lnTo>
                      <a:pt x="2" y="4"/>
                    </a:lnTo>
                    <a:lnTo>
                      <a:pt x="10" y="4"/>
                    </a:lnTo>
                    <a:lnTo>
                      <a:pt x="12" y="0"/>
                    </a:lnTo>
                    <a:lnTo>
                      <a:pt x="0"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9" name="Freeform 464"/>
              <p:cNvSpPr>
                <a:spLocks/>
              </p:cNvSpPr>
              <p:nvPr/>
            </p:nvSpPr>
            <p:spPr bwMode="auto">
              <a:xfrm>
                <a:off x="6715125" y="4071938"/>
                <a:ext cx="19050" cy="6350"/>
              </a:xfrm>
              <a:custGeom>
                <a:avLst/>
                <a:gdLst>
                  <a:gd name="T0" fmla="*/ 0 w 12"/>
                  <a:gd name="T1" fmla="*/ 0 h 4"/>
                  <a:gd name="T2" fmla="*/ 2 w 12"/>
                  <a:gd name="T3" fmla="*/ 4 h 4"/>
                  <a:gd name="T4" fmla="*/ 10 w 12"/>
                  <a:gd name="T5" fmla="*/ 4 h 4"/>
                  <a:gd name="T6" fmla="*/ 12 w 12"/>
                  <a:gd name="T7" fmla="*/ 0 h 4"/>
                  <a:gd name="T8" fmla="*/ 0 w 12"/>
                  <a:gd name="T9" fmla="*/ 0 h 4"/>
                </a:gdLst>
                <a:ahLst/>
                <a:cxnLst>
                  <a:cxn ang="0">
                    <a:pos x="T0" y="T1"/>
                  </a:cxn>
                  <a:cxn ang="0">
                    <a:pos x="T2" y="T3"/>
                  </a:cxn>
                  <a:cxn ang="0">
                    <a:pos x="T4" y="T5"/>
                  </a:cxn>
                  <a:cxn ang="0">
                    <a:pos x="T6" y="T7"/>
                  </a:cxn>
                  <a:cxn ang="0">
                    <a:pos x="T8" y="T9"/>
                  </a:cxn>
                </a:cxnLst>
                <a:rect l="0" t="0" r="r" b="b"/>
                <a:pathLst>
                  <a:path w="12" h="4">
                    <a:moveTo>
                      <a:pt x="0" y="0"/>
                    </a:moveTo>
                    <a:lnTo>
                      <a:pt x="2" y="4"/>
                    </a:lnTo>
                    <a:lnTo>
                      <a:pt x="10" y="4"/>
                    </a:lnTo>
                    <a:lnTo>
                      <a:pt x="1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0" name="Rectangle 465"/>
              <p:cNvSpPr>
                <a:spLocks noChangeArrowheads="1"/>
              </p:cNvSpPr>
              <p:nvPr/>
            </p:nvSpPr>
            <p:spPr bwMode="auto">
              <a:xfrm>
                <a:off x="6516688" y="3395663"/>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1" name="Rectangle 466"/>
              <p:cNvSpPr>
                <a:spLocks noChangeArrowheads="1"/>
              </p:cNvSpPr>
              <p:nvPr/>
            </p:nvSpPr>
            <p:spPr bwMode="auto">
              <a:xfrm>
                <a:off x="6550025" y="3395663"/>
                <a:ext cx="6350" cy="15875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2" name="Rectangle 467"/>
              <p:cNvSpPr>
                <a:spLocks noChangeArrowheads="1"/>
              </p:cNvSpPr>
              <p:nvPr/>
            </p:nvSpPr>
            <p:spPr bwMode="auto">
              <a:xfrm>
                <a:off x="6489700" y="3419475"/>
                <a:ext cx="936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3" name="Rectangle 468"/>
              <p:cNvSpPr>
                <a:spLocks noChangeArrowheads="1"/>
              </p:cNvSpPr>
              <p:nvPr/>
            </p:nvSpPr>
            <p:spPr bwMode="auto">
              <a:xfrm>
                <a:off x="6489700" y="3452813"/>
                <a:ext cx="936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4" name="Rectangle 469"/>
              <p:cNvSpPr>
                <a:spLocks noChangeArrowheads="1"/>
              </p:cNvSpPr>
              <p:nvPr/>
            </p:nvSpPr>
            <p:spPr bwMode="auto">
              <a:xfrm>
                <a:off x="6489700" y="3484563"/>
                <a:ext cx="936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5" name="Rectangle 470"/>
              <p:cNvSpPr>
                <a:spLocks noChangeArrowheads="1"/>
              </p:cNvSpPr>
              <p:nvPr/>
            </p:nvSpPr>
            <p:spPr bwMode="auto">
              <a:xfrm>
                <a:off x="6489700" y="3517900"/>
                <a:ext cx="93663" cy="79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6" name="Freeform 471"/>
              <p:cNvSpPr>
                <a:spLocks/>
              </p:cNvSpPr>
              <p:nvPr/>
            </p:nvSpPr>
            <p:spPr bwMode="auto">
              <a:xfrm>
                <a:off x="6562725" y="3224213"/>
                <a:ext cx="287338" cy="20637"/>
              </a:xfrm>
              <a:custGeom>
                <a:avLst/>
                <a:gdLst>
                  <a:gd name="T0" fmla="*/ 166 w 172"/>
                  <a:gd name="T1" fmla="*/ 12 h 12"/>
                  <a:gd name="T2" fmla="*/ 6 w 172"/>
                  <a:gd name="T3" fmla="*/ 12 h 12"/>
                  <a:gd name="T4" fmla="*/ 0 w 172"/>
                  <a:gd name="T5" fmla="*/ 6 h 12"/>
                  <a:gd name="T6" fmla="*/ 6 w 172"/>
                  <a:gd name="T7" fmla="*/ 0 h 12"/>
                  <a:gd name="T8" fmla="*/ 166 w 172"/>
                  <a:gd name="T9" fmla="*/ 0 h 12"/>
                  <a:gd name="T10" fmla="*/ 172 w 172"/>
                  <a:gd name="T11" fmla="*/ 6 h 12"/>
                  <a:gd name="T12" fmla="*/ 166 w 1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2" h="12">
                    <a:moveTo>
                      <a:pt x="166" y="12"/>
                    </a:moveTo>
                    <a:cubicBezTo>
                      <a:pt x="6" y="12"/>
                      <a:pt x="6" y="12"/>
                      <a:pt x="6" y="12"/>
                    </a:cubicBezTo>
                    <a:cubicBezTo>
                      <a:pt x="3" y="12"/>
                      <a:pt x="0" y="9"/>
                      <a:pt x="0" y="6"/>
                    </a:cubicBezTo>
                    <a:cubicBezTo>
                      <a:pt x="0" y="3"/>
                      <a:pt x="3" y="0"/>
                      <a:pt x="6" y="0"/>
                    </a:cubicBezTo>
                    <a:cubicBezTo>
                      <a:pt x="166" y="0"/>
                      <a:pt x="166" y="0"/>
                      <a:pt x="166" y="0"/>
                    </a:cubicBezTo>
                    <a:cubicBezTo>
                      <a:pt x="169" y="0"/>
                      <a:pt x="172" y="3"/>
                      <a:pt x="172" y="6"/>
                    </a:cubicBezTo>
                    <a:cubicBezTo>
                      <a:pt x="172" y="9"/>
                      <a:pt x="169" y="12"/>
                      <a:pt x="166" y="12"/>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7" name="Freeform 472"/>
              <p:cNvSpPr>
                <a:spLocks/>
              </p:cNvSpPr>
              <p:nvPr/>
            </p:nvSpPr>
            <p:spPr bwMode="auto">
              <a:xfrm>
                <a:off x="6562725" y="3270250"/>
                <a:ext cx="160338" cy="19050"/>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2"/>
                      <a:pt x="3" y="0"/>
                      <a:pt x="6" y="0"/>
                    </a:cubicBezTo>
                    <a:cubicBezTo>
                      <a:pt x="90" y="0"/>
                      <a:pt x="90" y="0"/>
                      <a:pt x="90" y="0"/>
                    </a:cubicBezTo>
                    <a:cubicBezTo>
                      <a:pt x="93" y="0"/>
                      <a:pt x="96" y="2"/>
                      <a:pt x="96" y="6"/>
                    </a:cubicBezTo>
                    <a:cubicBezTo>
                      <a:pt x="96" y="9"/>
                      <a:pt x="93" y="12"/>
                      <a:pt x="90" y="12"/>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8" name="Oval 473"/>
              <p:cNvSpPr>
                <a:spLocks noChangeArrowheads="1"/>
              </p:cNvSpPr>
              <p:nvPr/>
            </p:nvSpPr>
            <p:spPr bwMode="auto">
              <a:xfrm>
                <a:off x="6650038" y="3586163"/>
                <a:ext cx="47625" cy="46037"/>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9" name="Oval 474"/>
              <p:cNvSpPr>
                <a:spLocks noChangeArrowheads="1"/>
              </p:cNvSpPr>
              <p:nvPr/>
            </p:nvSpPr>
            <p:spPr bwMode="auto">
              <a:xfrm>
                <a:off x="6738938" y="3586163"/>
                <a:ext cx="46038" cy="46037"/>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0" name="Freeform 475"/>
              <p:cNvSpPr>
                <a:spLocks/>
              </p:cNvSpPr>
              <p:nvPr/>
            </p:nvSpPr>
            <p:spPr bwMode="auto">
              <a:xfrm>
                <a:off x="8478838" y="3927475"/>
                <a:ext cx="0" cy="65087"/>
              </a:xfrm>
              <a:custGeom>
                <a:avLst/>
                <a:gdLst>
                  <a:gd name="T0" fmla="*/ 39 h 39"/>
                  <a:gd name="T1" fmla="*/ 0 h 39"/>
                  <a:gd name="T2" fmla="*/ 39 h 39"/>
                </a:gdLst>
                <a:ahLst/>
                <a:cxnLst>
                  <a:cxn ang="0">
                    <a:pos x="0" y="T0"/>
                  </a:cxn>
                  <a:cxn ang="0">
                    <a:pos x="0" y="T1"/>
                  </a:cxn>
                  <a:cxn ang="0">
                    <a:pos x="0" y="T2"/>
                  </a:cxn>
                </a:cxnLst>
                <a:rect l="0" t="0" r="r" b="b"/>
                <a:pathLst>
                  <a:path h="39">
                    <a:moveTo>
                      <a:pt x="0" y="39"/>
                    </a:moveTo>
                    <a:cubicBezTo>
                      <a:pt x="0" y="0"/>
                      <a:pt x="0" y="0"/>
                      <a:pt x="0" y="0"/>
                    </a:cubicBezTo>
                    <a:cubicBezTo>
                      <a:pt x="0" y="24"/>
                      <a:pt x="0" y="39"/>
                      <a:pt x="0" y="3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1" name="Freeform 476"/>
              <p:cNvSpPr>
                <a:spLocks/>
              </p:cNvSpPr>
              <p:nvPr/>
            </p:nvSpPr>
            <p:spPr bwMode="auto">
              <a:xfrm>
                <a:off x="8470900" y="3171825"/>
                <a:ext cx="406400" cy="820737"/>
              </a:xfrm>
              <a:custGeom>
                <a:avLst/>
                <a:gdLst>
                  <a:gd name="T0" fmla="*/ 243 w 243"/>
                  <a:gd name="T1" fmla="*/ 235 h 492"/>
                  <a:gd name="T2" fmla="*/ 243 w 243"/>
                  <a:gd name="T3" fmla="*/ 0 h 492"/>
                  <a:gd name="T4" fmla="*/ 0 w 243"/>
                  <a:gd name="T5" fmla="*/ 0 h 492"/>
                  <a:gd name="T6" fmla="*/ 4 w 243"/>
                  <a:gd name="T7" fmla="*/ 88 h 492"/>
                  <a:gd name="T8" fmla="*/ 29 w 243"/>
                  <a:gd name="T9" fmla="*/ 190 h 492"/>
                  <a:gd name="T10" fmla="*/ 4 w 243"/>
                  <a:gd name="T11" fmla="*/ 453 h 492"/>
                  <a:gd name="T12" fmla="*/ 4 w 243"/>
                  <a:gd name="T13" fmla="*/ 492 h 492"/>
                  <a:gd name="T14" fmla="*/ 243 w 243"/>
                  <a:gd name="T15" fmla="*/ 492 h 492"/>
                  <a:gd name="T16" fmla="*/ 222 w 243"/>
                  <a:gd name="T17" fmla="*/ 235 h 492"/>
                  <a:gd name="T18" fmla="*/ 243 w 243"/>
                  <a:gd name="T19" fmla="*/ 235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492">
                    <a:moveTo>
                      <a:pt x="243" y="235"/>
                    </a:moveTo>
                    <a:cubicBezTo>
                      <a:pt x="243" y="0"/>
                      <a:pt x="243" y="0"/>
                      <a:pt x="243" y="0"/>
                    </a:cubicBezTo>
                    <a:cubicBezTo>
                      <a:pt x="0" y="0"/>
                      <a:pt x="0" y="0"/>
                      <a:pt x="0" y="0"/>
                    </a:cubicBezTo>
                    <a:cubicBezTo>
                      <a:pt x="4" y="88"/>
                      <a:pt x="4" y="88"/>
                      <a:pt x="4" y="88"/>
                    </a:cubicBezTo>
                    <a:cubicBezTo>
                      <a:pt x="4" y="151"/>
                      <a:pt x="29" y="190"/>
                      <a:pt x="29" y="190"/>
                    </a:cubicBezTo>
                    <a:cubicBezTo>
                      <a:pt x="5" y="239"/>
                      <a:pt x="4" y="383"/>
                      <a:pt x="4" y="453"/>
                    </a:cubicBezTo>
                    <a:cubicBezTo>
                      <a:pt x="4" y="492"/>
                      <a:pt x="4" y="492"/>
                      <a:pt x="4" y="492"/>
                    </a:cubicBezTo>
                    <a:cubicBezTo>
                      <a:pt x="243" y="492"/>
                      <a:pt x="243" y="492"/>
                      <a:pt x="243" y="492"/>
                    </a:cubicBezTo>
                    <a:cubicBezTo>
                      <a:pt x="243" y="492"/>
                      <a:pt x="241" y="274"/>
                      <a:pt x="222" y="235"/>
                    </a:cubicBezTo>
                    <a:cubicBezTo>
                      <a:pt x="243" y="235"/>
                      <a:pt x="243" y="235"/>
                      <a:pt x="243" y="235"/>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2" name="Freeform 477"/>
              <p:cNvSpPr>
                <a:spLocks/>
              </p:cNvSpPr>
              <p:nvPr/>
            </p:nvSpPr>
            <p:spPr bwMode="auto">
              <a:xfrm>
                <a:off x="8531225" y="2919413"/>
                <a:ext cx="44450" cy="93662"/>
              </a:xfrm>
              <a:custGeom>
                <a:avLst/>
                <a:gdLst>
                  <a:gd name="T0" fmla="*/ 18 w 26"/>
                  <a:gd name="T1" fmla="*/ 0 h 56"/>
                  <a:gd name="T2" fmla="*/ 0 w 26"/>
                  <a:gd name="T3" fmla="*/ 56 h 56"/>
                  <a:gd name="T4" fmla="*/ 26 w 26"/>
                  <a:gd name="T5" fmla="*/ 56 h 56"/>
                  <a:gd name="T6" fmla="*/ 18 w 26"/>
                  <a:gd name="T7" fmla="*/ 0 h 56"/>
                </a:gdLst>
                <a:ahLst/>
                <a:cxnLst>
                  <a:cxn ang="0">
                    <a:pos x="T0" y="T1"/>
                  </a:cxn>
                  <a:cxn ang="0">
                    <a:pos x="T2" y="T3"/>
                  </a:cxn>
                  <a:cxn ang="0">
                    <a:pos x="T4" y="T5"/>
                  </a:cxn>
                  <a:cxn ang="0">
                    <a:pos x="T6" y="T7"/>
                  </a:cxn>
                </a:cxnLst>
                <a:rect l="0" t="0" r="r" b="b"/>
                <a:pathLst>
                  <a:path w="26" h="56">
                    <a:moveTo>
                      <a:pt x="18" y="0"/>
                    </a:moveTo>
                    <a:cubicBezTo>
                      <a:pt x="18" y="0"/>
                      <a:pt x="3" y="25"/>
                      <a:pt x="0" y="56"/>
                    </a:cubicBezTo>
                    <a:cubicBezTo>
                      <a:pt x="26" y="56"/>
                      <a:pt x="26" y="56"/>
                      <a:pt x="26" y="56"/>
                    </a:cubicBezTo>
                    <a:lnTo>
                      <a:pt x="18"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3" name="Freeform 478"/>
              <p:cNvSpPr>
                <a:spLocks/>
              </p:cNvSpPr>
              <p:nvPr/>
            </p:nvSpPr>
            <p:spPr bwMode="auto">
              <a:xfrm>
                <a:off x="8616950" y="3041650"/>
                <a:ext cx="104775" cy="133350"/>
              </a:xfrm>
              <a:custGeom>
                <a:avLst/>
                <a:gdLst>
                  <a:gd name="T0" fmla="*/ 0 w 63"/>
                  <a:gd name="T1" fmla="*/ 8 h 80"/>
                  <a:gd name="T2" fmla="*/ 20 w 63"/>
                  <a:gd name="T3" fmla="*/ 0 h 80"/>
                  <a:gd name="T4" fmla="*/ 27 w 63"/>
                  <a:gd name="T5" fmla="*/ 17 h 80"/>
                  <a:gd name="T6" fmla="*/ 63 w 63"/>
                  <a:gd name="T7" fmla="*/ 17 h 80"/>
                  <a:gd name="T8" fmla="*/ 63 w 63"/>
                  <a:gd name="T9" fmla="*/ 80 h 80"/>
                  <a:gd name="T10" fmla="*/ 20 w 63"/>
                  <a:gd name="T11" fmla="*/ 80 h 80"/>
                  <a:gd name="T12" fmla="*/ 20 w 63"/>
                  <a:gd name="T13" fmla="*/ 43 h 80"/>
                  <a:gd name="T14" fmla="*/ 0 w 63"/>
                  <a:gd name="T15" fmla="*/ 8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80">
                    <a:moveTo>
                      <a:pt x="0" y="8"/>
                    </a:moveTo>
                    <a:cubicBezTo>
                      <a:pt x="20" y="0"/>
                      <a:pt x="20" y="0"/>
                      <a:pt x="20" y="0"/>
                    </a:cubicBezTo>
                    <a:cubicBezTo>
                      <a:pt x="27" y="17"/>
                      <a:pt x="27" y="17"/>
                      <a:pt x="27" y="17"/>
                    </a:cubicBezTo>
                    <a:cubicBezTo>
                      <a:pt x="63" y="17"/>
                      <a:pt x="63" y="17"/>
                      <a:pt x="63" y="17"/>
                    </a:cubicBezTo>
                    <a:cubicBezTo>
                      <a:pt x="63" y="80"/>
                      <a:pt x="63" y="80"/>
                      <a:pt x="63" y="80"/>
                    </a:cubicBezTo>
                    <a:cubicBezTo>
                      <a:pt x="20" y="80"/>
                      <a:pt x="20" y="80"/>
                      <a:pt x="20" y="80"/>
                    </a:cubicBezTo>
                    <a:cubicBezTo>
                      <a:pt x="20" y="43"/>
                      <a:pt x="20" y="43"/>
                      <a:pt x="20" y="43"/>
                    </a:cubicBezTo>
                    <a:cubicBezTo>
                      <a:pt x="19" y="32"/>
                      <a:pt x="16" y="13"/>
                      <a:pt x="0" y="8"/>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4" name="Oval 479"/>
              <p:cNvSpPr>
                <a:spLocks noChangeArrowheads="1"/>
              </p:cNvSpPr>
              <p:nvPr/>
            </p:nvSpPr>
            <p:spPr bwMode="auto">
              <a:xfrm>
                <a:off x="8607425" y="2952750"/>
                <a:ext cx="14288" cy="158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5" name="Freeform 480"/>
              <p:cNvSpPr>
                <a:spLocks/>
              </p:cNvSpPr>
              <p:nvPr/>
            </p:nvSpPr>
            <p:spPr bwMode="auto">
              <a:xfrm>
                <a:off x="8561388" y="2857500"/>
                <a:ext cx="193675" cy="268287"/>
              </a:xfrm>
              <a:custGeom>
                <a:avLst/>
                <a:gdLst>
                  <a:gd name="T0" fmla="*/ 116 w 116"/>
                  <a:gd name="T1" fmla="*/ 0 h 161"/>
                  <a:gd name="T2" fmla="*/ 116 w 116"/>
                  <a:gd name="T3" fmla="*/ 82 h 161"/>
                  <a:gd name="T4" fmla="*/ 116 w 116"/>
                  <a:gd name="T5" fmla="*/ 82 h 161"/>
                  <a:gd name="T6" fmla="*/ 0 w 116"/>
                  <a:gd name="T7" fmla="*/ 161 h 161"/>
                  <a:gd name="T8" fmla="*/ 0 w 116"/>
                  <a:gd name="T9" fmla="*/ 156 h 161"/>
                  <a:gd name="T10" fmla="*/ 0 w 116"/>
                  <a:gd name="T11" fmla="*/ 109 h 161"/>
                  <a:gd name="T12" fmla="*/ 0 w 116"/>
                  <a:gd name="T13" fmla="*/ 51 h 161"/>
                  <a:gd name="T14" fmla="*/ 0 w 116"/>
                  <a:gd name="T15" fmla="*/ 0 h 161"/>
                  <a:gd name="T16" fmla="*/ 116 w 116"/>
                  <a:gd name="T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61">
                    <a:moveTo>
                      <a:pt x="116" y="0"/>
                    </a:moveTo>
                    <a:cubicBezTo>
                      <a:pt x="116" y="82"/>
                      <a:pt x="116" y="82"/>
                      <a:pt x="116" y="82"/>
                    </a:cubicBezTo>
                    <a:cubicBezTo>
                      <a:pt x="116" y="82"/>
                      <a:pt x="116" y="82"/>
                      <a:pt x="116" y="82"/>
                    </a:cubicBezTo>
                    <a:cubicBezTo>
                      <a:pt x="112" y="143"/>
                      <a:pt x="62" y="161"/>
                      <a:pt x="0" y="161"/>
                    </a:cubicBezTo>
                    <a:cubicBezTo>
                      <a:pt x="0" y="156"/>
                      <a:pt x="0" y="156"/>
                      <a:pt x="0" y="156"/>
                    </a:cubicBezTo>
                    <a:cubicBezTo>
                      <a:pt x="0" y="109"/>
                      <a:pt x="0" y="109"/>
                      <a:pt x="0" y="109"/>
                    </a:cubicBezTo>
                    <a:cubicBezTo>
                      <a:pt x="0" y="51"/>
                      <a:pt x="0" y="51"/>
                      <a:pt x="0" y="51"/>
                    </a:cubicBezTo>
                    <a:cubicBezTo>
                      <a:pt x="0" y="0"/>
                      <a:pt x="0" y="0"/>
                      <a:pt x="0" y="0"/>
                    </a:cubicBezTo>
                    <a:cubicBezTo>
                      <a:pt x="116" y="0"/>
                      <a:pt x="116" y="0"/>
                      <a:pt x="116"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6" name="Oval 481"/>
              <p:cNvSpPr>
                <a:spLocks noChangeArrowheads="1"/>
              </p:cNvSpPr>
              <p:nvPr/>
            </p:nvSpPr>
            <p:spPr bwMode="auto">
              <a:xfrm>
                <a:off x="8607425" y="2952750"/>
                <a:ext cx="14288" cy="158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7" name="Freeform 482"/>
              <p:cNvSpPr>
                <a:spLocks/>
              </p:cNvSpPr>
              <p:nvPr/>
            </p:nvSpPr>
            <p:spPr bwMode="auto">
              <a:xfrm>
                <a:off x="8559800" y="2768600"/>
                <a:ext cx="258763" cy="392112"/>
              </a:xfrm>
              <a:custGeom>
                <a:avLst/>
                <a:gdLst>
                  <a:gd name="T0" fmla="*/ 143 w 155"/>
                  <a:gd name="T1" fmla="*/ 41 h 235"/>
                  <a:gd name="T2" fmla="*/ 114 w 155"/>
                  <a:gd name="T3" fmla="*/ 36 h 235"/>
                  <a:gd name="T4" fmla="*/ 106 w 155"/>
                  <a:gd name="T5" fmla="*/ 25 h 235"/>
                  <a:gd name="T6" fmla="*/ 87 w 155"/>
                  <a:gd name="T7" fmla="*/ 20 h 235"/>
                  <a:gd name="T8" fmla="*/ 65 w 155"/>
                  <a:gd name="T9" fmla="*/ 14 h 235"/>
                  <a:gd name="T10" fmla="*/ 2 w 155"/>
                  <a:gd name="T11" fmla="*/ 53 h 235"/>
                  <a:gd name="T12" fmla="*/ 2 w 155"/>
                  <a:gd name="T13" fmla="*/ 53 h 235"/>
                  <a:gd name="T14" fmla="*/ 2 w 155"/>
                  <a:gd name="T15" fmla="*/ 53 h 235"/>
                  <a:gd name="T16" fmla="*/ 49 w 155"/>
                  <a:gd name="T17" fmla="*/ 82 h 235"/>
                  <a:gd name="T18" fmla="*/ 71 w 155"/>
                  <a:gd name="T19" fmla="*/ 84 h 235"/>
                  <a:gd name="T20" fmla="*/ 71 w 155"/>
                  <a:gd name="T21" fmla="*/ 84 h 235"/>
                  <a:gd name="T22" fmla="*/ 23 w 155"/>
                  <a:gd name="T23" fmla="*/ 167 h 235"/>
                  <a:gd name="T24" fmla="*/ 1 w 155"/>
                  <a:gd name="T25" fmla="*/ 146 h 235"/>
                  <a:gd name="T26" fmla="*/ 1 w 155"/>
                  <a:gd name="T27" fmla="*/ 214 h 235"/>
                  <a:gd name="T28" fmla="*/ 82 w 155"/>
                  <a:gd name="T29" fmla="*/ 144 h 235"/>
                  <a:gd name="T30" fmla="*/ 84 w 155"/>
                  <a:gd name="T31" fmla="*/ 109 h 235"/>
                  <a:gd name="T32" fmla="*/ 112 w 155"/>
                  <a:gd name="T33" fmla="*/ 160 h 235"/>
                  <a:gd name="T34" fmla="*/ 113 w 155"/>
                  <a:gd name="T35" fmla="*/ 159 h 235"/>
                  <a:gd name="T36" fmla="*/ 127 w 155"/>
                  <a:gd name="T37" fmla="*/ 122 h 235"/>
                  <a:gd name="T38" fmla="*/ 147 w 155"/>
                  <a:gd name="T39" fmla="*/ 87 h 235"/>
                  <a:gd name="T40" fmla="*/ 143 w 155"/>
                  <a:gd name="T41"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5" h="235">
                    <a:moveTo>
                      <a:pt x="143" y="41"/>
                    </a:moveTo>
                    <a:cubicBezTo>
                      <a:pt x="135" y="35"/>
                      <a:pt x="124" y="33"/>
                      <a:pt x="114" y="36"/>
                    </a:cubicBezTo>
                    <a:cubicBezTo>
                      <a:pt x="113" y="31"/>
                      <a:pt x="110" y="27"/>
                      <a:pt x="106" y="25"/>
                    </a:cubicBezTo>
                    <a:cubicBezTo>
                      <a:pt x="100" y="21"/>
                      <a:pt x="94" y="20"/>
                      <a:pt x="87" y="20"/>
                    </a:cubicBezTo>
                    <a:cubicBezTo>
                      <a:pt x="78" y="20"/>
                      <a:pt x="73" y="19"/>
                      <a:pt x="65" y="14"/>
                    </a:cubicBezTo>
                    <a:cubicBezTo>
                      <a:pt x="40" y="0"/>
                      <a:pt x="0" y="23"/>
                      <a:pt x="2" y="53"/>
                    </a:cubicBezTo>
                    <a:cubicBezTo>
                      <a:pt x="2" y="53"/>
                      <a:pt x="2" y="53"/>
                      <a:pt x="2" y="53"/>
                    </a:cubicBezTo>
                    <a:cubicBezTo>
                      <a:pt x="2" y="53"/>
                      <a:pt x="2" y="53"/>
                      <a:pt x="2" y="53"/>
                    </a:cubicBezTo>
                    <a:cubicBezTo>
                      <a:pt x="6" y="71"/>
                      <a:pt x="33" y="81"/>
                      <a:pt x="49" y="82"/>
                    </a:cubicBezTo>
                    <a:cubicBezTo>
                      <a:pt x="59" y="83"/>
                      <a:pt x="65" y="82"/>
                      <a:pt x="71" y="84"/>
                    </a:cubicBezTo>
                    <a:cubicBezTo>
                      <a:pt x="71" y="84"/>
                      <a:pt x="71" y="84"/>
                      <a:pt x="71" y="84"/>
                    </a:cubicBezTo>
                    <a:cubicBezTo>
                      <a:pt x="71" y="84"/>
                      <a:pt x="69" y="167"/>
                      <a:pt x="23" y="167"/>
                    </a:cubicBezTo>
                    <a:cubicBezTo>
                      <a:pt x="23" y="167"/>
                      <a:pt x="20" y="146"/>
                      <a:pt x="1" y="146"/>
                    </a:cubicBezTo>
                    <a:cubicBezTo>
                      <a:pt x="1" y="214"/>
                      <a:pt x="1" y="214"/>
                      <a:pt x="1" y="214"/>
                    </a:cubicBezTo>
                    <a:cubicBezTo>
                      <a:pt x="1" y="214"/>
                      <a:pt x="82" y="235"/>
                      <a:pt x="82" y="144"/>
                    </a:cubicBezTo>
                    <a:cubicBezTo>
                      <a:pt x="84" y="109"/>
                      <a:pt x="84" y="109"/>
                      <a:pt x="84" y="109"/>
                    </a:cubicBezTo>
                    <a:cubicBezTo>
                      <a:pt x="87" y="125"/>
                      <a:pt x="93" y="148"/>
                      <a:pt x="112" y="160"/>
                    </a:cubicBezTo>
                    <a:cubicBezTo>
                      <a:pt x="113" y="159"/>
                      <a:pt x="113" y="159"/>
                      <a:pt x="113" y="159"/>
                    </a:cubicBezTo>
                    <a:cubicBezTo>
                      <a:pt x="129" y="151"/>
                      <a:pt x="125" y="137"/>
                      <a:pt x="127" y="122"/>
                    </a:cubicBezTo>
                    <a:cubicBezTo>
                      <a:pt x="128" y="111"/>
                      <a:pt x="141" y="97"/>
                      <a:pt x="147" y="87"/>
                    </a:cubicBezTo>
                    <a:cubicBezTo>
                      <a:pt x="153" y="76"/>
                      <a:pt x="155" y="51"/>
                      <a:pt x="143" y="41"/>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8" name="Freeform 483"/>
              <p:cNvSpPr>
                <a:spLocks/>
              </p:cNvSpPr>
              <p:nvPr/>
            </p:nvSpPr>
            <p:spPr bwMode="auto">
              <a:xfrm>
                <a:off x="8702675" y="3171825"/>
                <a:ext cx="504825" cy="392112"/>
              </a:xfrm>
              <a:custGeom>
                <a:avLst/>
                <a:gdLst>
                  <a:gd name="T0" fmla="*/ 0 w 303"/>
                  <a:gd name="T1" fmla="*/ 200 h 235"/>
                  <a:gd name="T2" fmla="*/ 82 w 303"/>
                  <a:gd name="T3" fmla="*/ 132 h 235"/>
                  <a:gd name="T4" fmla="*/ 105 w 303"/>
                  <a:gd name="T5" fmla="*/ 0 h 235"/>
                  <a:gd name="T6" fmla="*/ 105 w 303"/>
                  <a:gd name="T7" fmla="*/ 235 h 235"/>
                  <a:gd name="T8" fmla="*/ 65 w 303"/>
                  <a:gd name="T9" fmla="*/ 235 h 235"/>
                  <a:gd name="T10" fmla="*/ 0 w 303"/>
                  <a:gd name="T11" fmla="*/ 200 h 235"/>
                </a:gdLst>
                <a:ahLst/>
                <a:cxnLst>
                  <a:cxn ang="0">
                    <a:pos x="T0" y="T1"/>
                  </a:cxn>
                  <a:cxn ang="0">
                    <a:pos x="T2" y="T3"/>
                  </a:cxn>
                  <a:cxn ang="0">
                    <a:pos x="T4" y="T5"/>
                  </a:cxn>
                  <a:cxn ang="0">
                    <a:pos x="T6" y="T7"/>
                  </a:cxn>
                  <a:cxn ang="0">
                    <a:pos x="T8" y="T9"/>
                  </a:cxn>
                  <a:cxn ang="0">
                    <a:pos x="T10" y="T11"/>
                  </a:cxn>
                </a:cxnLst>
                <a:rect l="0" t="0" r="r" b="b"/>
                <a:pathLst>
                  <a:path w="303" h="235">
                    <a:moveTo>
                      <a:pt x="0" y="200"/>
                    </a:moveTo>
                    <a:cubicBezTo>
                      <a:pt x="82" y="132"/>
                      <a:pt x="82" y="132"/>
                      <a:pt x="82" y="132"/>
                    </a:cubicBezTo>
                    <a:cubicBezTo>
                      <a:pt x="105" y="0"/>
                      <a:pt x="105" y="0"/>
                      <a:pt x="105" y="0"/>
                    </a:cubicBezTo>
                    <a:cubicBezTo>
                      <a:pt x="105" y="0"/>
                      <a:pt x="303" y="213"/>
                      <a:pt x="105" y="235"/>
                    </a:cubicBezTo>
                    <a:cubicBezTo>
                      <a:pt x="65" y="235"/>
                      <a:pt x="65" y="235"/>
                      <a:pt x="65" y="235"/>
                    </a:cubicBezTo>
                    <a:lnTo>
                      <a:pt x="0" y="20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9" name="Freeform 484"/>
              <p:cNvSpPr>
                <a:spLocks/>
              </p:cNvSpPr>
              <p:nvPr/>
            </p:nvSpPr>
            <p:spPr bwMode="auto">
              <a:xfrm>
                <a:off x="8181975" y="3171825"/>
                <a:ext cx="368300" cy="395287"/>
              </a:xfrm>
              <a:custGeom>
                <a:avLst/>
                <a:gdLst>
                  <a:gd name="T0" fmla="*/ 4 w 220"/>
                  <a:gd name="T1" fmla="*/ 221 h 237"/>
                  <a:gd name="T2" fmla="*/ 9 w 220"/>
                  <a:gd name="T3" fmla="*/ 191 h 237"/>
                  <a:gd name="T4" fmla="*/ 173 w 220"/>
                  <a:gd name="T5" fmla="*/ 0 h 237"/>
                  <a:gd name="T6" fmla="*/ 192 w 220"/>
                  <a:gd name="T7" fmla="*/ 6 h 237"/>
                  <a:gd name="T8" fmla="*/ 220 w 220"/>
                  <a:gd name="T9" fmla="*/ 31 h 237"/>
                  <a:gd name="T10" fmla="*/ 92 w 220"/>
                  <a:gd name="T11" fmla="*/ 180 h 237"/>
                  <a:gd name="T12" fmla="*/ 155 w 220"/>
                  <a:gd name="T13" fmla="*/ 180 h 237"/>
                  <a:gd name="T14" fmla="*/ 156 w 220"/>
                  <a:gd name="T15" fmla="*/ 236 h 237"/>
                  <a:gd name="T16" fmla="*/ 30 w 220"/>
                  <a:gd name="T17" fmla="*/ 237 h 237"/>
                  <a:gd name="T18" fmla="*/ 30 w 220"/>
                  <a:gd name="T19" fmla="*/ 237 h 237"/>
                  <a:gd name="T20" fmla="*/ 4 w 220"/>
                  <a:gd name="T21" fmla="*/ 22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237">
                    <a:moveTo>
                      <a:pt x="4" y="221"/>
                    </a:moveTo>
                    <a:cubicBezTo>
                      <a:pt x="0" y="211"/>
                      <a:pt x="1" y="199"/>
                      <a:pt x="9" y="191"/>
                    </a:cubicBezTo>
                    <a:cubicBezTo>
                      <a:pt x="173" y="0"/>
                      <a:pt x="173" y="0"/>
                      <a:pt x="173" y="0"/>
                    </a:cubicBezTo>
                    <a:cubicBezTo>
                      <a:pt x="192" y="6"/>
                      <a:pt x="192" y="6"/>
                      <a:pt x="192" y="6"/>
                    </a:cubicBezTo>
                    <a:cubicBezTo>
                      <a:pt x="220" y="31"/>
                      <a:pt x="220" y="31"/>
                      <a:pt x="220" y="31"/>
                    </a:cubicBezTo>
                    <a:cubicBezTo>
                      <a:pt x="92" y="180"/>
                      <a:pt x="92" y="180"/>
                      <a:pt x="92" y="180"/>
                    </a:cubicBezTo>
                    <a:cubicBezTo>
                      <a:pt x="155" y="180"/>
                      <a:pt x="155" y="180"/>
                      <a:pt x="155" y="180"/>
                    </a:cubicBezTo>
                    <a:cubicBezTo>
                      <a:pt x="156" y="236"/>
                      <a:pt x="156" y="236"/>
                      <a:pt x="156" y="236"/>
                    </a:cubicBezTo>
                    <a:cubicBezTo>
                      <a:pt x="30" y="237"/>
                      <a:pt x="30" y="237"/>
                      <a:pt x="30" y="237"/>
                    </a:cubicBezTo>
                    <a:cubicBezTo>
                      <a:pt x="30" y="237"/>
                      <a:pt x="30" y="237"/>
                      <a:pt x="30" y="237"/>
                    </a:cubicBezTo>
                    <a:cubicBezTo>
                      <a:pt x="19" y="237"/>
                      <a:pt x="9" y="231"/>
                      <a:pt x="4" y="22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0" name="Freeform 485"/>
              <p:cNvSpPr>
                <a:spLocks/>
              </p:cNvSpPr>
              <p:nvPr/>
            </p:nvSpPr>
            <p:spPr bwMode="auto">
              <a:xfrm>
                <a:off x="8437563" y="3471863"/>
                <a:ext cx="96838" cy="93662"/>
              </a:xfrm>
              <a:custGeom>
                <a:avLst/>
                <a:gdLst>
                  <a:gd name="T0" fmla="*/ 30 w 58"/>
                  <a:gd name="T1" fmla="*/ 0 h 56"/>
                  <a:gd name="T2" fmla="*/ 58 w 58"/>
                  <a:gd name="T3" fmla="*/ 28 h 56"/>
                  <a:gd name="T4" fmla="*/ 30 w 58"/>
                  <a:gd name="T5" fmla="*/ 56 h 56"/>
                  <a:gd name="T6" fmla="*/ 0 w 58"/>
                  <a:gd name="T7" fmla="*/ 56 h 56"/>
                  <a:gd name="T8" fmla="*/ 0 w 58"/>
                  <a:gd name="T9" fmla="*/ 0 h 56"/>
                  <a:gd name="T10" fmla="*/ 30 w 58"/>
                  <a:gd name="T11" fmla="*/ 0 h 56"/>
                </a:gdLst>
                <a:ahLst/>
                <a:cxnLst>
                  <a:cxn ang="0">
                    <a:pos x="T0" y="T1"/>
                  </a:cxn>
                  <a:cxn ang="0">
                    <a:pos x="T2" y="T3"/>
                  </a:cxn>
                  <a:cxn ang="0">
                    <a:pos x="T4" y="T5"/>
                  </a:cxn>
                  <a:cxn ang="0">
                    <a:pos x="T6" y="T7"/>
                  </a:cxn>
                  <a:cxn ang="0">
                    <a:pos x="T8" y="T9"/>
                  </a:cxn>
                  <a:cxn ang="0">
                    <a:pos x="T10" y="T11"/>
                  </a:cxn>
                </a:cxnLst>
                <a:rect l="0" t="0" r="r" b="b"/>
                <a:pathLst>
                  <a:path w="58" h="56">
                    <a:moveTo>
                      <a:pt x="30" y="0"/>
                    </a:moveTo>
                    <a:cubicBezTo>
                      <a:pt x="45" y="0"/>
                      <a:pt x="58" y="13"/>
                      <a:pt x="58" y="28"/>
                    </a:cubicBezTo>
                    <a:cubicBezTo>
                      <a:pt x="58" y="44"/>
                      <a:pt x="45" y="56"/>
                      <a:pt x="30" y="56"/>
                    </a:cubicBezTo>
                    <a:cubicBezTo>
                      <a:pt x="30" y="56"/>
                      <a:pt x="0" y="56"/>
                      <a:pt x="0" y="56"/>
                    </a:cubicBezTo>
                    <a:cubicBezTo>
                      <a:pt x="0" y="0"/>
                      <a:pt x="0" y="0"/>
                      <a:pt x="0" y="0"/>
                    </a:cubicBezTo>
                    <a:cubicBezTo>
                      <a:pt x="0" y="0"/>
                      <a:pt x="29" y="0"/>
                      <a:pt x="30" y="0"/>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1" name="Freeform 486"/>
              <p:cNvSpPr>
                <a:spLocks/>
              </p:cNvSpPr>
              <p:nvPr/>
            </p:nvSpPr>
            <p:spPr bwMode="auto">
              <a:xfrm>
                <a:off x="8475663" y="3236913"/>
                <a:ext cx="312738" cy="330200"/>
              </a:xfrm>
              <a:custGeom>
                <a:avLst/>
                <a:gdLst>
                  <a:gd name="T0" fmla="*/ 0 w 197"/>
                  <a:gd name="T1" fmla="*/ 144 h 208"/>
                  <a:gd name="T2" fmla="*/ 118 w 197"/>
                  <a:gd name="T3" fmla="*/ 208 h 208"/>
                  <a:gd name="T4" fmla="*/ 197 w 197"/>
                  <a:gd name="T5" fmla="*/ 65 h 208"/>
                  <a:gd name="T6" fmla="*/ 78 w 197"/>
                  <a:gd name="T7" fmla="*/ 0 h 208"/>
                  <a:gd name="T8" fmla="*/ 0 w 197"/>
                  <a:gd name="T9" fmla="*/ 144 h 208"/>
                </a:gdLst>
                <a:ahLst/>
                <a:cxnLst>
                  <a:cxn ang="0">
                    <a:pos x="T0" y="T1"/>
                  </a:cxn>
                  <a:cxn ang="0">
                    <a:pos x="T2" y="T3"/>
                  </a:cxn>
                  <a:cxn ang="0">
                    <a:pos x="T4" y="T5"/>
                  </a:cxn>
                  <a:cxn ang="0">
                    <a:pos x="T6" y="T7"/>
                  </a:cxn>
                  <a:cxn ang="0">
                    <a:pos x="T8" y="T9"/>
                  </a:cxn>
                </a:cxnLst>
                <a:rect l="0" t="0" r="r" b="b"/>
                <a:pathLst>
                  <a:path w="197" h="208">
                    <a:moveTo>
                      <a:pt x="0" y="144"/>
                    </a:moveTo>
                    <a:lnTo>
                      <a:pt x="118" y="208"/>
                    </a:lnTo>
                    <a:lnTo>
                      <a:pt x="197" y="65"/>
                    </a:lnTo>
                    <a:lnTo>
                      <a:pt x="78" y="0"/>
                    </a:lnTo>
                    <a:lnTo>
                      <a:pt x="0"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2" name="Freeform 487"/>
              <p:cNvSpPr>
                <a:spLocks/>
              </p:cNvSpPr>
              <p:nvPr/>
            </p:nvSpPr>
            <p:spPr bwMode="auto">
              <a:xfrm>
                <a:off x="8621713" y="3384550"/>
                <a:ext cx="122238" cy="120650"/>
              </a:xfrm>
              <a:custGeom>
                <a:avLst/>
                <a:gdLst>
                  <a:gd name="T0" fmla="*/ 19 w 73"/>
                  <a:gd name="T1" fmla="*/ 57 h 72"/>
                  <a:gd name="T2" fmla="*/ 7 w 73"/>
                  <a:gd name="T3" fmla="*/ 19 h 72"/>
                  <a:gd name="T4" fmla="*/ 46 w 73"/>
                  <a:gd name="T5" fmla="*/ 7 h 72"/>
                  <a:gd name="T6" fmla="*/ 73 w 73"/>
                  <a:gd name="T7" fmla="*/ 22 h 72"/>
                  <a:gd name="T8" fmla="*/ 45 w 73"/>
                  <a:gd name="T9" fmla="*/ 72 h 72"/>
                  <a:gd name="T10" fmla="*/ 19 w 73"/>
                  <a:gd name="T11" fmla="*/ 57 h 72"/>
                </a:gdLst>
                <a:ahLst/>
                <a:cxnLst>
                  <a:cxn ang="0">
                    <a:pos x="T0" y="T1"/>
                  </a:cxn>
                  <a:cxn ang="0">
                    <a:pos x="T2" y="T3"/>
                  </a:cxn>
                  <a:cxn ang="0">
                    <a:pos x="T4" y="T5"/>
                  </a:cxn>
                  <a:cxn ang="0">
                    <a:pos x="T6" y="T7"/>
                  </a:cxn>
                  <a:cxn ang="0">
                    <a:pos x="T8" y="T9"/>
                  </a:cxn>
                  <a:cxn ang="0">
                    <a:pos x="T10" y="T11"/>
                  </a:cxn>
                </a:cxnLst>
                <a:rect l="0" t="0" r="r" b="b"/>
                <a:pathLst>
                  <a:path w="73" h="72">
                    <a:moveTo>
                      <a:pt x="19" y="57"/>
                    </a:moveTo>
                    <a:cubicBezTo>
                      <a:pt x="5" y="50"/>
                      <a:pt x="0" y="32"/>
                      <a:pt x="7" y="19"/>
                    </a:cubicBezTo>
                    <a:cubicBezTo>
                      <a:pt x="15" y="5"/>
                      <a:pt x="32" y="0"/>
                      <a:pt x="46" y="7"/>
                    </a:cubicBezTo>
                    <a:cubicBezTo>
                      <a:pt x="73" y="22"/>
                      <a:pt x="73" y="22"/>
                      <a:pt x="73" y="22"/>
                    </a:cubicBezTo>
                    <a:cubicBezTo>
                      <a:pt x="45" y="72"/>
                      <a:pt x="45" y="72"/>
                      <a:pt x="45" y="72"/>
                    </a:cubicBezTo>
                    <a:lnTo>
                      <a:pt x="19" y="57"/>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3" name="Freeform 488"/>
              <p:cNvSpPr>
                <a:spLocks/>
              </p:cNvSpPr>
              <p:nvPr/>
            </p:nvSpPr>
            <p:spPr bwMode="auto">
              <a:xfrm>
                <a:off x="8696325" y="2922588"/>
                <a:ext cx="44450" cy="87312"/>
              </a:xfrm>
              <a:custGeom>
                <a:avLst/>
                <a:gdLst>
                  <a:gd name="T0" fmla="*/ 0 w 26"/>
                  <a:gd name="T1" fmla="*/ 0 h 52"/>
                  <a:gd name="T2" fmla="*/ 26 w 26"/>
                  <a:gd name="T3" fmla="*/ 26 h 52"/>
                  <a:gd name="T4" fmla="*/ 0 w 26"/>
                  <a:gd name="T5" fmla="*/ 52 h 52"/>
                  <a:gd name="T6" fmla="*/ 0 w 26"/>
                  <a:gd name="T7" fmla="*/ 0 h 52"/>
                </a:gdLst>
                <a:ahLst/>
                <a:cxnLst>
                  <a:cxn ang="0">
                    <a:pos x="T0" y="T1"/>
                  </a:cxn>
                  <a:cxn ang="0">
                    <a:pos x="T2" y="T3"/>
                  </a:cxn>
                  <a:cxn ang="0">
                    <a:pos x="T4" y="T5"/>
                  </a:cxn>
                  <a:cxn ang="0">
                    <a:pos x="T6" y="T7"/>
                  </a:cxn>
                </a:cxnLst>
                <a:rect l="0" t="0" r="r" b="b"/>
                <a:pathLst>
                  <a:path w="26" h="52">
                    <a:moveTo>
                      <a:pt x="0" y="0"/>
                    </a:moveTo>
                    <a:cubicBezTo>
                      <a:pt x="15" y="0"/>
                      <a:pt x="26" y="12"/>
                      <a:pt x="26" y="26"/>
                    </a:cubicBezTo>
                    <a:cubicBezTo>
                      <a:pt x="26" y="41"/>
                      <a:pt x="15" y="52"/>
                      <a:pt x="0" y="52"/>
                    </a:cubicBezTo>
                    <a:cubicBezTo>
                      <a:pt x="0" y="0"/>
                      <a:pt x="0" y="0"/>
                      <a:pt x="0"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4" name="Freeform 489"/>
              <p:cNvSpPr>
                <a:spLocks/>
              </p:cNvSpPr>
              <p:nvPr/>
            </p:nvSpPr>
            <p:spPr bwMode="auto">
              <a:xfrm>
                <a:off x="8696325" y="2944813"/>
                <a:ext cx="22225" cy="42862"/>
              </a:xfrm>
              <a:custGeom>
                <a:avLst/>
                <a:gdLst>
                  <a:gd name="T0" fmla="*/ 0 w 13"/>
                  <a:gd name="T1" fmla="*/ 0 h 26"/>
                  <a:gd name="T2" fmla="*/ 0 w 13"/>
                  <a:gd name="T3" fmla="*/ 26 h 26"/>
                  <a:gd name="T4" fmla="*/ 13 w 13"/>
                  <a:gd name="T5" fmla="*/ 13 h 26"/>
                  <a:gd name="T6" fmla="*/ 0 w 13"/>
                  <a:gd name="T7" fmla="*/ 0 h 26"/>
                </a:gdLst>
                <a:ahLst/>
                <a:cxnLst>
                  <a:cxn ang="0">
                    <a:pos x="T0" y="T1"/>
                  </a:cxn>
                  <a:cxn ang="0">
                    <a:pos x="T2" y="T3"/>
                  </a:cxn>
                  <a:cxn ang="0">
                    <a:pos x="T4" y="T5"/>
                  </a:cxn>
                  <a:cxn ang="0">
                    <a:pos x="T6" y="T7"/>
                  </a:cxn>
                </a:cxnLst>
                <a:rect l="0" t="0" r="r" b="b"/>
                <a:pathLst>
                  <a:path w="13" h="26">
                    <a:moveTo>
                      <a:pt x="0" y="0"/>
                    </a:moveTo>
                    <a:cubicBezTo>
                      <a:pt x="0" y="26"/>
                      <a:pt x="0" y="26"/>
                      <a:pt x="0" y="26"/>
                    </a:cubicBezTo>
                    <a:cubicBezTo>
                      <a:pt x="7" y="26"/>
                      <a:pt x="13" y="20"/>
                      <a:pt x="13" y="13"/>
                    </a:cubicBezTo>
                    <a:cubicBezTo>
                      <a:pt x="13" y="6"/>
                      <a:pt x="7" y="0"/>
                      <a:pt x="0"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5" name="Rectangle 490"/>
              <p:cNvSpPr>
                <a:spLocks noChangeArrowheads="1"/>
              </p:cNvSpPr>
              <p:nvPr/>
            </p:nvSpPr>
            <p:spPr bwMode="auto">
              <a:xfrm>
                <a:off x="7507288" y="3619500"/>
                <a:ext cx="250825"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6" name="Rectangle 491"/>
              <p:cNvSpPr>
                <a:spLocks noChangeArrowheads="1"/>
              </p:cNvSpPr>
              <p:nvPr/>
            </p:nvSpPr>
            <p:spPr bwMode="auto">
              <a:xfrm>
                <a:off x="7507288" y="3619500"/>
                <a:ext cx="25082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7" name="Freeform 492"/>
              <p:cNvSpPr>
                <a:spLocks/>
              </p:cNvSpPr>
              <p:nvPr/>
            </p:nvSpPr>
            <p:spPr bwMode="auto">
              <a:xfrm>
                <a:off x="7507288" y="3619500"/>
                <a:ext cx="250825" cy="325437"/>
              </a:xfrm>
              <a:custGeom>
                <a:avLst/>
                <a:gdLst>
                  <a:gd name="T0" fmla="*/ 158 w 158"/>
                  <a:gd name="T1" fmla="*/ 0 h 205"/>
                  <a:gd name="T2" fmla="*/ 88 w 158"/>
                  <a:gd name="T3" fmla="*/ 0 h 205"/>
                  <a:gd name="T4" fmla="*/ 0 w 158"/>
                  <a:gd name="T5" fmla="*/ 0 h 205"/>
                  <a:gd name="T6" fmla="*/ 0 w 158"/>
                  <a:gd name="T7" fmla="*/ 19 h 205"/>
                  <a:gd name="T8" fmla="*/ 139 w 158"/>
                  <a:gd name="T9" fmla="*/ 19 h 205"/>
                  <a:gd name="T10" fmla="*/ 139 w 158"/>
                  <a:gd name="T11" fmla="*/ 205 h 205"/>
                  <a:gd name="T12" fmla="*/ 158 w 158"/>
                  <a:gd name="T13" fmla="*/ 205 h 205"/>
                  <a:gd name="T14" fmla="*/ 158 w 158"/>
                  <a:gd name="T15" fmla="*/ 0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205">
                    <a:moveTo>
                      <a:pt x="158" y="0"/>
                    </a:moveTo>
                    <a:lnTo>
                      <a:pt x="88" y="0"/>
                    </a:lnTo>
                    <a:lnTo>
                      <a:pt x="0" y="0"/>
                    </a:lnTo>
                    <a:lnTo>
                      <a:pt x="0" y="19"/>
                    </a:lnTo>
                    <a:lnTo>
                      <a:pt x="139" y="19"/>
                    </a:lnTo>
                    <a:lnTo>
                      <a:pt x="139" y="205"/>
                    </a:lnTo>
                    <a:lnTo>
                      <a:pt x="158" y="205"/>
                    </a:lnTo>
                    <a:lnTo>
                      <a:pt x="158" y="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8" name="Freeform 493"/>
              <p:cNvSpPr>
                <a:spLocks/>
              </p:cNvSpPr>
              <p:nvPr/>
            </p:nvSpPr>
            <p:spPr bwMode="auto">
              <a:xfrm>
                <a:off x="7507288" y="3619500"/>
                <a:ext cx="250825" cy="325437"/>
              </a:xfrm>
              <a:custGeom>
                <a:avLst/>
                <a:gdLst>
                  <a:gd name="T0" fmla="*/ 158 w 158"/>
                  <a:gd name="T1" fmla="*/ 0 h 205"/>
                  <a:gd name="T2" fmla="*/ 88 w 158"/>
                  <a:gd name="T3" fmla="*/ 0 h 205"/>
                  <a:gd name="T4" fmla="*/ 0 w 158"/>
                  <a:gd name="T5" fmla="*/ 0 h 205"/>
                  <a:gd name="T6" fmla="*/ 0 w 158"/>
                  <a:gd name="T7" fmla="*/ 19 h 205"/>
                  <a:gd name="T8" fmla="*/ 139 w 158"/>
                  <a:gd name="T9" fmla="*/ 19 h 205"/>
                  <a:gd name="T10" fmla="*/ 139 w 158"/>
                  <a:gd name="T11" fmla="*/ 205 h 205"/>
                  <a:gd name="T12" fmla="*/ 158 w 158"/>
                  <a:gd name="T13" fmla="*/ 205 h 205"/>
                  <a:gd name="T14" fmla="*/ 158 w 158"/>
                  <a:gd name="T15" fmla="*/ 0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205">
                    <a:moveTo>
                      <a:pt x="158" y="0"/>
                    </a:moveTo>
                    <a:lnTo>
                      <a:pt x="88" y="0"/>
                    </a:lnTo>
                    <a:lnTo>
                      <a:pt x="0" y="0"/>
                    </a:lnTo>
                    <a:lnTo>
                      <a:pt x="0" y="19"/>
                    </a:lnTo>
                    <a:lnTo>
                      <a:pt x="139" y="19"/>
                    </a:lnTo>
                    <a:lnTo>
                      <a:pt x="139" y="205"/>
                    </a:lnTo>
                    <a:lnTo>
                      <a:pt x="158" y="205"/>
                    </a:lnTo>
                    <a:lnTo>
                      <a:pt x="1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9" name="Rectangle 494"/>
              <p:cNvSpPr>
                <a:spLocks noChangeArrowheads="1"/>
              </p:cNvSpPr>
              <p:nvPr/>
            </p:nvSpPr>
            <p:spPr bwMode="auto">
              <a:xfrm>
                <a:off x="7478713" y="3649663"/>
                <a:ext cx="249238"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0" name="Rectangle 495"/>
              <p:cNvSpPr>
                <a:spLocks noChangeArrowheads="1"/>
              </p:cNvSpPr>
              <p:nvPr/>
            </p:nvSpPr>
            <p:spPr bwMode="auto">
              <a:xfrm>
                <a:off x="7478713" y="3649663"/>
                <a:ext cx="2492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1" name="Rectangle 496"/>
              <p:cNvSpPr>
                <a:spLocks noChangeArrowheads="1"/>
              </p:cNvSpPr>
              <p:nvPr/>
            </p:nvSpPr>
            <p:spPr bwMode="auto">
              <a:xfrm>
                <a:off x="7478713" y="3649663"/>
                <a:ext cx="249238"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2" name="Rectangle 497"/>
              <p:cNvSpPr>
                <a:spLocks noChangeArrowheads="1"/>
              </p:cNvSpPr>
              <p:nvPr/>
            </p:nvSpPr>
            <p:spPr bwMode="auto">
              <a:xfrm>
                <a:off x="7478713" y="3649663"/>
                <a:ext cx="2492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3" name="Rectangle 498"/>
              <p:cNvSpPr>
                <a:spLocks noChangeArrowheads="1"/>
              </p:cNvSpPr>
              <p:nvPr/>
            </p:nvSpPr>
            <p:spPr bwMode="auto">
              <a:xfrm>
                <a:off x="7478713" y="3649663"/>
                <a:ext cx="249238" cy="32543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4" name="Rectangle 499"/>
              <p:cNvSpPr>
                <a:spLocks noChangeArrowheads="1"/>
              </p:cNvSpPr>
              <p:nvPr/>
            </p:nvSpPr>
            <p:spPr bwMode="auto">
              <a:xfrm>
                <a:off x="7478713" y="3649663"/>
                <a:ext cx="2492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5" name="Rectangle 500"/>
              <p:cNvSpPr>
                <a:spLocks noChangeArrowheads="1"/>
              </p:cNvSpPr>
              <p:nvPr/>
            </p:nvSpPr>
            <p:spPr bwMode="auto">
              <a:xfrm>
                <a:off x="7450138" y="3676650"/>
                <a:ext cx="249238"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6" name="Rectangle 501"/>
              <p:cNvSpPr>
                <a:spLocks noChangeArrowheads="1"/>
              </p:cNvSpPr>
              <p:nvPr/>
            </p:nvSpPr>
            <p:spPr bwMode="auto">
              <a:xfrm>
                <a:off x="7893050" y="3619500"/>
                <a:ext cx="252413"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7" name="Rectangle 502"/>
              <p:cNvSpPr>
                <a:spLocks noChangeArrowheads="1"/>
              </p:cNvSpPr>
              <p:nvPr/>
            </p:nvSpPr>
            <p:spPr bwMode="auto">
              <a:xfrm>
                <a:off x="7893050" y="3619500"/>
                <a:ext cx="252413"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8" name="Freeform 503"/>
              <p:cNvSpPr>
                <a:spLocks/>
              </p:cNvSpPr>
              <p:nvPr/>
            </p:nvSpPr>
            <p:spPr bwMode="auto">
              <a:xfrm>
                <a:off x="7893050" y="3619500"/>
                <a:ext cx="252413" cy="325437"/>
              </a:xfrm>
              <a:custGeom>
                <a:avLst/>
                <a:gdLst>
                  <a:gd name="T0" fmla="*/ 159 w 159"/>
                  <a:gd name="T1" fmla="*/ 0 h 205"/>
                  <a:gd name="T2" fmla="*/ 81 w 159"/>
                  <a:gd name="T3" fmla="*/ 0 h 205"/>
                  <a:gd name="T4" fmla="*/ 0 w 159"/>
                  <a:gd name="T5" fmla="*/ 0 h 205"/>
                  <a:gd name="T6" fmla="*/ 0 w 159"/>
                  <a:gd name="T7" fmla="*/ 19 h 205"/>
                  <a:gd name="T8" fmla="*/ 140 w 159"/>
                  <a:gd name="T9" fmla="*/ 19 h 205"/>
                  <a:gd name="T10" fmla="*/ 140 w 159"/>
                  <a:gd name="T11" fmla="*/ 205 h 205"/>
                  <a:gd name="T12" fmla="*/ 159 w 159"/>
                  <a:gd name="T13" fmla="*/ 205 h 205"/>
                  <a:gd name="T14" fmla="*/ 159 w 159"/>
                  <a:gd name="T15" fmla="*/ 0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205">
                    <a:moveTo>
                      <a:pt x="159" y="0"/>
                    </a:moveTo>
                    <a:lnTo>
                      <a:pt x="81" y="0"/>
                    </a:lnTo>
                    <a:lnTo>
                      <a:pt x="0" y="0"/>
                    </a:lnTo>
                    <a:lnTo>
                      <a:pt x="0" y="19"/>
                    </a:lnTo>
                    <a:lnTo>
                      <a:pt x="140" y="19"/>
                    </a:lnTo>
                    <a:lnTo>
                      <a:pt x="140" y="205"/>
                    </a:lnTo>
                    <a:lnTo>
                      <a:pt x="159" y="205"/>
                    </a:lnTo>
                    <a:lnTo>
                      <a:pt x="159" y="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9" name="Freeform 504"/>
              <p:cNvSpPr>
                <a:spLocks/>
              </p:cNvSpPr>
              <p:nvPr/>
            </p:nvSpPr>
            <p:spPr bwMode="auto">
              <a:xfrm>
                <a:off x="7893050" y="3619500"/>
                <a:ext cx="252413" cy="325437"/>
              </a:xfrm>
              <a:custGeom>
                <a:avLst/>
                <a:gdLst>
                  <a:gd name="T0" fmla="*/ 159 w 159"/>
                  <a:gd name="T1" fmla="*/ 0 h 205"/>
                  <a:gd name="T2" fmla="*/ 81 w 159"/>
                  <a:gd name="T3" fmla="*/ 0 h 205"/>
                  <a:gd name="T4" fmla="*/ 0 w 159"/>
                  <a:gd name="T5" fmla="*/ 0 h 205"/>
                  <a:gd name="T6" fmla="*/ 0 w 159"/>
                  <a:gd name="T7" fmla="*/ 19 h 205"/>
                  <a:gd name="T8" fmla="*/ 140 w 159"/>
                  <a:gd name="T9" fmla="*/ 19 h 205"/>
                  <a:gd name="T10" fmla="*/ 140 w 159"/>
                  <a:gd name="T11" fmla="*/ 205 h 205"/>
                  <a:gd name="T12" fmla="*/ 159 w 159"/>
                  <a:gd name="T13" fmla="*/ 205 h 205"/>
                  <a:gd name="T14" fmla="*/ 159 w 159"/>
                  <a:gd name="T15" fmla="*/ 0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205">
                    <a:moveTo>
                      <a:pt x="159" y="0"/>
                    </a:moveTo>
                    <a:lnTo>
                      <a:pt x="81" y="0"/>
                    </a:lnTo>
                    <a:lnTo>
                      <a:pt x="0" y="0"/>
                    </a:lnTo>
                    <a:lnTo>
                      <a:pt x="0" y="19"/>
                    </a:lnTo>
                    <a:lnTo>
                      <a:pt x="140" y="19"/>
                    </a:lnTo>
                    <a:lnTo>
                      <a:pt x="140" y="205"/>
                    </a:lnTo>
                    <a:lnTo>
                      <a:pt x="159" y="205"/>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0" name="Rectangle 505"/>
              <p:cNvSpPr>
                <a:spLocks noChangeArrowheads="1"/>
              </p:cNvSpPr>
              <p:nvPr/>
            </p:nvSpPr>
            <p:spPr bwMode="auto">
              <a:xfrm>
                <a:off x="7864475" y="3649663"/>
                <a:ext cx="250825"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1" name="Rectangle 506"/>
              <p:cNvSpPr>
                <a:spLocks noChangeArrowheads="1"/>
              </p:cNvSpPr>
              <p:nvPr/>
            </p:nvSpPr>
            <p:spPr bwMode="auto">
              <a:xfrm>
                <a:off x="7864475" y="3649663"/>
                <a:ext cx="25082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2" name="Rectangle 507"/>
              <p:cNvSpPr>
                <a:spLocks noChangeArrowheads="1"/>
              </p:cNvSpPr>
              <p:nvPr/>
            </p:nvSpPr>
            <p:spPr bwMode="auto">
              <a:xfrm>
                <a:off x="7864475" y="3649663"/>
                <a:ext cx="250825"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3" name="Rectangle 508"/>
              <p:cNvSpPr>
                <a:spLocks noChangeArrowheads="1"/>
              </p:cNvSpPr>
              <p:nvPr/>
            </p:nvSpPr>
            <p:spPr bwMode="auto">
              <a:xfrm>
                <a:off x="7864475" y="3649663"/>
                <a:ext cx="25082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4" name="Rectangle 509"/>
              <p:cNvSpPr>
                <a:spLocks noChangeArrowheads="1"/>
              </p:cNvSpPr>
              <p:nvPr/>
            </p:nvSpPr>
            <p:spPr bwMode="auto">
              <a:xfrm>
                <a:off x="7864475" y="3649663"/>
                <a:ext cx="250825" cy="32543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5" name="Rectangle 510"/>
              <p:cNvSpPr>
                <a:spLocks noChangeArrowheads="1"/>
              </p:cNvSpPr>
              <p:nvPr/>
            </p:nvSpPr>
            <p:spPr bwMode="auto">
              <a:xfrm>
                <a:off x="7864475" y="3649663"/>
                <a:ext cx="25082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6" name="Rectangle 511"/>
              <p:cNvSpPr>
                <a:spLocks noChangeArrowheads="1"/>
              </p:cNvSpPr>
              <p:nvPr/>
            </p:nvSpPr>
            <p:spPr bwMode="auto">
              <a:xfrm>
                <a:off x="7835900" y="3676650"/>
                <a:ext cx="250825" cy="325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7" name="Freeform 512"/>
              <p:cNvSpPr>
                <a:spLocks/>
              </p:cNvSpPr>
              <p:nvPr/>
            </p:nvSpPr>
            <p:spPr bwMode="auto">
              <a:xfrm>
                <a:off x="7499350" y="3833813"/>
                <a:ext cx="63500" cy="63500"/>
              </a:xfrm>
              <a:custGeom>
                <a:avLst/>
                <a:gdLst>
                  <a:gd name="T0" fmla="*/ 40 w 40"/>
                  <a:gd name="T1" fmla="*/ 32 h 40"/>
                  <a:gd name="T2" fmla="*/ 32 w 40"/>
                  <a:gd name="T3" fmla="*/ 40 h 40"/>
                  <a:gd name="T4" fmla="*/ 0 w 40"/>
                  <a:gd name="T5" fmla="*/ 8 h 40"/>
                  <a:gd name="T6" fmla="*/ 9 w 40"/>
                  <a:gd name="T7" fmla="*/ 0 h 40"/>
                  <a:gd name="T8" fmla="*/ 40 w 40"/>
                  <a:gd name="T9" fmla="*/ 32 h 40"/>
                </a:gdLst>
                <a:ahLst/>
                <a:cxnLst>
                  <a:cxn ang="0">
                    <a:pos x="T0" y="T1"/>
                  </a:cxn>
                  <a:cxn ang="0">
                    <a:pos x="T2" y="T3"/>
                  </a:cxn>
                  <a:cxn ang="0">
                    <a:pos x="T4" y="T5"/>
                  </a:cxn>
                  <a:cxn ang="0">
                    <a:pos x="T6" y="T7"/>
                  </a:cxn>
                  <a:cxn ang="0">
                    <a:pos x="T8" y="T9"/>
                  </a:cxn>
                </a:cxnLst>
                <a:rect l="0" t="0" r="r" b="b"/>
                <a:pathLst>
                  <a:path w="40" h="40">
                    <a:moveTo>
                      <a:pt x="40" y="32"/>
                    </a:moveTo>
                    <a:lnTo>
                      <a:pt x="32" y="40"/>
                    </a:lnTo>
                    <a:lnTo>
                      <a:pt x="0" y="8"/>
                    </a:lnTo>
                    <a:lnTo>
                      <a:pt x="9" y="0"/>
                    </a:lnTo>
                    <a:lnTo>
                      <a:pt x="40"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8" name="Freeform 513"/>
              <p:cNvSpPr>
                <a:spLocks/>
              </p:cNvSpPr>
              <p:nvPr/>
            </p:nvSpPr>
            <p:spPr bwMode="auto">
              <a:xfrm>
                <a:off x="7537450" y="3784600"/>
                <a:ext cx="112713" cy="112712"/>
              </a:xfrm>
              <a:custGeom>
                <a:avLst/>
                <a:gdLst>
                  <a:gd name="T0" fmla="*/ 64 w 71"/>
                  <a:gd name="T1" fmla="*/ 0 h 71"/>
                  <a:gd name="T2" fmla="*/ 0 w 71"/>
                  <a:gd name="T3" fmla="*/ 63 h 71"/>
                  <a:gd name="T4" fmla="*/ 8 w 71"/>
                  <a:gd name="T5" fmla="*/ 71 h 71"/>
                  <a:gd name="T6" fmla="*/ 71 w 71"/>
                  <a:gd name="T7" fmla="*/ 7 h 71"/>
                  <a:gd name="T8" fmla="*/ 64 w 71"/>
                  <a:gd name="T9" fmla="*/ 0 h 71"/>
                </a:gdLst>
                <a:ahLst/>
                <a:cxnLst>
                  <a:cxn ang="0">
                    <a:pos x="T0" y="T1"/>
                  </a:cxn>
                  <a:cxn ang="0">
                    <a:pos x="T2" y="T3"/>
                  </a:cxn>
                  <a:cxn ang="0">
                    <a:pos x="T4" y="T5"/>
                  </a:cxn>
                  <a:cxn ang="0">
                    <a:pos x="T6" y="T7"/>
                  </a:cxn>
                  <a:cxn ang="0">
                    <a:pos x="T8" y="T9"/>
                  </a:cxn>
                </a:cxnLst>
                <a:rect l="0" t="0" r="r" b="b"/>
                <a:pathLst>
                  <a:path w="71" h="71">
                    <a:moveTo>
                      <a:pt x="64" y="0"/>
                    </a:moveTo>
                    <a:lnTo>
                      <a:pt x="0" y="63"/>
                    </a:lnTo>
                    <a:lnTo>
                      <a:pt x="8" y="71"/>
                    </a:lnTo>
                    <a:lnTo>
                      <a:pt x="71" y="7"/>
                    </a:lnTo>
                    <a:lnTo>
                      <a:pt x="6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9" name="Freeform 514"/>
              <p:cNvSpPr>
                <a:spLocks/>
              </p:cNvSpPr>
              <p:nvPr/>
            </p:nvSpPr>
            <p:spPr bwMode="auto">
              <a:xfrm>
                <a:off x="7499350" y="3833813"/>
                <a:ext cx="63500" cy="63500"/>
              </a:xfrm>
              <a:custGeom>
                <a:avLst/>
                <a:gdLst>
                  <a:gd name="T0" fmla="*/ 40 w 40"/>
                  <a:gd name="T1" fmla="*/ 32 h 40"/>
                  <a:gd name="T2" fmla="*/ 32 w 40"/>
                  <a:gd name="T3" fmla="*/ 40 h 40"/>
                  <a:gd name="T4" fmla="*/ 0 w 40"/>
                  <a:gd name="T5" fmla="*/ 8 h 40"/>
                  <a:gd name="T6" fmla="*/ 9 w 40"/>
                  <a:gd name="T7" fmla="*/ 0 h 40"/>
                  <a:gd name="T8" fmla="*/ 40 w 40"/>
                  <a:gd name="T9" fmla="*/ 32 h 40"/>
                </a:gdLst>
                <a:ahLst/>
                <a:cxnLst>
                  <a:cxn ang="0">
                    <a:pos x="T0" y="T1"/>
                  </a:cxn>
                  <a:cxn ang="0">
                    <a:pos x="T2" y="T3"/>
                  </a:cxn>
                  <a:cxn ang="0">
                    <a:pos x="T4" y="T5"/>
                  </a:cxn>
                  <a:cxn ang="0">
                    <a:pos x="T6" y="T7"/>
                  </a:cxn>
                  <a:cxn ang="0">
                    <a:pos x="T8" y="T9"/>
                  </a:cxn>
                </a:cxnLst>
                <a:rect l="0" t="0" r="r" b="b"/>
                <a:pathLst>
                  <a:path w="40" h="40">
                    <a:moveTo>
                      <a:pt x="40" y="32"/>
                    </a:moveTo>
                    <a:lnTo>
                      <a:pt x="32" y="40"/>
                    </a:lnTo>
                    <a:lnTo>
                      <a:pt x="0" y="8"/>
                    </a:lnTo>
                    <a:lnTo>
                      <a:pt x="9" y="0"/>
                    </a:lnTo>
                    <a:lnTo>
                      <a:pt x="40" y="32"/>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0" name="Freeform 515"/>
              <p:cNvSpPr>
                <a:spLocks/>
              </p:cNvSpPr>
              <p:nvPr/>
            </p:nvSpPr>
            <p:spPr bwMode="auto">
              <a:xfrm>
                <a:off x="7537450" y="3784600"/>
                <a:ext cx="112713" cy="112712"/>
              </a:xfrm>
              <a:custGeom>
                <a:avLst/>
                <a:gdLst>
                  <a:gd name="T0" fmla="*/ 64 w 71"/>
                  <a:gd name="T1" fmla="*/ 0 h 71"/>
                  <a:gd name="T2" fmla="*/ 0 w 71"/>
                  <a:gd name="T3" fmla="*/ 63 h 71"/>
                  <a:gd name="T4" fmla="*/ 8 w 71"/>
                  <a:gd name="T5" fmla="*/ 71 h 71"/>
                  <a:gd name="T6" fmla="*/ 71 w 71"/>
                  <a:gd name="T7" fmla="*/ 7 h 71"/>
                  <a:gd name="T8" fmla="*/ 64 w 71"/>
                  <a:gd name="T9" fmla="*/ 0 h 71"/>
                </a:gdLst>
                <a:ahLst/>
                <a:cxnLst>
                  <a:cxn ang="0">
                    <a:pos x="T0" y="T1"/>
                  </a:cxn>
                  <a:cxn ang="0">
                    <a:pos x="T2" y="T3"/>
                  </a:cxn>
                  <a:cxn ang="0">
                    <a:pos x="T4" y="T5"/>
                  </a:cxn>
                  <a:cxn ang="0">
                    <a:pos x="T6" y="T7"/>
                  </a:cxn>
                  <a:cxn ang="0">
                    <a:pos x="T8" y="T9"/>
                  </a:cxn>
                </a:cxnLst>
                <a:rect l="0" t="0" r="r" b="b"/>
                <a:pathLst>
                  <a:path w="71" h="71">
                    <a:moveTo>
                      <a:pt x="64" y="0"/>
                    </a:moveTo>
                    <a:lnTo>
                      <a:pt x="0" y="63"/>
                    </a:lnTo>
                    <a:lnTo>
                      <a:pt x="8" y="71"/>
                    </a:lnTo>
                    <a:lnTo>
                      <a:pt x="71" y="7"/>
                    </a:lnTo>
                    <a:lnTo>
                      <a:pt x="64"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1" name="Freeform 516"/>
              <p:cNvSpPr>
                <a:spLocks/>
              </p:cNvSpPr>
              <p:nvPr/>
            </p:nvSpPr>
            <p:spPr bwMode="auto">
              <a:xfrm>
                <a:off x="7885113" y="3833813"/>
                <a:ext cx="63500" cy="63500"/>
              </a:xfrm>
              <a:custGeom>
                <a:avLst/>
                <a:gdLst>
                  <a:gd name="T0" fmla="*/ 40 w 40"/>
                  <a:gd name="T1" fmla="*/ 32 h 40"/>
                  <a:gd name="T2" fmla="*/ 32 w 40"/>
                  <a:gd name="T3" fmla="*/ 40 h 40"/>
                  <a:gd name="T4" fmla="*/ 0 w 40"/>
                  <a:gd name="T5" fmla="*/ 8 h 40"/>
                  <a:gd name="T6" fmla="*/ 9 w 40"/>
                  <a:gd name="T7" fmla="*/ 0 h 40"/>
                  <a:gd name="T8" fmla="*/ 40 w 40"/>
                  <a:gd name="T9" fmla="*/ 32 h 40"/>
                </a:gdLst>
                <a:ahLst/>
                <a:cxnLst>
                  <a:cxn ang="0">
                    <a:pos x="T0" y="T1"/>
                  </a:cxn>
                  <a:cxn ang="0">
                    <a:pos x="T2" y="T3"/>
                  </a:cxn>
                  <a:cxn ang="0">
                    <a:pos x="T4" y="T5"/>
                  </a:cxn>
                  <a:cxn ang="0">
                    <a:pos x="T6" y="T7"/>
                  </a:cxn>
                  <a:cxn ang="0">
                    <a:pos x="T8" y="T9"/>
                  </a:cxn>
                </a:cxnLst>
                <a:rect l="0" t="0" r="r" b="b"/>
                <a:pathLst>
                  <a:path w="40" h="40">
                    <a:moveTo>
                      <a:pt x="40" y="32"/>
                    </a:moveTo>
                    <a:lnTo>
                      <a:pt x="32" y="40"/>
                    </a:lnTo>
                    <a:lnTo>
                      <a:pt x="0" y="8"/>
                    </a:lnTo>
                    <a:lnTo>
                      <a:pt x="9" y="0"/>
                    </a:lnTo>
                    <a:lnTo>
                      <a:pt x="40" y="32"/>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2" name="Freeform 517"/>
              <p:cNvSpPr>
                <a:spLocks/>
              </p:cNvSpPr>
              <p:nvPr/>
            </p:nvSpPr>
            <p:spPr bwMode="auto">
              <a:xfrm>
                <a:off x="7923213" y="3784600"/>
                <a:ext cx="114300" cy="112712"/>
              </a:xfrm>
              <a:custGeom>
                <a:avLst/>
                <a:gdLst>
                  <a:gd name="T0" fmla="*/ 64 w 72"/>
                  <a:gd name="T1" fmla="*/ 0 h 71"/>
                  <a:gd name="T2" fmla="*/ 0 w 72"/>
                  <a:gd name="T3" fmla="*/ 63 h 71"/>
                  <a:gd name="T4" fmla="*/ 8 w 72"/>
                  <a:gd name="T5" fmla="*/ 71 h 71"/>
                  <a:gd name="T6" fmla="*/ 72 w 72"/>
                  <a:gd name="T7" fmla="*/ 7 h 71"/>
                  <a:gd name="T8" fmla="*/ 64 w 72"/>
                  <a:gd name="T9" fmla="*/ 0 h 71"/>
                </a:gdLst>
                <a:ahLst/>
                <a:cxnLst>
                  <a:cxn ang="0">
                    <a:pos x="T0" y="T1"/>
                  </a:cxn>
                  <a:cxn ang="0">
                    <a:pos x="T2" y="T3"/>
                  </a:cxn>
                  <a:cxn ang="0">
                    <a:pos x="T4" y="T5"/>
                  </a:cxn>
                  <a:cxn ang="0">
                    <a:pos x="T6" y="T7"/>
                  </a:cxn>
                  <a:cxn ang="0">
                    <a:pos x="T8" y="T9"/>
                  </a:cxn>
                </a:cxnLst>
                <a:rect l="0" t="0" r="r" b="b"/>
                <a:pathLst>
                  <a:path w="72" h="71">
                    <a:moveTo>
                      <a:pt x="64" y="0"/>
                    </a:moveTo>
                    <a:lnTo>
                      <a:pt x="0" y="63"/>
                    </a:lnTo>
                    <a:lnTo>
                      <a:pt x="8" y="71"/>
                    </a:lnTo>
                    <a:lnTo>
                      <a:pt x="72" y="7"/>
                    </a:lnTo>
                    <a:lnTo>
                      <a:pt x="64"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3" name="Freeform 518"/>
              <p:cNvSpPr>
                <a:spLocks/>
              </p:cNvSpPr>
              <p:nvPr/>
            </p:nvSpPr>
            <p:spPr bwMode="auto">
              <a:xfrm>
                <a:off x="6400800" y="3754438"/>
                <a:ext cx="668338" cy="1036637"/>
              </a:xfrm>
              <a:custGeom>
                <a:avLst/>
                <a:gdLst>
                  <a:gd name="T0" fmla="*/ 0 w 400"/>
                  <a:gd name="T1" fmla="*/ 0 h 621"/>
                  <a:gd name="T2" fmla="*/ 0 w 400"/>
                  <a:gd name="T3" fmla="*/ 621 h 621"/>
                  <a:gd name="T4" fmla="*/ 400 w 400"/>
                  <a:gd name="T5" fmla="*/ 621 h 621"/>
                  <a:gd name="T6" fmla="*/ 400 w 400"/>
                  <a:gd name="T7" fmla="*/ 348 h 621"/>
                  <a:gd name="T8" fmla="*/ 319 w 400"/>
                  <a:gd name="T9" fmla="*/ 277 h 621"/>
                  <a:gd name="T10" fmla="*/ 319 w 400"/>
                  <a:gd name="T11" fmla="*/ 292 h 621"/>
                  <a:gd name="T12" fmla="*/ 288 w 400"/>
                  <a:gd name="T13" fmla="*/ 292 h 621"/>
                  <a:gd name="T14" fmla="*/ 291 w 400"/>
                  <a:gd name="T15" fmla="*/ 454 h 621"/>
                  <a:gd name="T16" fmla="*/ 73 w 400"/>
                  <a:gd name="T17" fmla="*/ 454 h 621"/>
                  <a:gd name="T18" fmla="*/ 73 w 400"/>
                  <a:gd name="T19" fmla="*/ 146 h 621"/>
                  <a:gd name="T20" fmla="*/ 92 w 400"/>
                  <a:gd name="T21" fmla="*/ 80 h 621"/>
                  <a:gd name="T22" fmla="*/ 0 w 400"/>
                  <a:gd name="T23" fmla="*/ 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 h="621">
                    <a:moveTo>
                      <a:pt x="0" y="0"/>
                    </a:moveTo>
                    <a:cubicBezTo>
                      <a:pt x="0" y="621"/>
                      <a:pt x="0" y="621"/>
                      <a:pt x="0" y="621"/>
                    </a:cubicBezTo>
                    <a:cubicBezTo>
                      <a:pt x="400" y="621"/>
                      <a:pt x="400" y="621"/>
                      <a:pt x="400" y="621"/>
                    </a:cubicBezTo>
                    <a:cubicBezTo>
                      <a:pt x="400" y="348"/>
                      <a:pt x="400" y="348"/>
                      <a:pt x="400" y="348"/>
                    </a:cubicBezTo>
                    <a:cubicBezTo>
                      <a:pt x="319" y="277"/>
                      <a:pt x="319" y="277"/>
                      <a:pt x="319" y="277"/>
                    </a:cubicBezTo>
                    <a:cubicBezTo>
                      <a:pt x="319" y="292"/>
                      <a:pt x="319" y="292"/>
                      <a:pt x="319" y="292"/>
                    </a:cubicBezTo>
                    <a:cubicBezTo>
                      <a:pt x="288" y="292"/>
                      <a:pt x="288" y="292"/>
                      <a:pt x="288" y="292"/>
                    </a:cubicBezTo>
                    <a:cubicBezTo>
                      <a:pt x="291" y="454"/>
                      <a:pt x="291" y="454"/>
                      <a:pt x="291" y="454"/>
                    </a:cubicBezTo>
                    <a:cubicBezTo>
                      <a:pt x="73" y="454"/>
                      <a:pt x="73" y="454"/>
                      <a:pt x="73" y="454"/>
                    </a:cubicBezTo>
                    <a:cubicBezTo>
                      <a:pt x="73" y="146"/>
                      <a:pt x="73" y="146"/>
                      <a:pt x="73" y="146"/>
                    </a:cubicBezTo>
                    <a:cubicBezTo>
                      <a:pt x="73" y="122"/>
                      <a:pt x="80" y="99"/>
                      <a:pt x="92" y="80"/>
                    </a:cubicBezTo>
                    <a:cubicBezTo>
                      <a:pt x="0" y="0"/>
                      <a:pt x="0" y="0"/>
                      <a:pt x="0" y="0"/>
                    </a:cubicBezTo>
                  </a:path>
                </a:pathLst>
              </a:cu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4" name="Freeform 519"/>
              <p:cNvSpPr>
                <a:spLocks noEditPoints="1"/>
              </p:cNvSpPr>
              <p:nvPr/>
            </p:nvSpPr>
            <p:spPr bwMode="auto">
              <a:xfrm>
                <a:off x="6523038" y="3887788"/>
                <a:ext cx="411163" cy="623887"/>
              </a:xfrm>
              <a:custGeom>
                <a:avLst/>
                <a:gdLst>
                  <a:gd name="T0" fmla="*/ 192 w 246"/>
                  <a:gd name="T1" fmla="*/ 171 h 374"/>
                  <a:gd name="T2" fmla="*/ 185 w 246"/>
                  <a:gd name="T3" fmla="*/ 164 h 374"/>
                  <a:gd name="T4" fmla="*/ 192 w 246"/>
                  <a:gd name="T5" fmla="*/ 156 h 374"/>
                  <a:gd name="T6" fmla="*/ 200 w 246"/>
                  <a:gd name="T7" fmla="*/ 164 h 374"/>
                  <a:gd name="T8" fmla="*/ 192 w 246"/>
                  <a:gd name="T9" fmla="*/ 171 h 374"/>
                  <a:gd name="T10" fmla="*/ 19 w 246"/>
                  <a:gd name="T11" fmla="*/ 0 h 374"/>
                  <a:gd name="T12" fmla="*/ 0 w 246"/>
                  <a:gd name="T13" fmla="*/ 66 h 374"/>
                  <a:gd name="T14" fmla="*/ 0 w 246"/>
                  <a:gd name="T15" fmla="*/ 374 h 374"/>
                  <a:gd name="T16" fmla="*/ 218 w 246"/>
                  <a:gd name="T17" fmla="*/ 374 h 374"/>
                  <a:gd name="T18" fmla="*/ 215 w 246"/>
                  <a:gd name="T19" fmla="*/ 212 h 374"/>
                  <a:gd name="T20" fmla="*/ 246 w 246"/>
                  <a:gd name="T21" fmla="*/ 212 h 374"/>
                  <a:gd name="T22" fmla="*/ 246 w 246"/>
                  <a:gd name="T23" fmla="*/ 197 h 374"/>
                  <a:gd name="T24" fmla="*/ 180 w 246"/>
                  <a:gd name="T25" fmla="*/ 139 h 374"/>
                  <a:gd name="T26" fmla="*/ 123 w 246"/>
                  <a:gd name="T27" fmla="*/ 158 h 374"/>
                  <a:gd name="T28" fmla="*/ 30 w 246"/>
                  <a:gd name="T29" fmla="*/ 65 h 374"/>
                  <a:gd name="T30" fmla="*/ 42 w 246"/>
                  <a:gd name="T31" fmla="*/ 19 h 374"/>
                  <a:gd name="T32" fmla="*/ 19 w 246"/>
                  <a:gd name="T33"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6" h="374">
                    <a:moveTo>
                      <a:pt x="192" y="171"/>
                    </a:moveTo>
                    <a:cubicBezTo>
                      <a:pt x="188" y="171"/>
                      <a:pt x="185" y="168"/>
                      <a:pt x="185" y="164"/>
                    </a:cubicBezTo>
                    <a:cubicBezTo>
                      <a:pt x="185" y="159"/>
                      <a:pt x="188" y="156"/>
                      <a:pt x="192" y="156"/>
                    </a:cubicBezTo>
                    <a:cubicBezTo>
                      <a:pt x="197" y="156"/>
                      <a:pt x="200" y="159"/>
                      <a:pt x="200" y="164"/>
                    </a:cubicBezTo>
                    <a:cubicBezTo>
                      <a:pt x="200" y="168"/>
                      <a:pt x="197" y="171"/>
                      <a:pt x="192" y="171"/>
                    </a:cubicBezTo>
                    <a:moveTo>
                      <a:pt x="19" y="0"/>
                    </a:moveTo>
                    <a:cubicBezTo>
                      <a:pt x="7" y="19"/>
                      <a:pt x="0" y="42"/>
                      <a:pt x="0" y="66"/>
                    </a:cubicBezTo>
                    <a:cubicBezTo>
                      <a:pt x="0" y="374"/>
                      <a:pt x="0" y="374"/>
                      <a:pt x="0" y="374"/>
                    </a:cubicBezTo>
                    <a:cubicBezTo>
                      <a:pt x="218" y="374"/>
                      <a:pt x="218" y="374"/>
                      <a:pt x="218" y="374"/>
                    </a:cubicBezTo>
                    <a:cubicBezTo>
                      <a:pt x="215" y="212"/>
                      <a:pt x="215" y="212"/>
                      <a:pt x="215" y="212"/>
                    </a:cubicBezTo>
                    <a:cubicBezTo>
                      <a:pt x="246" y="212"/>
                      <a:pt x="246" y="212"/>
                      <a:pt x="246" y="212"/>
                    </a:cubicBezTo>
                    <a:cubicBezTo>
                      <a:pt x="246" y="197"/>
                      <a:pt x="246" y="197"/>
                      <a:pt x="246" y="197"/>
                    </a:cubicBezTo>
                    <a:cubicBezTo>
                      <a:pt x="180" y="139"/>
                      <a:pt x="180" y="139"/>
                      <a:pt x="180" y="139"/>
                    </a:cubicBezTo>
                    <a:cubicBezTo>
                      <a:pt x="164" y="151"/>
                      <a:pt x="144" y="158"/>
                      <a:pt x="123" y="158"/>
                    </a:cubicBezTo>
                    <a:cubicBezTo>
                      <a:pt x="72" y="158"/>
                      <a:pt x="30" y="117"/>
                      <a:pt x="30" y="65"/>
                    </a:cubicBezTo>
                    <a:cubicBezTo>
                      <a:pt x="30" y="48"/>
                      <a:pt x="34" y="33"/>
                      <a:pt x="42" y="19"/>
                    </a:cubicBezTo>
                    <a:cubicBezTo>
                      <a:pt x="19" y="0"/>
                      <a:pt x="19" y="0"/>
                      <a:pt x="19"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5" name="Oval 520"/>
              <p:cNvSpPr>
                <a:spLocks noChangeArrowheads="1"/>
              </p:cNvSpPr>
              <p:nvPr/>
            </p:nvSpPr>
            <p:spPr bwMode="auto">
              <a:xfrm>
                <a:off x="6831013" y="4148138"/>
                <a:ext cx="25400" cy="25400"/>
              </a:xfrm>
              <a:prstGeom prst="ellipse">
                <a:avLst/>
              </a:pr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6" name="Freeform 521"/>
              <p:cNvSpPr>
                <a:spLocks/>
              </p:cNvSpPr>
              <p:nvPr/>
            </p:nvSpPr>
            <p:spPr bwMode="auto">
              <a:xfrm>
                <a:off x="6572250" y="3919538"/>
                <a:ext cx="250825" cy="231775"/>
              </a:xfrm>
              <a:custGeom>
                <a:avLst/>
                <a:gdLst>
                  <a:gd name="T0" fmla="*/ 12 w 150"/>
                  <a:gd name="T1" fmla="*/ 0 h 139"/>
                  <a:gd name="T2" fmla="*/ 0 w 150"/>
                  <a:gd name="T3" fmla="*/ 46 h 139"/>
                  <a:gd name="T4" fmla="*/ 93 w 150"/>
                  <a:gd name="T5" fmla="*/ 139 h 139"/>
                  <a:gd name="T6" fmla="*/ 150 w 150"/>
                  <a:gd name="T7" fmla="*/ 120 h 139"/>
                  <a:gd name="T8" fmla="*/ 102 w 150"/>
                  <a:gd name="T9" fmla="*/ 79 h 139"/>
                  <a:gd name="T10" fmla="*/ 102 w 150"/>
                  <a:gd name="T11" fmla="*/ 82 h 139"/>
                  <a:gd name="T12" fmla="*/ 102 w 150"/>
                  <a:gd name="T13" fmla="*/ 83 h 139"/>
                  <a:gd name="T14" fmla="*/ 102 w 150"/>
                  <a:gd name="T15" fmla="*/ 83 h 139"/>
                  <a:gd name="T16" fmla="*/ 102 w 150"/>
                  <a:gd name="T17" fmla="*/ 86 h 139"/>
                  <a:gd name="T18" fmla="*/ 102 w 150"/>
                  <a:gd name="T19" fmla="*/ 87 h 139"/>
                  <a:gd name="T20" fmla="*/ 102 w 150"/>
                  <a:gd name="T21" fmla="*/ 87 h 139"/>
                  <a:gd name="T22" fmla="*/ 102 w 150"/>
                  <a:gd name="T23" fmla="*/ 91 h 139"/>
                  <a:gd name="T24" fmla="*/ 97 w 150"/>
                  <a:gd name="T25" fmla="*/ 91 h 139"/>
                  <a:gd name="T26" fmla="*/ 95 w 150"/>
                  <a:gd name="T27" fmla="*/ 95 h 139"/>
                  <a:gd name="T28" fmla="*/ 87 w 150"/>
                  <a:gd name="T29" fmla="*/ 95 h 139"/>
                  <a:gd name="T30" fmla="*/ 85 w 150"/>
                  <a:gd name="T31" fmla="*/ 91 h 139"/>
                  <a:gd name="T32" fmla="*/ 97 w 150"/>
                  <a:gd name="T33" fmla="*/ 91 h 139"/>
                  <a:gd name="T34" fmla="*/ 80 w 150"/>
                  <a:gd name="T35" fmla="*/ 91 h 139"/>
                  <a:gd name="T36" fmla="*/ 80 w 150"/>
                  <a:gd name="T37" fmla="*/ 90 h 139"/>
                  <a:gd name="T38" fmla="*/ 80 w 150"/>
                  <a:gd name="T39" fmla="*/ 89 h 139"/>
                  <a:gd name="T40" fmla="*/ 80 w 150"/>
                  <a:gd name="T41" fmla="*/ 89 h 139"/>
                  <a:gd name="T42" fmla="*/ 80 w 150"/>
                  <a:gd name="T43" fmla="*/ 86 h 139"/>
                  <a:gd name="T44" fmla="*/ 80 w 150"/>
                  <a:gd name="T45" fmla="*/ 85 h 139"/>
                  <a:gd name="T46" fmla="*/ 80 w 150"/>
                  <a:gd name="T47" fmla="*/ 85 h 139"/>
                  <a:gd name="T48" fmla="*/ 80 w 150"/>
                  <a:gd name="T49" fmla="*/ 81 h 139"/>
                  <a:gd name="T50" fmla="*/ 80 w 150"/>
                  <a:gd name="T51" fmla="*/ 81 h 139"/>
                  <a:gd name="T52" fmla="*/ 80 w 150"/>
                  <a:gd name="T53" fmla="*/ 81 h 139"/>
                  <a:gd name="T54" fmla="*/ 80 w 150"/>
                  <a:gd name="T55" fmla="*/ 76 h 139"/>
                  <a:gd name="T56" fmla="*/ 80 w 150"/>
                  <a:gd name="T57" fmla="*/ 76 h 139"/>
                  <a:gd name="T58" fmla="*/ 73 w 150"/>
                  <a:gd name="T59" fmla="*/ 54 h 139"/>
                  <a:gd name="T60" fmla="*/ 66 w 150"/>
                  <a:gd name="T61" fmla="*/ 47 h 139"/>
                  <a:gd name="T62" fmla="*/ 12 w 150"/>
                  <a:gd name="T6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0" h="139">
                    <a:moveTo>
                      <a:pt x="12" y="0"/>
                    </a:moveTo>
                    <a:cubicBezTo>
                      <a:pt x="4" y="14"/>
                      <a:pt x="0" y="29"/>
                      <a:pt x="0" y="46"/>
                    </a:cubicBezTo>
                    <a:cubicBezTo>
                      <a:pt x="0" y="98"/>
                      <a:pt x="42" y="139"/>
                      <a:pt x="93" y="139"/>
                    </a:cubicBezTo>
                    <a:cubicBezTo>
                      <a:pt x="114" y="139"/>
                      <a:pt x="134" y="132"/>
                      <a:pt x="150" y="120"/>
                    </a:cubicBezTo>
                    <a:cubicBezTo>
                      <a:pt x="102" y="79"/>
                      <a:pt x="102" y="79"/>
                      <a:pt x="102" y="79"/>
                    </a:cubicBezTo>
                    <a:cubicBezTo>
                      <a:pt x="102" y="82"/>
                      <a:pt x="102" y="82"/>
                      <a:pt x="102" y="82"/>
                    </a:cubicBezTo>
                    <a:cubicBezTo>
                      <a:pt x="102" y="83"/>
                      <a:pt x="102" y="83"/>
                      <a:pt x="102" y="83"/>
                    </a:cubicBezTo>
                    <a:cubicBezTo>
                      <a:pt x="102" y="83"/>
                      <a:pt x="102" y="83"/>
                      <a:pt x="102" y="83"/>
                    </a:cubicBezTo>
                    <a:cubicBezTo>
                      <a:pt x="102" y="86"/>
                      <a:pt x="102" y="86"/>
                      <a:pt x="102" y="86"/>
                    </a:cubicBezTo>
                    <a:cubicBezTo>
                      <a:pt x="102" y="87"/>
                      <a:pt x="102" y="87"/>
                      <a:pt x="102" y="87"/>
                    </a:cubicBezTo>
                    <a:cubicBezTo>
                      <a:pt x="102" y="87"/>
                      <a:pt x="102" y="87"/>
                      <a:pt x="102" y="87"/>
                    </a:cubicBezTo>
                    <a:cubicBezTo>
                      <a:pt x="102" y="91"/>
                      <a:pt x="102" y="91"/>
                      <a:pt x="102" y="91"/>
                    </a:cubicBezTo>
                    <a:cubicBezTo>
                      <a:pt x="97" y="91"/>
                      <a:pt x="97" y="91"/>
                      <a:pt x="97" y="91"/>
                    </a:cubicBezTo>
                    <a:cubicBezTo>
                      <a:pt x="95" y="95"/>
                      <a:pt x="95" y="95"/>
                      <a:pt x="95" y="95"/>
                    </a:cubicBezTo>
                    <a:cubicBezTo>
                      <a:pt x="87" y="95"/>
                      <a:pt x="87" y="95"/>
                      <a:pt x="87" y="95"/>
                    </a:cubicBezTo>
                    <a:cubicBezTo>
                      <a:pt x="85" y="91"/>
                      <a:pt x="85" y="91"/>
                      <a:pt x="85" y="91"/>
                    </a:cubicBezTo>
                    <a:cubicBezTo>
                      <a:pt x="97" y="91"/>
                      <a:pt x="97" y="91"/>
                      <a:pt x="97" y="91"/>
                    </a:cubicBezTo>
                    <a:cubicBezTo>
                      <a:pt x="80" y="91"/>
                      <a:pt x="80" y="91"/>
                      <a:pt x="80" y="91"/>
                    </a:cubicBezTo>
                    <a:cubicBezTo>
                      <a:pt x="80" y="90"/>
                      <a:pt x="80" y="90"/>
                      <a:pt x="80" y="90"/>
                    </a:cubicBezTo>
                    <a:cubicBezTo>
                      <a:pt x="80" y="89"/>
                      <a:pt x="80" y="89"/>
                      <a:pt x="80" y="89"/>
                    </a:cubicBezTo>
                    <a:cubicBezTo>
                      <a:pt x="80" y="89"/>
                      <a:pt x="80" y="89"/>
                      <a:pt x="80" y="89"/>
                    </a:cubicBezTo>
                    <a:cubicBezTo>
                      <a:pt x="80" y="86"/>
                      <a:pt x="80" y="86"/>
                      <a:pt x="80" y="86"/>
                    </a:cubicBezTo>
                    <a:cubicBezTo>
                      <a:pt x="80" y="85"/>
                      <a:pt x="80" y="85"/>
                      <a:pt x="80" y="85"/>
                    </a:cubicBezTo>
                    <a:cubicBezTo>
                      <a:pt x="80" y="85"/>
                      <a:pt x="80" y="85"/>
                      <a:pt x="80" y="85"/>
                    </a:cubicBezTo>
                    <a:cubicBezTo>
                      <a:pt x="80" y="81"/>
                      <a:pt x="80" y="81"/>
                      <a:pt x="80" y="81"/>
                    </a:cubicBezTo>
                    <a:cubicBezTo>
                      <a:pt x="80" y="81"/>
                      <a:pt x="80" y="81"/>
                      <a:pt x="80" y="81"/>
                    </a:cubicBezTo>
                    <a:cubicBezTo>
                      <a:pt x="80" y="81"/>
                      <a:pt x="80" y="81"/>
                      <a:pt x="80" y="81"/>
                    </a:cubicBezTo>
                    <a:cubicBezTo>
                      <a:pt x="80" y="76"/>
                      <a:pt x="80" y="76"/>
                      <a:pt x="80" y="76"/>
                    </a:cubicBezTo>
                    <a:cubicBezTo>
                      <a:pt x="80" y="76"/>
                      <a:pt x="80" y="76"/>
                      <a:pt x="80" y="76"/>
                    </a:cubicBezTo>
                    <a:cubicBezTo>
                      <a:pt x="80" y="59"/>
                      <a:pt x="73" y="54"/>
                      <a:pt x="73" y="54"/>
                    </a:cubicBezTo>
                    <a:cubicBezTo>
                      <a:pt x="70" y="52"/>
                      <a:pt x="68" y="50"/>
                      <a:pt x="66" y="47"/>
                    </a:cubicBezTo>
                    <a:cubicBezTo>
                      <a:pt x="12" y="0"/>
                      <a:pt x="12" y="0"/>
                      <a:pt x="12" y="0"/>
                    </a:cubicBezTo>
                  </a:path>
                </a:pathLst>
              </a:cu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7" name="Freeform 522"/>
              <p:cNvSpPr>
                <a:spLocks/>
              </p:cNvSpPr>
              <p:nvPr/>
            </p:nvSpPr>
            <p:spPr bwMode="auto">
              <a:xfrm>
                <a:off x="6683375" y="3997325"/>
                <a:ext cx="53975" cy="49212"/>
              </a:xfrm>
              <a:custGeom>
                <a:avLst/>
                <a:gdLst>
                  <a:gd name="T0" fmla="*/ 0 w 32"/>
                  <a:gd name="T1" fmla="*/ 0 h 29"/>
                  <a:gd name="T2" fmla="*/ 7 w 32"/>
                  <a:gd name="T3" fmla="*/ 7 h 29"/>
                  <a:gd name="T4" fmla="*/ 14 w 32"/>
                  <a:gd name="T5" fmla="*/ 29 h 29"/>
                  <a:gd name="T6" fmla="*/ 14 w 32"/>
                  <a:gd name="T7" fmla="*/ 29 h 29"/>
                  <a:gd name="T8" fmla="*/ 14 w 32"/>
                  <a:gd name="T9" fmla="*/ 29 h 29"/>
                  <a:gd name="T10" fmla="*/ 32 w 32"/>
                  <a:gd name="T11" fmla="*/ 29 h 29"/>
                  <a:gd name="T12" fmla="*/ 0 w 32"/>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2" h="29">
                    <a:moveTo>
                      <a:pt x="0" y="0"/>
                    </a:moveTo>
                    <a:cubicBezTo>
                      <a:pt x="2" y="3"/>
                      <a:pt x="4" y="5"/>
                      <a:pt x="7" y="7"/>
                    </a:cubicBezTo>
                    <a:cubicBezTo>
                      <a:pt x="7" y="7"/>
                      <a:pt x="14" y="12"/>
                      <a:pt x="14" y="29"/>
                    </a:cubicBezTo>
                    <a:cubicBezTo>
                      <a:pt x="14" y="29"/>
                      <a:pt x="14" y="29"/>
                      <a:pt x="14" y="29"/>
                    </a:cubicBezTo>
                    <a:cubicBezTo>
                      <a:pt x="14" y="29"/>
                      <a:pt x="14" y="29"/>
                      <a:pt x="14" y="29"/>
                    </a:cubicBezTo>
                    <a:cubicBezTo>
                      <a:pt x="32" y="29"/>
                      <a:pt x="32" y="29"/>
                      <a:pt x="32" y="29"/>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8" name="Freeform 523"/>
              <p:cNvSpPr>
                <a:spLocks noEditPoints="1"/>
              </p:cNvSpPr>
              <p:nvPr/>
            </p:nvSpPr>
            <p:spPr bwMode="auto">
              <a:xfrm>
                <a:off x="6707188" y="4046538"/>
                <a:ext cx="36513" cy="25400"/>
              </a:xfrm>
              <a:custGeom>
                <a:avLst/>
                <a:gdLst>
                  <a:gd name="T0" fmla="*/ 23 w 23"/>
                  <a:gd name="T1" fmla="*/ 11 h 16"/>
                  <a:gd name="T2" fmla="*/ 0 w 23"/>
                  <a:gd name="T3" fmla="*/ 14 h 16"/>
                  <a:gd name="T4" fmla="*/ 0 w 23"/>
                  <a:gd name="T5" fmla="*/ 14 h 16"/>
                  <a:gd name="T6" fmla="*/ 0 w 23"/>
                  <a:gd name="T7" fmla="*/ 16 h 16"/>
                  <a:gd name="T8" fmla="*/ 17 w 23"/>
                  <a:gd name="T9" fmla="*/ 16 h 16"/>
                  <a:gd name="T10" fmla="*/ 23 w 23"/>
                  <a:gd name="T11" fmla="*/ 16 h 16"/>
                  <a:gd name="T12" fmla="*/ 23 w 23"/>
                  <a:gd name="T13" fmla="*/ 11 h 16"/>
                  <a:gd name="T14" fmla="*/ 23 w 23"/>
                  <a:gd name="T15" fmla="*/ 7 h 16"/>
                  <a:gd name="T16" fmla="*/ 0 w 23"/>
                  <a:gd name="T17" fmla="*/ 10 h 16"/>
                  <a:gd name="T18" fmla="*/ 0 w 23"/>
                  <a:gd name="T19" fmla="*/ 10 h 16"/>
                  <a:gd name="T20" fmla="*/ 0 w 23"/>
                  <a:gd name="T21" fmla="*/ 13 h 16"/>
                  <a:gd name="T22" fmla="*/ 23 w 23"/>
                  <a:gd name="T23" fmla="*/ 10 h 16"/>
                  <a:gd name="T24" fmla="*/ 23 w 23"/>
                  <a:gd name="T25" fmla="*/ 10 h 16"/>
                  <a:gd name="T26" fmla="*/ 23 w 23"/>
                  <a:gd name="T27" fmla="*/ 7 h 16"/>
                  <a:gd name="T28" fmla="*/ 22 w 23"/>
                  <a:gd name="T29" fmla="*/ 2 h 16"/>
                  <a:gd name="T30" fmla="*/ 0 w 23"/>
                  <a:gd name="T31" fmla="*/ 6 h 16"/>
                  <a:gd name="T32" fmla="*/ 0 w 23"/>
                  <a:gd name="T33" fmla="*/ 5 h 16"/>
                  <a:gd name="T34" fmla="*/ 0 w 23"/>
                  <a:gd name="T35" fmla="*/ 9 h 16"/>
                  <a:gd name="T36" fmla="*/ 23 w 23"/>
                  <a:gd name="T37" fmla="*/ 6 h 16"/>
                  <a:gd name="T38" fmla="*/ 23 w 23"/>
                  <a:gd name="T39" fmla="*/ 6 h 16"/>
                  <a:gd name="T40" fmla="*/ 23 w 23"/>
                  <a:gd name="T41" fmla="*/ 3 h 16"/>
                  <a:gd name="T42" fmla="*/ 22 w 23"/>
                  <a:gd name="T43" fmla="*/ 2 h 16"/>
                  <a:gd name="T44" fmla="*/ 19 w 23"/>
                  <a:gd name="T45" fmla="*/ 0 h 16"/>
                  <a:gd name="T46" fmla="*/ 0 w 23"/>
                  <a:gd name="T47" fmla="*/ 0 h 16"/>
                  <a:gd name="T48" fmla="*/ 0 w 23"/>
                  <a:gd name="T49" fmla="*/ 0 h 16"/>
                  <a:gd name="T50" fmla="*/ 0 w 23"/>
                  <a:gd name="T51" fmla="*/ 5 h 16"/>
                  <a:gd name="T52" fmla="*/ 21 w 23"/>
                  <a:gd name="T53" fmla="*/ 1 h 16"/>
                  <a:gd name="T54" fmla="*/ 19 w 23"/>
                  <a:gd name="T5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16">
                    <a:moveTo>
                      <a:pt x="23" y="11"/>
                    </a:moveTo>
                    <a:lnTo>
                      <a:pt x="0" y="14"/>
                    </a:lnTo>
                    <a:lnTo>
                      <a:pt x="0" y="14"/>
                    </a:lnTo>
                    <a:lnTo>
                      <a:pt x="0" y="16"/>
                    </a:lnTo>
                    <a:lnTo>
                      <a:pt x="17" y="16"/>
                    </a:lnTo>
                    <a:lnTo>
                      <a:pt x="23" y="16"/>
                    </a:lnTo>
                    <a:lnTo>
                      <a:pt x="23" y="11"/>
                    </a:lnTo>
                    <a:close/>
                    <a:moveTo>
                      <a:pt x="23" y="7"/>
                    </a:moveTo>
                    <a:lnTo>
                      <a:pt x="0" y="10"/>
                    </a:lnTo>
                    <a:lnTo>
                      <a:pt x="0" y="10"/>
                    </a:lnTo>
                    <a:lnTo>
                      <a:pt x="0" y="13"/>
                    </a:lnTo>
                    <a:lnTo>
                      <a:pt x="23" y="10"/>
                    </a:lnTo>
                    <a:lnTo>
                      <a:pt x="23" y="10"/>
                    </a:lnTo>
                    <a:lnTo>
                      <a:pt x="23" y="7"/>
                    </a:lnTo>
                    <a:close/>
                    <a:moveTo>
                      <a:pt x="22" y="2"/>
                    </a:moveTo>
                    <a:lnTo>
                      <a:pt x="0" y="6"/>
                    </a:lnTo>
                    <a:lnTo>
                      <a:pt x="0" y="5"/>
                    </a:lnTo>
                    <a:lnTo>
                      <a:pt x="0" y="9"/>
                    </a:lnTo>
                    <a:lnTo>
                      <a:pt x="23" y="6"/>
                    </a:lnTo>
                    <a:lnTo>
                      <a:pt x="23" y="6"/>
                    </a:lnTo>
                    <a:lnTo>
                      <a:pt x="23" y="3"/>
                    </a:lnTo>
                    <a:lnTo>
                      <a:pt x="22" y="2"/>
                    </a:lnTo>
                    <a:close/>
                    <a:moveTo>
                      <a:pt x="19" y="0"/>
                    </a:moveTo>
                    <a:lnTo>
                      <a:pt x="0" y="0"/>
                    </a:lnTo>
                    <a:lnTo>
                      <a:pt x="0" y="0"/>
                    </a:lnTo>
                    <a:lnTo>
                      <a:pt x="0" y="5"/>
                    </a:lnTo>
                    <a:lnTo>
                      <a:pt x="21" y="1"/>
                    </a:lnTo>
                    <a:lnTo>
                      <a:pt x="19"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9" name="Freeform 524"/>
              <p:cNvSpPr>
                <a:spLocks noEditPoints="1"/>
              </p:cNvSpPr>
              <p:nvPr/>
            </p:nvSpPr>
            <p:spPr bwMode="auto">
              <a:xfrm>
                <a:off x="6707188" y="4046538"/>
                <a:ext cx="36513" cy="25400"/>
              </a:xfrm>
              <a:custGeom>
                <a:avLst/>
                <a:gdLst>
                  <a:gd name="T0" fmla="*/ 23 w 23"/>
                  <a:gd name="T1" fmla="*/ 11 h 16"/>
                  <a:gd name="T2" fmla="*/ 0 w 23"/>
                  <a:gd name="T3" fmla="*/ 14 h 16"/>
                  <a:gd name="T4" fmla="*/ 0 w 23"/>
                  <a:gd name="T5" fmla="*/ 14 h 16"/>
                  <a:gd name="T6" fmla="*/ 0 w 23"/>
                  <a:gd name="T7" fmla="*/ 16 h 16"/>
                  <a:gd name="T8" fmla="*/ 17 w 23"/>
                  <a:gd name="T9" fmla="*/ 16 h 16"/>
                  <a:gd name="T10" fmla="*/ 23 w 23"/>
                  <a:gd name="T11" fmla="*/ 16 h 16"/>
                  <a:gd name="T12" fmla="*/ 23 w 23"/>
                  <a:gd name="T13" fmla="*/ 11 h 16"/>
                  <a:gd name="T14" fmla="*/ 23 w 23"/>
                  <a:gd name="T15" fmla="*/ 7 h 16"/>
                  <a:gd name="T16" fmla="*/ 0 w 23"/>
                  <a:gd name="T17" fmla="*/ 10 h 16"/>
                  <a:gd name="T18" fmla="*/ 0 w 23"/>
                  <a:gd name="T19" fmla="*/ 10 h 16"/>
                  <a:gd name="T20" fmla="*/ 0 w 23"/>
                  <a:gd name="T21" fmla="*/ 13 h 16"/>
                  <a:gd name="T22" fmla="*/ 23 w 23"/>
                  <a:gd name="T23" fmla="*/ 10 h 16"/>
                  <a:gd name="T24" fmla="*/ 23 w 23"/>
                  <a:gd name="T25" fmla="*/ 10 h 16"/>
                  <a:gd name="T26" fmla="*/ 23 w 23"/>
                  <a:gd name="T27" fmla="*/ 7 h 16"/>
                  <a:gd name="T28" fmla="*/ 22 w 23"/>
                  <a:gd name="T29" fmla="*/ 2 h 16"/>
                  <a:gd name="T30" fmla="*/ 0 w 23"/>
                  <a:gd name="T31" fmla="*/ 6 h 16"/>
                  <a:gd name="T32" fmla="*/ 0 w 23"/>
                  <a:gd name="T33" fmla="*/ 5 h 16"/>
                  <a:gd name="T34" fmla="*/ 0 w 23"/>
                  <a:gd name="T35" fmla="*/ 9 h 16"/>
                  <a:gd name="T36" fmla="*/ 23 w 23"/>
                  <a:gd name="T37" fmla="*/ 6 h 16"/>
                  <a:gd name="T38" fmla="*/ 23 w 23"/>
                  <a:gd name="T39" fmla="*/ 6 h 16"/>
                  <a:gd name="T40" fmla="*/ 23 w 23"/>
                  <a:gd name="T41" fmla="*/ 3 h 16"/>
                  <a:gd name="T42" fmla="*/ 22 w 23"/>
                  <a:gd name="T43" fmla="*/ 2 h 16"/>
                  <a:gd name="T44" fmla="*/ 19 w 23"/>
                  <a:gd name="T45" fmla="*/ 0 h 16"/>
                  <a:gd name="T46" fmla="*/ 0 w 23"/>
                  <a:gd name="T47" fmla="*/ 0 h 16"/>
                  <a:gd name="T48" fmla="*/ 0 w 23"/>
                  <a:gd name="T49" fmla="*/ 0 h 16"/>
                  <a:gd name="T50" fmla="*/ 0 w 23"/>
                  <a:gd name="T51" fmla="*/ 5 h 16"/>
                  <a:gd name="T52" fmla="*/ 21 w 23"/>
                  <a:gd name="T53" fmla="*/ 1 h 16"/>
                  <a:gd name="T54" fmla="*/ 19 w 23"/>
                  <a:gd name="T5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16">
                    <a:moveTo>
                      <a:pt x="23" y="11"/>
                    </a:moveTo>
                    <a:lnTo>
                      <a:pt x="0" y="14"/>
                    </a:lnTo>
                    <a:lnTo>
                      <a:pt x="0" y="14"/>
                    </a:lnTo>
                    <a:lnTo>
                      <a:pt x="0" y="16"/>
                    </a:lnTo>
                    <a:lnTo>
                      <a:pt x="17" y="16"/>
                    </a:lnTo>
                    <a:lnTo>
                      <a:pt x="23" y="16"/>
                    </a:lnTo>
                    <a:lnTo>
                      <a:pt x="23" y="11"/>
                    </a:lnTo>
                    <a:moveTo>
                      <a:pt x="23" y="7"/>
                    </a:moveTo>
                    <a:lnTo>
                      <a:pt x="0" y="10"/>
                    </a:lnTo>
                    <a:lnTo>
                      <a:pt x="0" y="10"/>
                    </a:lnTo>
                    <a:lnTo>
                      <a:pt x="0" y="13"/>
                    </a:lnTo>
                    <a:lnTo>
                      <a:pt x="23" y="10"/>
                    </a:lnTo>
                    <a:lnTo>
                      <a:pt x="23" y="10"/>
                    </a:lnTo>
                    <a:lnTo>
                      <a:pt x="23" y="7"/>
                    </a:lnTo>
                    <a:moveTo>
                      <a:pt x="22" y="2"/>
                    </a:moveTo>
                    <a:lnTo>
                      <a:pt x="0" y="6"/>
                    </a:lnTo>
                    <a:lnTo>
                      <a:pt x="0" y="5"/>
                    </a:lnTo>
                    <a:lnTo>
                      <a:pt x="0" y="9"/>
                    </a:lnTo>
                    <a:lnTo>
                      <a:pt x="23" y="6"/>
                    </a:lnTo>
                    <a:lnTo>
                      <a:pt x="23" y="6"/>
                    </a:lnTo>
                    <a:lnTo>
                      <a:pt x="23" y="3"/>
                    </a:lnTo>
                    <a:lnTo>
                      <a:pt x="22" y="2"/>
                    </a:lnTo>
                    <a:moveTo>
                      <a:pt x="19" y="0"/>
                    </a:moveTo>
                    <a:lnTo>
                      <a:pt x="0" y="0"/>
                    </a:lnTo>
                    <a:lnTo>
                      <a:pt x="0" y="0"/>
                    </a:lnTo>
                    <a:lnTo>
                      <a:pt x="0" y="5"/>
                    </a:lnTo>
                    <a:lnTo>
                      <a:pt x="21" y="1"/>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0" name="Freeform 525"/>
              <p:cNvSpPr>
                <a:spLocks/>
              </p:cNvSpPr>
              <p:nvPr/>
            </p:nvSpPr>
            <p:spPr bwMode="auto">
              <a:xfrm>
                <a:off x="6707188" y="4048125"/>
                <a:ext cx="34925" cy="7937"/>
              </a:xfrm>
              <a:custGeom>
                <a:avLst/>
                <a:gdLst>
                  <a:gd name="T0" fmla="*/ 21 w 22"/>
                  <a:gd name="T1" fmla="*/ 0 h 5"/>
                  <a:gd name="T2" fmla="*/ 0 w 22"/>
                  <a:gd name="T3" fmla="*/ 4 h 5"/>
                  <a:gd name="T4" fmla="*/ 0 w 22"/>
                  <a:gd name="T5" fmla="*/ 4 h 5"/>
                  <a:gd name="T6" fmla="*/ 0 w 22"/>
                  <a:gd name="T7" fmla="*/ 4 h 5"/>
                  <a:gd name="T8" fmla="*/ 0 w 22"/>
                  <a:gd name="T9" fmla="*/ 5 h 5"/>
                  <a:gd name="T10" fmla="*/ 22 w 22"/>
                  <a:gd name="T11" fmla="*/ 1 h 5"/>
                  <a:gd name="T12" fmla="*/ 21 w 22"/>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2" h="5">
                    <a:moveTo>
                      <a:pt x="21" y="0"/>
                    </a:moveTo>
                    <a:lnTo>
                      <a:pt x="0" y="4"/>
                    </a:lnTo>
                    <a:lnTo>
                      <a:pt x="0" y="4"/>
                    </a:lnTo>
                    <a:lnTo>
                      <a:pt x="0" y="4"/>
                    </a:lnTo>
                    <a:lnTo>
                      <a:pt x="0" y="5"/>
                    </a:lnTo>
                    <a:lnTo>
                      <a:pt x="22" y="1"/>
                    </a:lnTo>
                    <a:lnTo>
                      <a:pt x="21"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1" name="Freeform 526"/>
              <p:cNvSpPr>
                <a:spLocks/>
              </p:cNvSpPr>
              <p:nvPr/>
            </p:nvSpPr>
            <p:spPr bwMode="auto">
              <a:xfrm>
                <a:off x="6707188" y="4048125"/>
                <a:ext cx="34925" cy="7937"/>
              </a:xfrm>
              <a:custGeom>
                <a:avLst/>
                <a:gdLst>
                  <a:gd name="T0" fmla="*/ 21 w 22"/>
                  <a:gd name="T1" fmla="*/ 0 h 5"/>
                  <a:gd name="T2" fmla="*/ 0 w 22"/>
                  <a:gd name="T3" fmla="*/ 4 h 5"/>
                  <a:gd name="T4" fmla="*/ 0 w 22"/>
                  <a:gd name="T5" fmla="*/ 4 h 5"/>
                  <a:gd name="T6" fmla="*/ 0 w 22"/>
                  <a:gd name="T7" fmla="*/ 4 h 5"/>
                  <a:gd name="T8" fmla="*/ 0 w 22"/>
                  <a:gd name="T9" fmla="*/ 5 h 5"/>
                  <a:gd name="T10" fmla="*/ 22 w 22"/>
                  <a:gd name="T11" fmla="*/ 1 h 5"/>
                  <a:gd name="T12" fmla="*/ 21 w 22"/>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2" h="5">
                    <a:moveTo>
                      <a:pt x="21" y="0"/>
                    </a:moveTo>
                    <a:lnTo>
                      <a:pt x="0" y="4"/>
                    </a:lnTo>
                    <a:lnTo>
                      <a:pt x="0" y="4"/>
                    </a:lnTo>
                    <a:lnTo>
                      <a:pt x="0" y="4"/>
                    </a:lnTo>
                    <a:lnTo>
                      <a:pt x="0" y="5"/>
                    </a:lnTo>
                    <a:lnTo>
                      <a:pt x="22" y="1"/>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2" name="Freeform 527"/>
              <p:cNvSpPr>
                <a:spLocks/>
              </p:cNvSpPr>
              <p:nvPr/>
            </p:nvSpPr>
            <p:spPr bwMode="auto">
              <a:xfrm>
                <a:off x="6707188" y="4056063"/>
                <a:ext cx="36513" cy="6350"/>
              </a:xfrm>
              <a:custGeom>
                <a:avLst/>
                <a:gdLst>
                  <a:gd name="T0" fmla="*/ 23 w 23"/>
                  <a:gd name="T1" fmla="*/ 0 h 4"/>
                  <a:gd name="T2" fmla="*/ 0 w 23"/>
                  <a:gd name="T3" fmla="*/ 3 h 4"/>
                  <a:gd name="T4" fmla="*/ 0 w 23"/>
                  <a:gd name="T5" fmla="*/ 3 h 4"/>
                  <a:gd name="T6" fmla="*/ 0 w 23"/>
                  <a:gd name="T7" fmla="*/ 4 h 4"/>
                  <a:gd name="T8" fmla="*/ 0 w 23"/>
                  <a:gd name="T9" fmla="*/ 4 h 4"/>
                  <a:gd name="T10" fmla="*/ 23 w 23"/>
                  <a:gd name="T11" fmla="*/ 1 h 4"/>
                  <a:gd name="T12" fmla="*/ 23 w 23"/>
                  <a:gd name="T13" fmla="*/ 1 h 4"/>
                  <a:gd name="T14" fmla="*/ 23 w 23"/>
                  <a:gd name="T15" fmla="*/ 0 h 4"/>
                  <a:gd name="T16" fmla="*/ 23 w 2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
                    <a:moveTo>
                      <a:pt x="23" y="0"/>
                    </a:moveTo>
                    <a:lnTo>
                      <a:pt x="0" y="3"/>
                    </a:lnTo>
                    <a:lnTo>
                      <a:pt x="0" y="3"/>
                    </a:lnTo>
                    <a:lnTo>
                      <a:pt x="0" y="4"/>
                    </a:lnTo>
                    <a:lnTo>
                      <a:pt x="0" y="4"/>
                    </a:lnTo>
                    <a:lnTo>
                      <a:pt x="23" y="1"/>
                    </a:lnTo>
                    <a:lnTo>
                      <a:pt x="23" y="1"/>
                    </a:lnTo>
                    <a:lnTo>
                      <a:pt x="23" y="0"/>
                    </a:lnTo>
                    <a:lnTo>
                      <a:pt x="23"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3" name="Freeform 528"/>
              <p:cNvSpPr>
                <a:spLocks/>
              </p:cNvSpPr>
              <p:nvPr/>
            </p:nvSpPr>
            <p:spPr bwMode="auto">
              <a:xfrm>
                <a:off x="6707188" y="4056063"/>
                <a:ext cx="36513" cy="6350"/>
              </a:xfrm>
              <a:custGeom>
                <a:avLst/>
                <a:gdLst>
                  <a:gd name="T0" fmla="*/ 23 w 23"/>
                  <a:gd name="T1" fmla="*/ 0 h 4"/>
                  <a:gd name="T2" fmla="*/ 0 w 23"/>
                  <a:gd name="T3" fmla="*/ 3 h 4"/>
                  <a:gd name="T4" fmla="*/ 0 w 23"/>
                  <a:gd name="T5" fmla="*/ 3 h 4"/>
                  <a:gd name="T6" fmla="*/ 0 w 23"/>
                  <a:gd name="T7" fmla="*/ 4 h 4"/>
                  <a:gd name="T8" fmla="*/ 0 w 23"/>
                  <a:gd name="T9" fmla="*/ 4 h 4"/>
                  <a:gd name="T10" fmla="*/ 23 w 23"/>
                  <a:gd name="T11" fmla="*/ 1 h 4"/>
                  <a:gd name="T12" fmla="*/ 23 w 23"/>
                  <a:gd name="T13" fmla="*/ 1 h 4"/>
                  <a:gd name="T14" fmla="*/ 23 w 23"/>
                  <a:gd name="T15" fmla="*/ 0 h 4"/>
                  <a:gd name="T16" fmla="*/ 23 w 2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
                    <a:moveTo>
                      <a:pt x="23" y="0"/>
                    </a:moveTo>
                    <a:lnTo>
                      <a:pt x="0" y="3"/>
                    </a:lnTo>
                    <a:lnTo>
                      <a:pt x="0" y="3"/>
                    </a:lnTo>
                    <a:lnTo>
                      <a:pt x="0" y="4"/>
                    </a:lnTo>
                    <a:lnTo>
                      <a:pt x="0" y="4"/>
                    </a:lnTo>
                    <a:lnTo>
                      <a:pt x="23" y="1"/>
                    </a:lnTo>
                    <a:lnTo>
                      <a:pt x="23" y="1"/>
                    </a:lnTo>
                    <a:lnTo>
                      <a:pt x="23" y="0"/>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4" name="Freeform 529"/>
              <p:cNvSpPr>
                <a:spLocks/>
              </p:cNvSpPr>
              <p:nvPr/>
            </p:nvSpPr>
            <p:spPr bwMode="auto">
              <a:xfrm>
                <a:off x="6707188" y="4062413"/>
                <a:ext cx="36513" cy="6350"/>
              </a:xfrm>
              <a:custGeom>
                <a:avLst/>
                <a:gdLst>
                  <a:gd name="T0" fmla="*/ 23 w 23"/>
                  <a:gd name="T1" fmla="*/ 0 h 4"/>
                  <a:gd name="T2" fmla="*/ 0 w 23"/>
                  <a:gd name="T3" fmla="*/ 3 h 4"/>
                  <a:gd name="T4" fmla="*/ 0 w 23"/>
                  <a:gd name="T5" fmla="*/ 3 h 4"/>
                  <a:gd name="T6" fmla="*/ 0 w 23"/>
                  <a:gd name="T7" fmla="*/ 4 h 4"/>
                  <a:gd name="T8" fmla="*/ 0 w 23"/>
                  <a:gd name="T9" fmla="*/ 4 h 4"/>
                  <a:gd name="T10" fmla="*/ 23 w 23"/>
                  <a:gd name="T11" fmla="*/ 1 h 4"/>
                  <a:gd name="T12" fmla="*/ 23 w 23"/>
                  <a:gd name="T13" fmla="*/ 1 h 4"/>
                  <a:gd name="T14" fmla="*/ 23 w 23"/>
                  <a:gd name="T15" fmla="*/ 0 h 4"/>
                  <a:gd name="T16" fmla="*/ 23 w 2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
                    <a:moveTo>
                      <a:pt x="23" y="0"/>
                    </a:moveTo>
                    <a:lnTo>
                      <a:pt x="0" y="3"/>
                    </a:lnTo>
                    <a:lnTo>
                      <a:pt x="0" y="3"/>
                    </a:lnTo>
                    <a:lnTo>
                      <a:pt x="0" y="4"/>
                    </a:lnTo>
                    <a:lnTo>
                      <a:pt x="0" y="4"/>
                    </a:lnTo>
                    <a:lnTo>
                      <a:pt x="23" y="1"/>
                    </a:lnTo>
                    <a:lnTo>
                      <a:pt x="23" y="1"/>
                    </a:lnTo>
                    <a:lnTo>
                      <a:pt x="23" y="0"/>
                    </a:lnTo>
                    <a:lnTo>
                      <a:pt x="23"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5" name="Freeform 530"/>
              <p:cNvSpPr>
                <a:spLocks/>
              </p:cNvSpPr>
              <p:nvPr/>
            </p:nvSpPr>
            <p:spPr bwMode="auto">
              <a:xfrm>
                <a:off x="6707188" y="4062413"/>
                <a:ext cx="36513" cy="6350"/>
              </a:xfrm>
              <a:custGeom>
                <a:avLst/>
                <a:gdLst>
                  <a:gd name="T0" fmla="*/ 23 w 23"/>
                  <a:gd name="T1" fmla="*/ 0 h 4"/>
                  <a:gd name="T2" fmla="*/ 0 w 23"/>
                  <a:gd name="T3" fmla="*/ 3 h 4"/>
                  <a:gd name="T4" fmla="*/ 0 w 23"/>
                  <a:gd name="T5" fmla="*/ 3 h 4"/>
                  <a:gd name="T6" fmla="*/ 0 w 23"/>
                  <a:gd name="T7" fmla="*/ 4 h 4"/>
                  <a:gd name="T8" fmla="*/ 0 w 23"/>
                  <a:gd name="T9" fmla="*/ 4 h 4"/>
                  <a:gd name="T10" fmla="*/ 23 w 23"/>
                  <a:gd name="T11" fmla="*/ 1 h 4"/>
                  <a:gd name="T12" fmla="*/ 23 w 23"/>
                  <a:gd name="T13" fmla="*/ 1 h 4"/>
                  <a:gd name="T14" fmla="*/ 23 w 23"/>
                  <a:gd name="T15" fmla="*/ 0 h 4"/>
                  <a:gd name="T16" fmla="*/ 23 w 2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
                    <a:moveTo>
                      <a:pt x="23" y="0"/>
                    </a:moveTo>
                    <a:lnTo>
                      <a:pt x="0" y="3"/>
                    </a:lnTo>
                    <a:lnTo>
                      <a:pt x="0" y="3"/>
                    </a:lnTo>
                    <a:lnTo>
                      <a:pt x="0" y="4"/>
                    </a:lnTo>
                    <a:lnTo>
                      <a:pt x="0" y="4"/>
                    </a:lnTo>
                    <a:lnTo>
                      <a:pt x="23" y="1"/>
                    </a:lnTo>
                    <a:lnTo>
                      <a:pt x="23" y="1"/>
                    </a:lnTo>
                    <a:lnTo>
                      <a:pt x="23" y="0"/>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6" name="Freeform 531"/>
              <p:cNvSpPr>
                <a:spLocks noEditPoints="1"/>
              </p:cNvSpPr>
              <p:nvPr/>
            </p:nvSpPr>
            <p:spPr bwMode="auto">
              <a:xfrm>
                <a:off x="6715125" y="4071938"/>
                <a:ext cx="19050" cy="6350"/>
              </a:xfrm>
              <a:custGeom>
                <a:avLst/>
                <a:gdLst>
                  <a:gd name="T0" fmla="*/ 12 w 12"/>
                  <a:gd name="T1" fmla="*/ 0 h 4"/>
                  <a:gd name="T2" fmla="*/ 0 w 12"/>
                  <a:gd name="T3" fmla="*/ 0 h 4"/>
                  <a:gd name="T4" fmla="*/ 2 w 12"/>
                  <a:gd name="T5" fmla="*/ 4 h 4"/>
                  <a:gd name="T6" fmla="*/ 10 w 12"/>
                  <a:gd name="T7" fmla="*/ 4 h 4"/>
                  <a:gd name="T8" fmla="*/ 12 w 12"/>
                  <a:gd name="T9" fmla="*/ 0 h 4"/>
                  <a:gd name="T10" fmla="*/ 12 w 12"/>
                  <a:gd name="T11" fmla="*/ 0 h 4"/>
                  <a:gd name="T12" fmla="*/ 12 w 1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2" y="0"/>
                    </a:moveTo>
                    <a:lnTo>
                      <a:pt x="0" y="0"/>
                    </a:lnTo>
                    <a:lnTo>
                      <a:pt x="2" y="4"/>
                    </a:lnTo>
                    <a:lnTo>
                      <a:pt x="10" y="4"/>
                    </a:lnTo>
                    <a:lnTo>
                      <a:pt x="12" y="0"/>
                    </a:lnTo>
                    <a:close/>
                    <a:moveTo>
                      <a:pt x="12" y="0"/>
                    </a:moveTo>
                    <a:lnTo>
                      <a:pt x="12" y="0"/>
                    </a:lnTo>
                    <a:close/>
                  </a:path>
                </a:pathLst>
              </a:custGeom>
              <a:solidFill>
                <a:srgbClr val="1F1C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7" name="Freeform 532"/>
              <p:cNvSpPr>
                <a:spLocks noEditPoints="1"/>
              </p:cNvSpPr>
              <p:nvPr/>
            </p:nvSpPr>
            <p:spPr bwMode="auto">
              <a:xfrm>
                <a:off x="6715125" y="4071938"/>
                <a:ext cx="19050" cy="6350"/>
              </a:xfrm>
              <a:custGeom>
                <a:avLst/>
                <a:gdLst>
                  <a:gd name="T0" fmla="*/ 12 w 12"/>
                  <a:gd name="T1" fmla="*/ 0 h 4"/>
                  <a:gd name="T2" fmla="*/ 0 w 12"/>
                  <a:gd name="T3" fmla="*/ 0 h 4"/>
                  <a:gd name="T4" fmla="*/ 2 w 12"/>
                  <a:gd name="T5" fmla="*/ 4 h 4"/>
                  <a:gd name="T6" fmla="*/ 10 w 12"/>
                  <a:gd name="T7" fmla="*/ 4 h 4"/>
                  <a:gd name="T8" fmla="*/ 12 w 12"/>
                  <a:gd name="T9" fmla="*/ 0 h 4"/>
                  <a:gd name="T10" fmla="*/ 12 w 12"/>
                  <a:gd name="T11" fmla="*/ 0 h 4"/>
                  <a:gd name="T12" fmla="*/ 12 w 1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2" y="0"/>
                    </a:moveTo>
                    <a:lnTo>
                      <a:pt x="0" y="0"/>
                    </a:lnTo>
                    <a:lnTo>
                      <a:pt x="2" y="4"/>
                    </a:lnTo>
                    <a:lnTo>
                      <a:pt x="10" y="4"/>
                    </a:lnTo>
                    <a:lnTo>
                      <a:pt x="12" y="0"/>
                    </a:lnTo>
                    <a:moveTo>
                      <a:pt x="12" y="0"/>
                    </a:move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8" name="Freeform 533"/>
              <p:cNvSpPr>
                <a:spLocks/>
              </p:cNvSpPr>
              <p:nvPr/>
            </p:nvSpPr>
            <p:spPr bwMode="auto">
              <a:xfrm>
                <a:off x="8478838" y="3927475"/>
                <a:ext cx="0" cy="65087"/>
              </a:xfrm>
              <a:custGeom>
                <a:avLst/>
                <a:gdLst>
                  <a:gd name="T0" fmla="*/ 0 h 39"/>
                  <a:gd name="T1" fmla="*/ 21 h 39"/>
                  <a:gd name="T2" fmla="*/ 39 h 39"/>
                  <a:gd name="T3" fmla="*/ 0 h 39"/>
                </a:gdLst>
                <a:ahLst/>
                <a:cxnLst>
                  <a:cxn ang="0">
                    <a:pos x="0" y="T0"/>
                  </a:cxn>
                  <a:cxn ang="0">
                    <a:pos x="0" y="T1"/>
                  </a:cxn>
                  <a:cxn ang="0">
                    <a:pos x="0" y="T2"/>
                  </a:cxn>
                  <a:cxn ang="0">
                    <a:pos x="0" y="T3"/>
                  </a:cxn>
                </a:cxnLst>
                <a:rect l="0" t="0" r="r" b="b"/>
                <a:pathLst>
                  <a:path h="39">
                    <a:moveTo>
                      <a:pt x="0" y="0"/>
                    </a:moveTo>
                    <a:cubicBezTo>
                      <a:pt x="0" y="8"/>
                      <a:pt x="0" y="15"/>
                      <a:pt x="0" y="21"/>
                    </a:cubicBezTo>
                    <a:cubicBezTo>
                      <a:pt x="0" y="32"/>
                      <a:pt x="0" y="39"/>
                      <a:pt x="0" y="39"/>
                    </a:cubicBezTo>
                    <a:cubicBezTo>
                      <a:pt x="0" y="0"/>
                      <a:pt x="0" y="0"/>
                      <a:pt x="0" y="0"/>
                    </a:cubicBezTo>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9" name="Freeform 534"/>
              <p:cNvSpPr>
                <a:spLocks noEditPoints="1"/>
              </p:cNvSpPr>
              <p:nvPr/>
            </p:nvSpPr>
            <p:spPr bwMode="auto">
              <a:xfrm>
                <a:off x="8877300" y="3989388"/>
                <a:ext cx="0" cy="3175"/>
              </a:xfrm>
              <a:custGeom>
                <a:avLst/>
                <a:gdLst>
                  <a:gd name="T0" fmla="*/ 2 h 2"/>
                  <a:gd name="T1" fmla="*/ 2 h 2"/>
                  <a:gd name="T2" fmla="*/ 2 h 2"/>
                  <a:gd name="T3" fmla="*/ 2 h 2"/>
                  <a:gd name="T4" fmla="*/ 2 h 2"/>
                  <a:gd name="T5" fmla="*/ 2 h 2"/>
                  <a:gd name="T6" fmla="*/ 2 h 2"/>
                  <a:gd name="T7" fmla="*/ 2 h 2"/>
                  <a:gd name="T8" fmla="*/ 2 h 2"/>
                  <a:gd name="T9" fmla="*/ 2 h 2"/>
                  <a:gd name="T10" fmla="*/ 2 h 2"/>
                  <a:gd name="T11" fmla="*/ 2 h 2"/>
                  <a:gd name="T12" fmla="*/ 2 h 2"/>
                  <a:gd name="T13" fmla="*/ 2 h 2"/>
                  <a:gd name="T14" fmla="*/ 2 h 2"/>
                  <a:gd name="T15" fmla="*/ 2 h 2"/>
                  <a:gd name="T16" fmla="*/ 2 h 2"/>
                  <a:gd name="T17" fmla="*/ 2 h 2"/>
                  <a:gd name="T18" fmla="*/ 2 h 2"/>
                  <a:gd name="T19" fmla="*/ 1 h 2"/>
                  <a:gd name="T20" fmla="*/ 2 h 2"/>
                  <a:gd name="T21" fmla="*/ 1 h 2"/>
                  <a:gd name="T22" fmla="*/ 1 h 2"/>
                  <a:gd name="T23" fmla="*/ 1 h 2"/>
                  <a:gd name="T24" fmla="*/ 1 h 2"/>
                  <a:gd name="T25" fmla="*/ 1 h 2"/>
                  <a:gd name="T26" fmla="*/ 1 h 2"/>
                  <a:gd name="T27" fmla="*/ 1 h 2"/>
                  <a:gd name="T28" fmla="*/ 1 h 2"/>
                  <a:gd name="T29" fmla="*/ 1 h 2"/>
                  <a:gd name="T30" fmla="*/ 1 h 2"/>
                  <a:gd name="T31" fmla="*/ 1 h 2"/>
                  <a:gd name="T32" fmla="*/ 1 h 2"/>
                  <a:gd name="T33" fmla="*/ 1 h 2"/>
                  <a:gd name="T34" fmla="*/ 0 h 2"/>
                  <a:gd name="T35" fmla="*/ 0 h 2"/>
                  <a:gd name="T36" fmla="*/ 0 h 2"/>
                  <a:gd name="T37" fmla="*/ 0 h 2"/>
                  <a:gd name="T38" fmla="*/ 0 h 2"/>
                  <a:gd name="T39"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Lst>
                <a:rect l="0" t="0" r="r" b="b"/>
                <a:pathLst>
                  <a:path h="2">
                    <a:moveTo>
                      <a:pt x="0" y="2"/>
                    </a:moveTo>
                    <a:cubicBezTo>
                      <a:pt x="0" y="2"/>
                      <a:pt x="0" y="2"/>
                      <a:pt x="0" y="2"/>
                    </a:cubicBez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1"/>
                    </a:moveTo>
                    <a:cubicBezTo>
                      <a:pt x="0" y="2"/>
                      <a:pt x="0" y="2"/>
                      <a:pt x="0" y="2"/>
                    </a:cubicBezTo>
                    <a:cubicBezTo>
                      <a:pt x="0" y="2"/>
                      <a:pt x="0" y="2"/>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426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0" name="Freeform 535"/>
              <p:cNvSpPr>
                <a:spLocks/>
              </p:cNvSpPr>
              <p:nvPr/>
            </p:nvSpPr>
            <p:spPr bwMode="auto">
              <a:xfrm>
                <a:off x="8478838" y="3605213"/>
                <a:ext cx="398463" cy="387350"/>
              </a:xfrm>
              <a:custGeom>
                <a:avLst/>
                <a:gdLst>
                  <a:gd name="T0" fmla="*/ 225 w 239"/>
                  <a:gd name="T1" fmla="*/ 0 h 232"/>
                  <a:gd name="T2" fmla="*/ 0 w 239"/>
                  <a:gd name="T3" fmla="*/ 153 h 232"/>
                  <a:gd name="T4" fmla="*/ 0 w 239"/>
                  <a:gd name="T5" fmla="*/ 193 h 232"/>
                  <a:gd name="T6" fmla="*/ 0 w 239"/>
                  <a:gd name="T7" fmla="*/ 193 h 232"/>
                  <a:gd name="T8" fmla="*/ 0 w 239"/>
                  <a:gd name="T9" fmla="*/ 232 h 232"/>
                  <a:gd name="T10" fmla="*/ 239 w 239"/>
                  <a:gd name="T11" fmla="*/ 232 h 232"/>
                  <a:gd name="T12" fmla="*/ 239 w 239"/>
                  <a:gd name="T13" fmla="*/ 232 h 232"/>
                  <a:gd name="T14" fmla="*/ 239 w 239"/>
                  <a:gd name="T15" fmla="*/ 232 h 232"/>
                  <a:gd name="T16" fmla="*/ 239 w 239"/>
                  <a:gd name="T17" fmla="*/ 232 h 232"/>
                  <a:gd name="T18" fmla="*/ 239 w 239"/>
                  <a:gd name="T19" fmla="*/ 232 h 232"/>
                  <a:gd name="T20" fmla="*/ 239 w 239"/>
                  <a:gd name="T21" fmla="*/ 232 h 232"/>
                  <a:gd name="T22" fmla="*/ 239 w 239"/>
                  <a:gd name="T23" fmla="*/ 232 h 232"/>
                  <a:gd name="T24" fmla="*/ 239 w 239"/>
                  <a:gd name="T25" fmla="*/ 232 h 232"/>
                  <a:gd name="T26" fmla="*/ 239 w 239"/>
                  <a:gd name="T27" fmla="*/ 232 h 232"/>
                  <a:gd name="T28" fmla="*/ 239 w 239"/>
                  <a:gd name="T29" fmla="*/ 232 h 232"/>
                  <a:gd name="T30" fmla="*/ 239 w 239"/>
                  <a:gd name="T31" fmla="*/ 232 h 232"/>
                  <a:gd name="T32" fmla="*/ 239 w 239"/>
                  <a:gd name="T33" fmla="*/ 232 h 232"/>
                  <a:gd name="T34" fmla="*/ 239 w 239"/>
                  <a:gd name="T35" fmla="*/ 232 h 232"/>
                  <a:gd name="T36" fmla="*/ 239 w 239"/>
                  <a:gd name="T37" fmla="*/ 231 h 232"/>
                  <a:gd name="T38" fmla="*/ 239 w 239"/>
                  <a:gd name="T39" fmla="*/ 231 h 232"/>
                  <a:gd name="T40" fmla="*/ 239 w 239"/>
                  <a:gd name="T41" fmla="*/ 231 h 232"/>
                  <a:gd name="T42" fmla="*/ 239 w 239"/>
                  <a:gd name="T43" fmla="*/ 231 h 232"/>
                  <a:gd name="T44" fmla="*/ 239 w 239"/>
                  <a:gd name="T45" fmla="*/ 231 h 232"/>
                  <a:gd name="T46" fmla="*/ 239 w 239"/>
                  <a:gd name="T47" fmla="*/ 231 h 232"/>
                  <a:gd name="T48" fmla="*/ 239 w 239"/>
                  <a:gd name="T49" fmla="*/ 231 h 232"/>
                  <a:gd name="T50" fmla="*/ 239 w 239"/>
                  <a:gd name="T51" fmla="*/ 231 h 232"/>
                  <a:gd name="T52" fmla="*/ 239 w 239"/>
                  <a:gd name="T53" fmla="*/ 231 h 232"/>
                  <a:gd name="T54" fmla="*/ 239 w 239"/>
                  <a:gd name="T55" fmla="*/ 230 h 232"/>
                  <a:gd name="T56" fmla="*/ 239 w 239"/>
                  <a:gd name="T57" fmla="*/ 230 h 232"/>
                  <a:gd name="T58" fmla="*/ 239 w 239"/>
                  <a:gd name="T59" fmla="*/ 230 h 232"/>
                  <a:gd name="T60" fmla="*/ 239 w 239"/>
                  <a:gd name="T61" fmla="*/ 230 h 232"/>
                  <a:gd name="T62" fmla="*/ 225 w 239"/>
                  <a:gd name="T6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9" h="232">
                    <a:moveTo>
                      <a:pt x="225" y="0"/>
                    </a:moveTo>
                    <a:cubicBezTo>
                      <a:pt x="0" y="153"/>
                      <a:pt x="0" y="153"/>
                      <a:pt x="0" y="153"/>
                    </a:cubicBezTo>
                    <a:cubicBezTo>
                      <a:pt x="0" y="168"/>
                      <a:pt x="0" y="182"/>
                      <a:pt x="0" y="193"/>
                    </a:cubicBezTo>
                    <a:cubicBezTo>
                      <a:pt x="0" y="193"/>
                      <a:pt x="0" y="193"/>
                      <a:pt x="0" y="193"/>
                    </a:cubicBezTo>
                    <a:cubicBezTo>
                      <a:pt x="0" y="232"/>
                      <a:pt x="0" y="232"/>
                      <a:pt x="0"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0"/>
                      <a:pt x="239" y="230"/>
                    </a:cubicBezTo>
                    <a:cubicBezTo>
                      <a:pt x="239" y="230"/>
                      <a:pt x="239" y="230"/>
                      <a:pt x="239" y="230"/>
                    </a:cubicBezTo>
                    <a:cubicBezTo>
                      <a:pt x="239" y="230"/>
                      <a:pt x="239" y="230"/>
                      <a:pt x="239" y="230"/>
                    </a:cubicBezTo>
                    <a:cubicBezTo>
                      <a:pt x="239" y="230"/>
                      <a:pt x="239" y="230"/>
                      <a:pt x="239" y="230"/>
                    </a:cubicBezTo>
                    <a:cubicBezTo>
                      <a:pt x="239" y="211"/>
                      <a:pt x="237" y="64"/>
                      <a:pt x="225" y="0"/>
                    </a:cubicBezTo>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1" name="Freeform 536"/>
              <p:cNvSpPr>
                <a:spLocks/>
              </p:cNvSpPr>
              <p:nvPr/>
            </p:nvSpPr>
            <p:spPr bwMode="auto">
              <a:xfrm>
                <a:off x="8478838" y="3860800"/>
                <a:ext cx="0" cy="66675"/>
              </a:xfrm>
              <a:custGeom>
                <a:avLst/>
                <a:gdLst>
                  <a:gd name="T0" fmla="*/ 0 h 40"/>
                  <a:gd name="T1" fmla="*/ 0 h 40"/>
                  <a:gd name="T2" fmla="*/ 40 h 40"/>
                  <a:gd name="T3" fmla="*/ 40 h 40"/>
                  <a:gd name="T4" fmla="*/ 0 h 40"/>
                </a:gdLst>
                <a:ahLst/>
                <a:cxnLst>
                  <a:cxn ang="0">
                    <a:pos x="0" y="T0"/>
                  </a:cxn>
                  <a:cxn ang="0">
                    <a:pos x="0" y="T1"/>
                  </a:cxn>
                  <a:cxn ang="0">
                    <a:pos x="0" y="T2"/>
                  </a:cxn>
                  <a:cxn ang="0">
                    <a:pos x="0" y="T3"/>
                  </a:cxn>
                  <a:cxn ang="0">
                    <a:pos x="0" y="T4"/>
                  </a:cxn>
                </a:cxnLst>
                <a:rect l="0" t="0" r="r" b="b"/>
                <a:pathLst>
                  <a:path h="40">
                    <a:moveTo>
                      <a:pt x="0" y="0"/>
                    </a:moveTo>
                    <a:cubicBezTo>
                      <a:pt x="0" y="0"/>
                      <a:pt x="0" y="0"/>
                      <a:pt x="0" y="0"/>
                    </a:cubicBezTo>
                    <a:cubicBezTo>
                      <a:pt x="0" y="40"/>
                      <a:pt x="0" y="40"/>
                      <a:pt x="0" y="40"/>
                    </a:cubicBezTo>
                    <a:cubicBezTo>
                      <a:pt x="0" y="40"/>
                      <a:pt x="0" y="40"/>
                      <a:pt x="0" y="40"/>
                    </a:cubicBezTo>
                    <a:cubicBezTo>
                      <a:pt x="0" y="29"/>
                      <a:pt x="0" y="15"/>
                      <a:pt x="0" y="0"/>
                    </a:cubicBezTo>
                  </a:path>
                </a:pathLst>
              </a:custGeom>
              <a:solidFill>
                <a:srgbClr val="3853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2" name="Freeform 537"/>
              <p:cNvSpPr>
                <a:spLocks/>
              </p:cNvSpPr>
              <p:nvPr/>
            </p:nvSpPr>
            <p:spPr bwMode="auto">
              <a:xfrm>
                <a:off x="8478838" y="3860800"/>
                <a:ext cx="0" cy="66675"/>
              </a:xfrm>
              <a:custGeom>
                <a:avLst/>
                <a:gdLst>
                  <a:gd name="T0" fmla="*/ 0 h 40"/>
                  <a:gd name="T1" fmla="*/ 0 h 40"/>
                  <a:gd name="T2" fmla="*/ 40 h 40"/>
                  <a:gd name="T3" fmla="*/ 0 h 40"/>
                </a:gdLst>
                <a:ahLst/>
                <a:cxnLst>
                  <a:cxn ang="0">
                    <a:pos x="0" y="T0"/>
                  </a:cxn>
                  <a:cxn ang="0">
                    <a:pos x="0" y="T1"/>
                  </a:cxn>
                  <a:cxn ang="0">
                    <a:pos x="0" y="T2"/>
                  </a:cxn>
                  <a:cxn ang="0">
                    <a:pos x="0" y="T3"/>
                  </a:cxn>
                </a:cxnLst>
                <a:rect l="0" t="0" r="r" b="b"/>
                <a:pathLst>
                  <a:path h="40">
                    <a:moveTo>
                      <a:pt x="0" y="0"/>
                    </a:moveTo>
                    <a:cubicBezTo>
                      <a:pt x="0" y="0"/>
                      <a:pt x="0" y="0"/>
                      <a:pt x="0" y="0"/>
                    </a:cubicBezTo>
                    <a:cubicBezTo>
                      <a:pt x="0" y="15"/>
                      <a:pt x="0" y="29"/>
                      <a:pt x="0" y="40"/>
                    </a:cubicBezTo>
                    <a:cubicBezTo>
                      <a:pt x="0" y="29"/>
                      <a:pt x="0" y="15"/>
                      <a:pt x="0" y="0"/>
                    </a:cubicBezTo>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3" name="Freeform 538"/>
              <p:cNvSpPr>
                <a:spLocks/>
              </p:cNvSpPr>
              <p:nvPr/>
            </p:nvSpPr>
            <p:spPr bwMode="auto">
              <a:xfrm>
                <a:off x="8616950" y="3171825"/>
                <a:ext cx="138113" cy="52387"/>
              </a:xfrm>
              <a:custGeom>
                <a:avLst/>
                <a:gdLst>
                  <a:gd name="T0" fmla="*/ 83 w 83"/>
                  <a:gd name="T1" fmla="*/ 0 h 32"/>
                  <a:gd name="T2" fmla="*/ 41 w 83"/>
                  <a:gd name="T3" fmla="*/ 32 h 32"/>
                  <a:gd name="T4" fmla="*/ 0 w 83"/>
                  <a:gd name="T5" fmla="*/ 0 h 32"/>
                  <a:gd name="T6" fmla="*/ 83 w 83"/>
                  <a:gd name="T7" fmla="*/ 0 h 32"/>
                </a:gdLst>
                <a:ahLst/>
                <a:cxnLst>
                  <a:cxn ang="0">
                    <a:pos x="T0" y="T1"/>
                  </a:cxn>
                  <a:cxn ang="0">
                    <a:pos x="T2" y="T3"/>
                  </a:cxn>
                  <a:cxn ang="0">
                    <a:pos x="T4" y="T5"/>
                  </a:cxn>
                  <a:cxn ang="0">
                    <a:pos x="T6" y="T7"/>
                  </a:cxn>
                </a:cxnLst>
                <a:rect l="0" t="0" r="r" b="b"/>
                <a:pathLst>
                  <a:path w="83" h="32">
                    <a:moveTo>
                      <a:pt x="83" y="0"/>
                    </a:moveTo>
                    <a:cubicBezTo>
                      <a:pt x="78" y="18"/>
                      <a:pt x="61" y="32"/>
                      <a:pt x="41" y="32"/>
                    </a:cubicBezTo>
                    <a:cubicBezTo>
                      <a:pt x="21" y="32"/>
                      <a:pt x="5" y="18"/>
                      <a:pt x="0" y="0"/>
                    </a:cubicBezTo>
                    <a:lnTo>
                      <a:pt x="83"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254" name="Group 253"/>
          <p:cNvGrpSpPr/>
          <p:nvPr/>
        </p:nvGrpSpPr>
        <p:grpSpPr>
          <a:xfrm>
            <a:off x="1" y="2412972"/>
            <a:ext cx="11757022" cy="548640"/>
            <a:chOff x="1" y="2412972"/>
            <a:chExt cx="11757022" cy="548640"/>
          </a:xfrm>
        </p:grpSpPr>
        <p:sp>
          <p:nvSpPr>
            <p:cNvPr id="255" name="Rectangle 254"/>
            <p:cNvSpPr/>
            <p:nvPr/>
          </p:nvSpPr>
          <p:spPr bwMode="auto">
            <a:xfrm>
              <a:off x="1" y="2412972"/>
              <a:ext cx="3248024" cy="548640"/>
            </a:xfrm>
            <a:prstGeom prst="rect">
              <a:avLst/>
            </a:prstGeom>
            <a:solidFill>
              <a:srgbClr val="0D163D"/>
            </a:solidFill>
            <a:ln w="9525" cap="flat" cmpd="sng" algn="ctr">
              <a:noFill/>
              <a:prstDash val="solid"/>
              <a:headEnd type="none" w="med" len="med"/>
              <a:tailEnd type="none" w="med" len="med"/>
            </a:ln>
            <a:effectLst/>
          </p:spPr>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	Reliable</a:t>
              </a:r>
            </a:p>
          </p:txBody>
        </p:sp>
        <p:sp>
          <p:nvSpPr>
            <p:cNvPr id="256" name="Rectangle 255"/>
            <p:cNvSpPr/>
            <p:nvPr/>
          </p:nvSpPr>
          <p:spPr>
            <a:xfrm>
              <a:off x="3248024" y="2412972"/>
              <a:ext cx="8508999" cy="548640"/>
            </a:xfrm>
            <a:prstGeom prst="rect">
              <a:avLst/>
            </a:prstGeom>
            <a:solidFill>
              <a:srgbClr val="FFFFFF">
                <a:lumMod val="95000"/>
              </a:srgbClr>
            </a:solidFill>
          </p:spPr>
          <p:txBody>
            <a:bodyPr wrap="square" lIns="91440" anchor="ctr">
              <a:noAutofit/>
            </a:bodyPr>
            <a:lstStyle/>
            <a:p>
              <a:pPr marL="53965" marR="0" lvl="1" indent="0" defTabSz="931954" eaLnBrk="1" fontAlgn="auto" latinLnBrk="0" hangingPunct="1">
                <a:lnSpc>
                  <a:spcPct val="100000"/>
                </a:lnSpc>
                <a:spcBef>
                  <a:spcPts val="0"/>
                </a:spcBef>
                <a:spcAft>
                  <a:spcPts val="0"/>
                </a:spcAft>
                <a:buClr>
                  <a:srgbClr val="68217A">
                    <a:lumMod val="50000"/>
                  </a:srgbClr>
                </a:buClr>
                <a:buSzTx/>
                <a:buFontTx/>
                <a:buNone/>
                <a:tabLst>
                  <a:tab pos="658368" algn="l"/>
                </a:tabLst>
                <a:defRPr/>
              </a:pPr>
              <a:r>
                <a:rPr kumimoji="0" lang="en-IN" sz="14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Must be highly available and reliable (no permanent loss of data).</a:t>
              </a:r>
            </a:p>
          </p:txBody>
        </p:sp>
        <p:grpSp>
          <p:nvGrpSpPr>
            <p:cNvPr id="257" name="Group 256"/>
            <p:cNvGrpSpPr/>
            <p:nvPr/>
          </p:nvGrpSpPr>
          <p:grpSpPr>
            <a:xfrm>
              <a:off x="600562" y="2463834"/>
              <a:ext cx="573440" cy="446916"/>
              <a:chOff x="2767746" y="2445068"/>
              <a:chExt cx="2560896" cy="1995860"/>
            </a:xfrm>
          </p:grpSpPr>
          <p:sp>
            <p:nvSpPr>
              <p:cNvPr id="258" name="Rectangle 125"/>
              <p:cNvSpPr>
                <a:spLocks noChangeArrowheads="1"/>
              </p:cNvSpPr>
              <p:nvPr/>
            </p:nvSpPr>
            <p:spPr bwMode="auto">
              <a:xfrm>
                <a:off x="2767746" y="2445068"/>
                <a:ext cx="2560894" cy="19362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9" name="Rectangle 126"/>
              <p:cNvSpPr>
                <a:spLocks noChangeArrowheads="1"/>
              </p:cNvSpPr>
              <p:nvPr/>
            </p:nvSpPr>
            <p:spPr bwMode="auto">
              <a:xfrm>
                <a:off x="3145041" y="2766241"/>
                <a:ext cx="764024" cy="161504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0" name="Rectangle 127"/>
              <p:cNvSpPr>
                <a:spLocks noChangeArrowheads="1"/>
              </p:cNvSpPr>
              <p:nvPr/>
            </p:nvSpPr>
            <p:spPr bwMode="auto">
              <a:xfrm>
                <a:off x="3993957" y="2977297"/>
                <a:ext cx="485767" cy="140398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1" name="Rectangle 128"/>
              <p:cNvSpPr>
                <a:spLocks noChangeArrowheads="1"/>
              </p:cNvSpPr>
              <p:nvPr/>
            </p:nvSpPr>
            <p:spPr bwMode="auto">
              <a:xfrm>
                <a:off x="4677807" y="3206706"/>
                <a:ext cx="650835" cy="117457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2" name="Rectangle 129"/>
              <p:cNvSpPr>
                <a:spLocks noChangeArrowheads="1"/>
              </p:cNvSpPr>
              <p:nvPr/>
            </p:nvSpPr>
            <p:spPr bwMode="auto">
              <a:xfrm>
                <a:off x="4621213" y="2757064"/>
                <a:ext cx="580091" cy="41293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3" name="Rectangle 130"/>
              <p:cNvSpPr>
                <a:spLocks noChangeArrowheads="1"/>
              </p:cNvSpPr>
              <p:nvPr/>
            </p:nvSpPr>
            <p:spPr bwMode="auto">
              <a:xfrm>
                <a:off x="4819293" y="3128705"/>
                <a:ext cx="188648" cy="7800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4" name="Rectangle 131"/>
              <p:cNvSpPr>
                <a:spLocks noChangeArrowheads="1"/>
              </p:cNvSpPr>
              <p:nvPr/>
            </p:nvSpPr>
            <p:spPr bwMode="auto">
              <a:xfrm>
                <a:off x="4102431" y="2816709"/>
                <a:ext cx="103756" cy="1605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5" name="Rectangle 132"/>
              <p:cNvSpPr>
                <a:spLocks noChangeArrowheads="1"/>
              </p:cNvSpPr>
              <p:nvPr/>
            </p:nvSpPr>
            <p:spPr bwMode="auto">
              <a:xfrm>
                <a:off x="4239199" y="2816709"/>
                <a:ext cx="103756" cy="1605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6" name="Rectangle 133"/>
              <p:cNvSpPr>
                <a:spLocks noChangeArrowheads="1"/>
              </p:cNvSpPr>
              <p:nvPr/>
            </p:nvSpPr>
            <p:spPr bwMode="auto">
              <a:xfrm>
                <a:off x="2767746" y="3059884"/>
                <a:ext cx="278254" cy="132139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7" name="Rectangle 135"/>
              <p:cNvSpPr>
                <a:spLocks noChangeArrowheads="1"/>
              </p:cNvSpPr>
              <p:nvPr/>
            </p:nvSpPr>
            <p:spPr bwMode="auto">
              <a:xfrm>
                <a:off x="2767746" y="4381280"/>
                <a:ext cx="2560894" cy="5964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8" name="Rectangle 168"/>
              <p:cNvSpPr>
                <a:spLocks noChangeArrowheads="1"/>
              </p:cNvSpPr>
              <p:nvPr/>
            </p:nvSpPr>
            <p:spPr bwMode="auto">
              <a:xfrm>
                <a:off x="3772297" y="3174587"/>
                <a:ext cx="811186" cy="120669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9" name="Rectangle 169"/>
              <p:cNvSpPr>
                <a:spLocks noChangeArrowheads="1"/>
              </p:cNvSpPr>
              <p:nvPr/>
            </p:nvSpPr>
            <p:spPr bwMode="auto">
              <a:xfrm>
                <a:off x="3828892" y="3220469"/>
                <a:ext cx="693280" cy="105528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0" name="Rectangle 170"/>
              <p:cNvSpPr>
                <a:spLocks noChangeArrowheads="1"/>
              </p:cNvSpPr>
              <p:nvPr/>
            </p:nvSpPr>
            <p:spPr bwMode="auto">
              <a:xfrm>
                <a:off x="3876054" y="3270941"/>
                <a:ext cx="603673"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1" name="Rectangle 171"/>
              <p:cNvSpPr>
                <a:spLocks noChangeArrowheads="1"/>
              </p:cNvSpPr>
              <p:nvPr/>
            </p:nvSpPr>
            <p:spPr bwMode="auto">
              <a:xfrm>
                <a:off x="3904351"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2" name="Rectangle 172"/>
              <p:cNvSpPr>
                <a:spLocks noChangeArrowheads="1"/>
              </p:cNvSpPr>
              <p:nvPr/>
            </p:nvSpPr>
            <p:spPr bwMode="auto">
              <a:xfrm>
                <a:off x="3932648" y="3298470"/>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3" name="Rectangle 173"/>
              <p:cNvSpPr>
                <a:spLocks noChangeArrowheads="1"/>
              </p:cNvSpPr>
              <p:nvPr/>
            </p:nvSpPr>
            <p:spPr bwMode="auto">
              <a:xfrm>
                <a:off x="3975092"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4" name="Rectangle 174"/>
              <p:cNvSpPr>
                <a:spLocks noChangeArrowheads="1"/>
              </p:cNvSpPr>
              <p:nvPr/>
            </p:nvSpPr>
            <p:spPr bwMode="auto">
              <a:xfrm>
                <a:off x="4012822"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5" name="Rectangle 175"/>
              <p:cNvSpPr>
                <a:spLocks noChangeArrowheads="1"/>
              </p:cNvSpPr>
              <p:nvPr/>
            </p:nvSpPr>
            <p:spPr bwMode="auto">
              <a:xfrm>
                <a:off x="4050551"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6" name="Rectangle 176"/>
              <p:cNvSpPr>
                <a:spLocks noChangeArrowheads="1"/>
              </p:cNvSpPr>
              <p:nvPr/>
            </p:nvSpPr>
            <p:spPr bwMode="auto">
              <a:xfrm>
                <a:off x="4088281" y="3298470"/>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7" name="Oval 177"/>
              <p:cNvSpPr>
                <a:spLocks noChangeArrowheads="1"/>
              </p:cNvSpPr>
              <p:nvPr/>
            </p:nvSpPr>
            <p:spPr bwMode="auto">
              <a:xfrm>
                <a:off x="4375970" y="3330585"/>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8" name="Rectangle 178"/>
              <p:cNvSpPr>
                <a:spLocks noChangeArrowheads="1"/>
              </p:cNvSpPr>
              <p:nvPr/>
            </p:nvSpPr>
            <p:spPr bwMode="auto">
              <a:xfrm>
                <a:off x="3876054" y="3481997"/>
                <a:ext cx="603673"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9" name="Rectangle 179"/>
              <p:cNvSpPr>
                <a:spLocks noChangeArrowheads="1"/>
              </p:cNvSpPr>
              <p:nvPr/>
            </p:nvSpPr>
            <p:spPr bwMode="auto">
              <a:xfrm>
                <a:off x="3904351"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0" name="Rectangle 180"/>
              <p:cNvSpPr>
                <a:spLocks noChangeArrowheads="1"/>
              </p:cNvSpPr>
              <p:nvPr/>
            </p:nvSpPr>
            <p:spPr bwMode="auto">
              <a:xfrm>
                <a:off x="3932648" y="3514113"/>
                <a:ext cx="23580"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1" name="Rectangle 181"/>
              <p:cNvSpPr>
                <a:spLocks noChangeArrowheads="1"/>
              </p:cNvSpPr>
              <p:nvPr/>
            </p:nvSpPr>
            <p:spPr bwMode="auto">
              <a:xfrm>
                <a:off x="3975092"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2" name="Rectangle 182"/>
              <p:cNvSpPr>
                <a:spLocks noChangeArrowheads="1"/>
              </p:cNvSpPr>
              <p:nvPr/>
            </p:nvSpPr>
            <p:spPr bwMode="auto">
              <a:xfrm>
                <a:off x="4012822"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3" name="Rectangle 183"/>
              <p:cNvSpPr>
                <a:spLocks noChangeArrowheads="1"/>
              </p:cNvSpPr>
              <p:nvPr/>
            </p:nvSpPr>
            <p:spPr bwMode="auto">
              <a:xfrm>
                <a:off x="4050551"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4" name="Rectangle 184"/>
              <p:cNvSpPr>
                <a:spLocks noChangeArrowheads="1"/>
              </p:cNvSpPr>
              <p:nvPr/>
            </p:nvSpPr>
            <p:spPr bwMode="auto">
              <a:xfrm>
                <a:off x="4088281" y="3514113"/>
                <a:ext cx="23580"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5" name="Oval 185"/>
              <p:cNvSpPr>
                <a:spLocks noChangeArrowheads="1"/>
              </p:cNvSpPr>
              <p:nvPr/>
            </p:nvSpPr>
            <p:spPr bwMode="auto">
              <a:xfrm>
                <a:off x="4375970" y="3546231"/>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6" name="Rectangle 186"/>
              <p:cNvSpPr>
                <a:spLocks noChangeArrowheads="1"/>
              </p:cNvSpPr>
              <p:nvPr/>
            </p:nvSpPr>
            <p:spPr bwMode="auto">
              <a:xfrm>
                <a:off x="3876054" y="3697640"/>
                <a:ext cx="603673"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7" name="Rectangle 187"/>
              <p:cNvSpPr>
                <a:spLocks noChangeArrowheads="1"/>
              </p:cNvSpPr>
              <p:nvPr/>
            </p:nvSpPr>
            <p:spPr bwMode="auto">
              <a:xfrm>
                <a:off x="3904351"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8" name="Rectangle 188"/>
              <p:cNvSpPr>
                <a:spLocks noChangeArrowheads="1"/>
              </p:cNvSpPr>
              <p:nvPr/>
            </p:nvSpPr>
            <p:spPr bwMode="auto">
              <a:xfrm>
                <a:off x="3932648" y="3729759"/>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9" name="Rectangle 189"/>
              <p:cNvSpPr>
                <a:spLocks noChangeArrowheads="1"/>
              </p:cNvSpPr>
              <p:nvPr/>
            </p:nvSpPr>
            <p:spPr bwMode="auto">
              <a:xfrm>
                <a:off x="3975092"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0" name="Rectangle 190"/>
              <p:cNvSpPr>
                <a:spLocks noChangeArrowheads="1"/>
              </p:cNvSpPr>
              <p:nvPr/>
            </p:nvSpPr>
            <p:spPr bwMode="auto">
              <a:xfrm>
                <a:off x="4012822"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1" name="Rectangle 191"/>
              <p:cNvSpPr>
                <a:spLocks noChangeArrowheads="1"/>
              </p:cNvSpPr>
              <p:nvPr/>
            </p:nvSpPr>
            <p:spPr bwMode="auto">
              <a:xfrm>
                <a:off x="4050551"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2" name="Rectangle 192"/>
              <p:cNvSpPr>
                <a:spLocks noChangeArrowheads="1"/>
              </p:cNvSpPr>
              <p:nvPr/>
            </p:nvSpPr>
            <p:spPr bwMode="auto">
              <a:xfrm>
                <a:off x="4088281" y="3729759"/>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3" name="Oval 193"/>
              <p:cNvSpPr>
                <a:spLocks noChangeArrowheads="1"/>
              </p:cNvSpPr>
              <p:nvPr/>
            </p:nvSpPr>
            <p:spPr bwMode="auto">
              <a:xfrm>
                <a:off x="4375970" y="3761874"/>
                <a:ext cx="42444" cy="4129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4" name="Rectangle 194"/>
              <p:cNvSpPr>
                <a:spLocks noChangeArrowheads="1"/>
              </p:cNvSpPr>
              <p:nvPr/>
            </p:nvSpPr>
            <p:spPr bwMode="auto">
              <a:xfrm>
                <a:off x="3876054" y="3913286"/>
                <a:ext cx="603673"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5" name="Rectangle 195"/>
              <p:cNvSpPr>
                <a:spLocks noChangeArrowheads="1"/>
              </p:cNvSpPr>
              <p:nvPr/>
            </p:nvSpPr>
            <p:spPr bwMode="auto">
              <a:xfrm>
                <a:off x="3904351"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6" name="Rectangle 196"/>
              <p:cNvSpPr>
                <a:spLocks noChangeArrowheads="1"/>
              </p:cNvSpPr>
              <p:nvPr/>
            </p:nvSpPr>
            <p:spPr bwMode="auto">
              <a:xfrm>
                <a:off x="3932648" y="3940815"/>
                <a:ext cx="23580"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7" name="Rectangle 197"/>
              <p:cNvSpPr>
                <a:spLocks noChangeArrowheads="1"/>
              </p:cNvSpPr>
              <p:nvPr/>
            </p:nvSpPr>
            <p:spPr bwMode="auto">
              <a:xfrm>
                <a:off x="3975092"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8" name="Rectangle 198"/>
              <p:cNvSpPr>
                <a:spLocks noChangeArrowheads="1"/>
              </p:cNvSpPr>
              <p:nvPr/>
            </p:nvSpPr>
            <p:spPr bwMode="auto">
              <a:xfrm>
                <a:off x="4012822"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9" name="Rectangle 199"/>
              <p:cNvSpPr>
                <a:spLocks noChangeArrowheads="1"/>
              </p:cNvSpPr>
              <p:nvPr/>
            </p:nvSpPr>
            <p:spPr bwMode="auto">
              <a:xfrm>
                <a:off x="4050551"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0" name="Rectangle 200"/>
              <p:cNvSpPr>
                <a:spLocks noChangeArrowheads="1"/>
              </p:cNvSpPr>
              <p:nvPr/>
            </p:nvSpPr>
            <p:spPr bwMode="auto">
              <a:xfrm>
                <a:off x="4088281" y="3940815"/>
                <a:ext cx="23580"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1" name="Oval 201"/>
              <p:cNvSpPr>
                <a:spLocks noChangeArrowheads="1"/>
              </p:cNvSpPr>
              <p:nvPr/>
            </p:nvSpPr>
            <p:spPr bwMode="auto">
              <a:xfrm>
                <a:off x="4375970" y="3972931"/>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2" name="Rectangle 202"/>
              <p:cNvSpPr>
                <a:spLocks noChangeArrowheads="1"/>
              </p:cNvSpPr>
              <p:nvPr/>
            </p:nvSpPr>
            <p:spPr bwMode="auto">
              <a:xfrm>
                <a:off x="2904517" y="3174587"/>
                <a:ext cx="801754" cy="120669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3" name="Rectangle 203"/>
              <p:cNvSpPr>
                <a:spLocks noChangeArrowheads="1"/>
              </p:cNvSpPr>
              <p:nvPr/>
            </p:nvSpPr>
            <p:spPr bwMode="auto">
              <a:xfrm>
                <a:off x="2956394" y="3220469"/>
                <a:ext cx="697997" cy="105528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4" name="Rectangle 204"/>
              <p:cNvSpPr>
                <a:spLocks noChangeArrowheads="1"/>
              </p:cNvSpPr>
              <p:nvPr/>
            </p:nvSpPr>
            <p:spPr bwMode="auto">
              <a:xfrm>
                <a:off x="3003556" y="3270941"/>
                <a:ext cx="608388"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5" name="Rectangle 205"/>
              <p:cNvSpPr>
                <a:spLocks noChangeArrowheads="1"/>
              </p:cNvSpPr>
              <p:nvPr/>
            </p:nvSpPr>
            <p:spPr bwMode="auto">
              <a:xfrm>
                <a:off x="3027138"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6" name="Rectangle 206"/>
              <p:cNvSpPr>
                <a:spLocks noChangeArrowheads="1"/>
              </p:cNvSpPr>
              <p:nvPr/>
            </p:nvSpPr>
            <p:spPr bwMode="auto">
              <a:xfrm>
                <a:off x="3069582"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7" name="Rectangle 207"/>
              <p:cNvSpPr>
                <a:spLocks noChangeArrowheads="1"/>
              </p:cNvSpPr>
              <p:nvPr/>
            </p:nvSpPr>
            <p:spPr bwMode="auto">
              <a:xfrm>
                <a:off x="3107312"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8" name="Rectangle 208"/>
              <p:cNvSpPr>
                <a:spLocks noChangeArrowheads="1"/>
              </p:cNvSpPr>
              <p:nvPr/>
            </p:nvSpPr>
            <p:spPr bwMode="auto">
              <a:xfrm>
                <a:off x="3145041"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9" name="Rectangle 209"/>
              <p:cNvSpPr>
                <a:spLocks noChangeArrowheads="1"/>
              </p:cNvSpPr>
              <p:nvPr/>
            </p:nvSpPr>
            <p:spPr bwMode="auto">
              <a:xfrm>
                <a:off x="3182771" y="3298470"/>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0" name="Rectangle 210"/>
              <p:cNvSpPr>
                <a:spLocks noChangeArrowheads="1"/>
              </p:cNvSpPr>
              <p:nvPr/>
            </p:nvSpPr>
            <p:spPr bwMode="auto">
              <a:xfrm>
                <a:off x="3220501" y="3298470"/>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1" name="Oval 211"/>
              <p:cNvSpPr>
                <a:spLocks noChangeArrowheads="1"/>
              </p:cNvSpPr>
              <p:nvPr/>
            </p:nvSpPr>
            <p:spPr bwMode="auto">
              <a:xfrm>
                <a:off x="3508190" y="3330585"/>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2" name="Rectangle 212"/>
              <p:cNvSpPr>
                <a:spLocks noChangeArrowheads="1"/>
              </p:cNvSpPr>
              <p:nvPr/>
            </p:nvSpPr>
            <p:spPr bwMode="auto">
              <a:xfrm>
                <a:off x="3003556" y="3481997"/>
                <a:ext cx="608388"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3" name="Rectangle 213"/>
              <p:cNvSpPr>
                <a:spLocks noChangeArrowheads="1"/>
              </p:cNvSpPr>
              <p:nvPr/>
            </p:nvSpPr>
            <p:spPr bwMode="auto">
              <a:xfrm>
                <a:off x="3027138"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4" name="Rectangle 214"/>
              <p:cNvSpPr>
                <a:spLocks noChangeArrowheads="1"/>
              </p:cNvSpPr>
              <p:nvPr/>
            </p:nvSpPr>
            <p:spPr bwMode="auto">
              <a:xfrm>
                <a:off x="3069582"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5" name="Rectangle 215"/>
              <p:cNvSpPr>
                <a:spLocks noChangeArrowheads="1"/>
              </p:cNvSpPr>
              <p:nvPr/>
            </p:nvSpPr>
            <p:spPr bwMode="auto">
              <a:xfrm>
                <a:off x="3107312"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6" name="Rectangle 216"/>
              <p:cNvSpPr>
                <a:spLocks noChangeArrowheads="1"/>
              </p:cNvSpPr>
              <p:nvPr/>
            </p:nvSpPr>
            <p:spPr bwMode="auto">
              <a:xfrm>
                <a:off x="3145041"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7" name="Rectangle 217"/>
              <p:cNvSpPr>
                <a:spLocks noChangeArrowheads="1"/>
              </p:cNvSpPr>
              <p:nvPr/>
            </p:nvSpPr>
            <p:spPr bwMode="auto">
              <a:xfrm>
                <a:off x="3182771" y="3514113"/>
                <a:ext cx="18865"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8" name="Rectangle 218"/>
              <p:cNvSpPr>
                <a:spLocks noChangeArrowheads="1"/>
              </p:cNvSpPr>
              <p:nvPr/>
            </p:nvSpPr>
            <p:spPr bwMode="auto">
              <a:xfrm>
                <a:off x="3220501" y="3514113"/>
                <a:ext cx="23580" cy="10553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9" name="Oval 219"/>
              <p:cNvSpPr>
                <a:spLocks noChangeArrowheads="1"/>
              </p:cNvSpPr>
              <p:nvPr/>
            </p:nvSpPr>
            <p:spPr bwMode="auto">
              <a:xfrm>
                <a:off x="3508190" y="3546231"/>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0" name="Rectangle 220"/>
              <p:cNvSpPr>
                <a:spLocks noChangeArrowheads="1"/>
              </p:cNvSpPr>
              <p:nvPr/>
            </p:nvSpPr>
            <p:spPr bwMode="auto">
              <a:xfrm>
                <a:off x="3003556" y="3697640"/>
                <a:ext cx="608388"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1" name="Rectangle 221"/>
              <p:cNvSpPr>
                <a:spLocks noChangeArrowheads="1"/>
              </p:cNvSpPr>
              <p:nvPr/>
            </p:nvSpPr>
            <p:spPr bwMode="auto">
              <a:xfrm>
                <a:off x="3027138"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2" name="Rectangle 222"/>
              <p:cNvSpPr>
                <a:spLocks noChangeArrowheads="1"/>
              </p:cNvSpPr>
              <p:nvPr/>
            </p:nvSpPr>
            <p:spPr bwMode="auto">
              <a:xfrm>
                <a:off x="3069582"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3" name="Rectangle 223"/>
              <p:cNvSpPr>
                <a:spLocks noChangeArrowheads="1"/>
              </p:cNvSpPr>
              <p:nvPr/>
            </p:nvSpPr>
            <p:spPr bwMode="auto">
              <a:xfrm>
                <a:off x="3107312"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4" name="Rectangle 224"/>
              <p:cNvSpPr>
                <a:spLocks noChangeArrowheads="1"/>
              </p:cNvSpPr>
              <p:nvPr/>
            </p:nvSpPr>
            <p:spPr bwMode="auto">
              <a:xfrm>
                <a:off x="3145041"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5" name="Rectangle 225"/>
              <p:cNvSpPr>
                <a:spLocks noChangeArrowheads="1"/>
              </p:cNvSpPr>
              <p:nvPr/>
            </p:nvSpPr>
            <p:spPr bwMode="auto">
              <a:xfrm>
                <a:off x="3182771" y="3729759"/>
                <a:ext cx="18865"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6" name="Rectangle 226"/>
              <p:cNvSpPr>
                <a:spLocks noChangeArrowheads="1"/>
              </p:cNvSpPr>
              <p:nvPr/>
            </p:nvSpPr>
            <p:spPr bwMode="auto">
              <a:xfrm>
                <a:off x="3220501" y="3729759"/>
                <a:ext cx="23580" cy="1101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7" name="Oval 227"/>
              <p:cNvSpPr>
                <a:spLocks noChangeArrowheads="1"/>
              </p:cNvSpPr>
              <p:nvPr/>
            </p:nvSpPr>
            <p:spPr bwMode="auto">
              <a:xfrm>
                <a:off x="3508190" y="3761874"/>
                <a:ext cx="42444" cy="4129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8" name="Rectangle 228"/>
              <p:cNvSpPr>
                <a:spLocks noChangeArrowheads="1"/>
              </p:cNvSpPr>
              <p:nvPr/>
            </p:nvSpPr>
            <p:spPr bwMode="auto">
              <a:xfrm>
                <a:off x="3003556" y="3913286"/>
                <a:ext cx="608388" cy="1697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9" name="Rectangle 229"/>
              <p:cNvSpPr>
                <a:spLocks noChangeArrowheads="1"/>
              </p:cNvSpPr>
              <p:nvPr/>
            </p:nvSpPr>
            <p:spPr bwMode="auto">
              <a:xfrm>
                <a:off x="3027138"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0" name="Rectangle 230"/>
              <p:cNvSpPr>
                <a:spLocks noChangeArrowheads="1"/>
              </p:cNvSpPr>
              <p:nvPr/>
            </p:nvSpPr>
            <p:spPr bwMode="auto">
              <a:xfrm>
                <a:off x="3069582"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1" name="Rectangle 231"/>
              <p:cNvSpPr>
                <a:spLocks noChangeArrowheads="1"/>
              </p:cNvSpPr>
              <p:nvPr/>
            </p:nvSpPr>
            <p:spPr bwMode="auto">
              <a:xfrm>
                <a:off x="3107312"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2" name="Rectangle 232"/>
              <p:cNvSpPr>
                <a:spLocks noChangeArrowheads="1"/>
              </p:cNvSpPr>
              <p:nvPr/>
            </p:nvSpPr>
            <p:spPr bwMode="auto">
              <a:xfrm>
                <a:off x="3145041"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3" name="Rectangle 233"/>
              <p:cNvSpPr>
                <a:spLocks noChangeArrowheads="1"/>
              </p:cNvSpPr>
              <p:nvPr/>
            </p:nvSpPr>
            <p:spPr bwMode="auto">
              <a:xfrm>
                <a:off x="3182771" y="3940815"/>
                <a:ext cx="18865"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4" name="Rectangle 234"/>
              <p:cNvSpPr>
                <a:spLocks noChangeArrowheads="1"/>
              </p:cNvSpPr>
              <p:nvPr/>
            </p:nvSpPr>
            <p:spPr bwMode="auto">
              <a:xfrm>
                <a:off x="3220501" y="3940815"/>
                <a:ext cx="23580" cy="11470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5" name="Oval 235"/>
              <p:cNvSpPr>
                <a:spLocks noChangeArrowheads="1"/>
              </p:cNvSpPr>
              <p:nvPr/>
            </p:nvSpPr>
            <p:spPr bwMode="auto">
              <a:xfrm>
                <a:off x="3508190" y="3972931"/>
                <a:ext cx="42444" cy="458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6" name="Freeform 236"/>
              <p:cNvSpPr>
                <a:spLocks/>
              </p:cNvSpPr>
              <p:nvPr/>
            </p:nvSpPr>
            <p:spPr bwMode="auto">
              <a:xfrm>
                <a:off x="4621213" y="3344351"/>
                <a:ext cx="297119" cy="495523"/>
              </a:xfrm>
              <a:custGeom>
                <a:avLst/>
                <a:gdLst>
                  <a:gd name="T0" fmla="*/ 46 w 46"/>
                  <a:gd name="T1" fmla="*/ 76 h 79"/>
                  <a:gd name="T2" fmla="*/ 43 w 46"/>
                  <a:gd name="T3" fmla="*/ 79 h 79"/>
                  <a:gd name="T4" fmla="*/ 3 w 46"/>
                  <a:gd name="T5" fmla="*/ 79 h 79"/>
                  <a:gd name="T6" fmla="*/ 0 w 46"/>
                  <a:gd name="T7" fmla="*/ 76 h 79"/>
                  <a:gd name="T8" fmla="*/ 0 w 46"/>
                  <a:gd name="T9" fmla="*/ 3 h 79"/>
                  <a:gd name="T10" fmla="*/ 3 w 46"/>
                  <a:gd name="T11" fmla="*/ 0 h 79"/>
                  <a:gd name="T12" fmla="*/ 43 w 46"/>
                  <a:gd name="T13" fmla="*/ 0 h 79"/>
                  <a:gd name="T14" fmla="*/ 46 w 46"/>
                  <a:gd name="T15" fmla="*/ 3 h 79"/>
                  <a:gd name="T16" fmla="*/ 46 w 46"/>
                  <a:gd name="T17"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9">
                    <a:moveTo>
                      <a:pt x="46" y="76"/>
                    </a:moveTo>
                    <a:cubicBezTo>
                      <a:pt x="46" y="77"/>
                      <a:pt x="45" y="79"/>
                      <a:pt x="43" y="79"/>
                    </a:cubicBezTo>
                    <a:cubicBezTo>
                      <a:pt x="3" y="79"/>
                      <a:pt x="3" y="79"/>
                      <a:pt x="3" y="79"/>
                    </a:cubicBezTo>
                    <a:cubicBezTo>
                      <a:pt x="2" y="79"/>
                      <a:pt x="0" y="77"/>
                      <a:pt x="0" y="76"/>
                    </a:cubicBezTo>
                    <a:cubicBezTo>
                      <a:pt x="0" y="3"/>
                      <a:pt x="0" y="3"/>
                      <a:pt x="0" y="3"/>
                    </a:cubicBezTo>
                    <a:cubicBezTo>
                      <a:pt x="0" y="2"/>
                      <a:pt x="2" y="0"/>
                      <a:pt x="3" y="0"/>
                    </a:cubicBezTo>
                    <a:cubicBezTo>
                      <a:pt x="43" y="0"/>
                      <a:pt x="43" y="0"/>
                      <a:pt x="43" y="0"/>
                    </a:cubicBezTo>
                    <a:cubicBezTo>
                      <a:pt x="45" y="0"/>
                      <a:pt x="46" y="2"/>
                      <a:pt x="46" y="3"/>
                    </a:cubicBezTo>
                    <a:lnTo>
                      <a:pt x="46" y="7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7" name="Rectangle 237"/>
              <p:cNvSpPr>
                <a:spLocks noChangeArrowheads="1"/>
              </p:cNvSpPr>
              <p:nvPr/>
            </p:nvSpPr>
            <p:spPr bwMode="auto">
              <a:xfrm>
                <a:off x="4654225" y="3376467"/>
                <a:ext cx="240525" cy="38540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8" name="Rectangle 238"/>
              <p:cNvSpPr>
                <a:spLocks noChangeArrowheads="1"/>
              </p:cNvSpPr>
              <p:nvPr/>
            </p:nvSpPr>
            <p:spPr bwMode="auto">
              <a:xfrm>
                <a:off x="4673089" y="3422349"/>
                <a:ext cx="193363" cy="188117"/>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9" name="Rectangle 239"/>
              <p:cNvSpPr>
                <a:spLocks noChangeArrowheads="1"/>
              </p:cNvSpPr>
              <p:nvPr/>
            </p:nvSpPr>
            <p:spPr bwMode="auto">
              <a:xfrm>
                <a:off x="4673089" y="3619642"/>
                <a:ext cx="56594" cy="50471"/>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0" name="Rectangle 240"/>
              <p:cNvSpPr>
                <a:spLocks noChangeArrowheads="1"/>
              </p:cNvSpPr>
              <p:nvPr/>
            </p:nvSpPr>
            <p:spPr bwMode="auto">
              <a:xfrm>
                <a:off x="4743834" y="3619642"/>
                <a:ext cx="51877" cy="50471"/>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1" name="Rectangle 241"/>
              <p:cNvSpPr>
                <a:spLocks noChangeArrowheads="1"/>
              </p:cNvSpPr>
              <p:nvPr/>
            </p:nvSpPr>
            <p:spPr bwMode="auto">
              <a:xfrm>
                <a:off x="4809861" y="3619642"/>
                <a:ext cx="56594" cy="50471"/>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2" name="Rectangle 242"/>
              <p:cNvSpPr>
                <a:spLocks noChangeArrowheads="1"/>
              </p:cNvSpPr>
              <p:nvPr/>
            </p:nvSpPr>
            <p:spPr bwMode="auto">
              <a:xfrm>
                <a:off x="4673089" y="3683877"/>
                <a:ext cx="193363" cy="5505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3" name="Freeform 243"/>
              <p:cNvSpPr>
                <a:spLocks/>
              </p:cNvSpPr>
              <p:nvPr/>
            </p:nvSpPr>
            <p:spPr bwMode="auto">
              <a:xfrm>
                <a:off x="4621213" y="3890343"/>
                <a:ext cx="292404" cy="490937"/>
              </a:xfrm>
              <a:custGeom>
                <a:avLst/>
                <a:gdLst>
                  <a:gd name="T0" fmla="*/ 45 w 45"/>
                  <a:gd name="T1" fmla="*/ 75 h 78"/>
                  <a:gd name="T2" fmla="*/ 42 w 45"/>
                  <a:gd name="T3" fmla="*/ 78 h 78"/>
                  <a:gd name="T4" fmla="*/ 3 w 45"/>
                  <a:gd name="T5" fmla="*/ 78 h 78"/>
                  <a:gd name="T6" fmla="*/ 0 w 45"/>
                  <a:gd name="T7" fmla="*/ 75 h 78"/>
                  <a:gd name="T8" fmla="*/ 0 w 45"/>
                  <a:gd name="T9" fmla="*/ 3 h 78"/>
                  <a:gd name="T10" fmla="*/ 3 w 45"/>
                  <a:gd name="T11" fmla="*/ 0 h 78"/>
                  <a:gd name="T12" fmla="*/ 42 w 45"/>
                  <a:gd name="T13" fmla="*/ 0 h 78"/>
                  <a:gd name="T14" fmla="*/ 45 w 45"/>
                  <a:gd name="T15" fmla="*/ 3 h 78"/>
                  <a:gd name="T16" fmla="*/ 45 w 45"/>
                  <a:gd name="T17"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8">
                    <a:moveTo>
                      <a:pt x="45" y="75"/>
                    </a:moveTo>
                    <a:cubicBezTo>
                      <a:pt x="45" y="77"/>
                      <a:pt x="44" y="78"/>
                      <a:pt x="42" y="78"/>
                    </a:cubicBezTo>
                    <a:cubicBezTo>
                      <a:pt x="3" y="78"/>
                      <a:pt x="3" y="78"/>
                      <a:pt x="3" y="78"/>
                    </a:cubicBezTo>
                    <a:cubicBezTo>
                      <a:pt x="1" y="78"/>
                      <a:pt x="0" y="77"/>
                      <a:pt x="0" y="75"/>
                    </a:cubicBezTo>
                    <a:cubicBezTo>
                      <a:pt x="0" y="3"/>
                      <a:pt x="0" y="3"/>
                      <a:pt x="0" y="3"/>
                    </a:cubicBezTo>
                    <a:cubicBezTo>
                      <a:pt x="0" y="1"/>
                      <a:pt x="1" y="0"/>
                      <a:pt x="3" y="0"/>
                    </a:cubicBezTo>
                    <a:cubicBezTo>
                      <a:pt x="42" y="0"/>
                      <a:pt x="42" y="0"/>
                      <a:pt x="42" y="0"/>
                    </a:cubicBezTo>
                    <a:cubicBezTo>
                      <a:pt x="44" y="0"/>
                      <a:pt x="45" y="1"/>
                      <a:pt x="45" y="3"/>
                    </a:cubicBezTo>
                    <a:lnTo>
                      <a:pt x="45" y="7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4" name="Rectangle 244"/>
              <p:cNvSpPr>
                <a:spLocks noChangeArrowheads="1"/>
              </p:cNvSpPr>
              <p:nvPr/>
            </p:nvSpPr>
            <p:spPr bwMode="auto">
              <a:xfrm>
                <a:off x="4644792" y="3917873"/>
                <a:ext cx="240525" cy="38999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5" name="Rectangle 245"/>
              <p:cNvSpPr>
                <a:spLocks noChangeArrowheads="1"/>
              </p:cNvSpPr>
              <p:nvPr/>
            </p:nvSpPr>
            <p:spPr bwMode="auto">
              <a:xfrm>
                <a:off x="4673089" y="3963754"/>
                <a:ext cx="188648" cy="188117"/>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6" name="Rectangle 246"/>
              <p:cNvSpPr>
                <a:spLocks noChangeArrowheads="1"/>
              </p:cNvSpPr>
              <p:nvPr/>
            </p:nvSpPr>
            <p:spPr bwMode="auto">
              <a:xfrm>
                <a:off x="4673089" y="4161048"/>
                <a:ext cx="51877" cy="5964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7" name="Rectangle 247"/>
              <p:cNvSpPr>
                <a:spLocks noChangeArrowheads="1"/>
              </p:cNvSpPr>
              <p:nvPr/>
            </p:nvSpPr>
            <p:spPr bwMode="auto">
              <a:xfrm>
                <a:off x="4739116" y="4161048"/>
                <a:ext cx="56594" cy="5964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8" name="Rectangle 248"/>
              <p:cNvSpPr>
                <a:spLocks noChangeArrowheads="1"/>
              </p:cNvSpPr>
              <p:nvPr/>
            </p:nvSpPr>
            <p:spPr bwMode="auto">
              <a:xfrm>
                <a:off x="4809861" y="4161048"/>
                <a:ext cx="51877" cy="5964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9" name="Rectangle 249"/>
              <p:cNvSpPr>
                <a:spLocks noChangeArrowheads="1"/>
              </p:cNvSpPr>
              <p:nvPr/>
            </p:nvSpPr>
            <p:spPr bwMode="auto">
              <a:xfrm>
                <a:off x="4673089" y="4234458"/>
                <a:ext cx="188648" cy="50471"/>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0" name="Freeform 250"/>
              <p:cNvSpPr>
                <a:spLocks/>
              </p:cNvSpPr>
              <p:nvPr/>
            </p:nvSpPr>
            <p:spPr bwMode="auto">
              <a:xfrm>
                <a:off x="4965494" y="3344351"/>
                <a:ext cx="297119" cy="495523"/>
              </a:xfrm>
              <a:custGeom>
                <a:avLst/>
                <a:gdLst>
                  <a:gd name="T0" fmla="*/ 46 w 46"/>
                  <a:gd name="T1" fmla="*/ 76 h 79"/>
                  <a:gd name="T2" fmla="*/ 43 w 46"/>
                  <a:gd name="T3" fmla="*/ 79 h 79"/>
                  <a:gd name="T4" fmla="*/ 3 w 46"/>
                  <a:gd name="T5" fmla="*/ 79 h 79"/>
                  <a:gd name="T6" fmla="*/ 0 w 46"/>
                  <a:gd name="T7" fmla="*/ 76 h 79"/>
                  <a:gd name="T8" fmla="*/ 0 w 46"/>
                  <a:gd name="T9" fmla="*/ 3 h 79"/>
                  <a:gd name="T10" fmla="*/ 3 w 46"/>
                  <a:gd name="T11" fmla="*/ 0 h 79"/>
                  <a:gd name="T12" fmla="*/ 43 w 46"/>
                  <a:gd name="T13" fmla="*/ 0 h 79"/>
                  <a:gd name="T14" fmla="*/ 46 w 46"/>
                  <a:gd name="T15" fmla="*/ 3 h 79"/>
                  <a:gd name="T16" fmla="*/ 46 w 46"/>
                  <a:gd name="T17"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9">
                    <a:moveTo>
                      <a:pt x="46" y="76"/>
                    </a:moveTo>
                    <a:cubicBezTo>
                      <a:pt x="46" y="77"/>
                      <a:pt x="44" y="79"/>
                      <a:pt x="43" y="79"/>
                    </a:cubicBezTo>
                    <a:cubicBezTo>
                      <a:pt x="3" y="79"/>
                      <a:pt x="3" y="79"/>
                      <a:pt x="3" y="79"/>
                    </a:cubicBezTo>
                    <a:cubicBezTo>
                      <a:pt x="1" y="79"/>
                      <a:pt x="0" y="77"/>
                      <a:pt x="0" y="76"/>
                    </a:cubicBezTo>
                    <a:cubicBezTo>
                      <a:pt x="0" y="3"/>
                      <a:pt x="0" y="3"/>
                      <a:pt x="0" y="3"/>
                    </a:cubicBezTo>
                    <a:cubicBezTo>
                      <a:pt x="0" y="2"/>
                      <a:pt x="1" y="0"/>
                      <a:pt x="3" y="0"/>
                    </a:cubicBezTo>
                    <a:cubicBezTo>
                      <a:pt x="43" y="0"/>
                      <a:pt x="43" y="0"/>
                      <a:pt x="43" y="0"/>
                    </a:cubicBezTo>
                    <a:cubicBezTo>
                      <a:pt x="44" y="0"/>
                      <a:pt x="46" y="2"/>
                      <a:pt x="46" y="3"/>
                    </a:cubicBezTo>
                    <a:lnTo>
                      <a:pt x="46" y="7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1" name="Rectangle 251"/>
              <p:cNvSpPr>
                <a:spLocks noChangeArrowheads="1"/>
              </p:cNvSpPr>
              <p:nvPr/>
            </p:nvSpPr>
            <p:spPr bwMode="auto">
              <a:xfrm>
                <a:off x="4989076" y="3376467"/>
                <a:ext cx="240525" cy="38540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2" name="Rectangle 252"/>
              <p:cNvSpPr>
                <a:spLocks noChangeArrowheads="1"/>
              </p:cNvSpPr>
              <p:nvPr/>
            </p:nvSpPr>
            <p:spPr bwMode="auto">
              <a:xfrm>
                <a:off x="5017373" y="3422349"/>
                <a:ext cx="183930" cy="18811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3" name="Rectangle 253"/>
              <p:cNvSpPr>
                <a:spLocks noChangeArrowheads="1"/>
              </p:cNvSpPr>
              <p:nvPr/>
            </p:nvSpPr>
            <p:spPr bwMode="auto">
              <a:xfrm>
                <a:off x="5017373" y="3619642"/>
                <a:ext cx="51877" cy="5047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4" name="Rectangle 254"/>
              <p:cNvSpPr>
                <a:spLocks noChangeArrowheads="1"/>
              </p:cNvSpPr>
              <p:nvPr/>
            </p:nvSpPr>
            <p:spPr bwMode="auto">
              <a:xfrm>
                <a:off x="5078682" y="3619642"/>
                <a:ext cx="61309" cy="5047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5" name="Rectangle 255"/>
              <p:cNvSpPr>
                <a:spLocks noChangeArrowheads="1"/>
              </p:cNvSpPr>
              <p:nvPr/>
            </p:nvSpPr>
            <p:spPr bwMode="auto">
              <a:xfrm>
                <a:off x="5149427" y="3619642"/>
                <a:ext cx="51877" cy="5047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6" name="Rectangle 256"/>
              <p:cNvSpPr>
                <a:spLocks noChangeArrowheads="1"/>
              </p:cNvSpPr>
              <p:nvPr/>
            </p:nvSpPr>
            <p:spPr bwMode="auto">
              <a:xfrm>
                <a:off x="5017373" y="3683877"/>
                <a:ext cx="183930" cy="5505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7" name="Freeform 257"/>
              <p:cNvSpPr>
                <a:spLocks/>
              </p:cNvSpPr>
              <p:nvPr/>
            </p:nvSpPr>
            <p:spPr bwMode="auto">
              <a:xfrm>
                <a:off x="4956061" y="3890343"/>
                <a:ext cx="297119" cy="490937"/>
              </a:xfrm>
              <a:custGeom>
                <a:avLst/>
                <a:gdLst>
                  <a:gd name="T0" fmla="*/ 46 w 46"/>
                  <a:gd name="T1" fmla="*/ 75 h 78"/>
                  <a:gd name="T2" fmla="*/ 43 w 46"/>
                  <a:gd name="T3" fmla="*/ 78 h 78"/>
                  <a:gd name="T4" fmla="*/ 3 w 46"/>
                  <a:gd name="T5" fmla="*/ 78 h 78"/>
                  <a:gd name="T6" fmla="*/ 0 w 46"/>
                  <a:gd name="T7" fmla="*/ 75 h 78"/>
                  <a:gd name="T8" fmla="*/ 0 w 46"/>
                  <a:gd name="T9" fmla="*/ 3 h 78"/>
                  <a:gd name="T10" fmla="*/ 3 w 46"/>
                  <a:gd name="T11" fmla="*/ 0 h 78"/>
                  <a:gd name="T12" fmla="*/ 43 w 46"/>
                  <a:gd name="T13" fmla="*/ 0 h 78"/>
                  <a:gd name="T14" fmla="*/ 46 w 46"/>
                  <a:gd name="T15" fmla="*/ 3 h 78"/>
                  <a:gd name="T16" fmla="*/ 46 w 46"/>
                  <a:gd name="T17"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8">
                    <a:moveTo>
                      <a:pt x="46" y="75"/>
                    </a:moveTo>
                    <a:cubicBezTo>
                      <a:pt x="46" y="77"/>
                      <a:pt x="45" y="78"/>
                      <a:pt x="43" y="78"/>
                    </a:cubicBezTo>
                    <a:cubicBezTo>
                      <a:pt x="3" y="78"/>
                      <a:pt x="3" y="78"/>
                      <a:pt x="3" y="78"/>
                    </a:cubicBezTo>
                    <a:cubicBezTo>
                      <a:pt x="1" y="78"/>
                      <a:pt x="0" y="77"/>
                      <a:pt x="0" y="75"/>
                    </a:cubicBezTo>
                    <a:cubicBezTo>
                      <a:pt x="0" y="3"/>
                      <a:pt x="0" y="3"/>
                      <a:pt x="0" y="3"/>
                    </a:cubicBezTo>
                    <a:cubicBezTo>
                      <a:pt x="0" y="1"/>
                      <a:pt x="1" y="0"/>
                      <a:pt x="3" y="0"/>
                    </a:cubicBezTo>
                    <a:cubicBezTo>
                      <a:pt x="43" y="0"/>
                      <a:pt x="43" y="0"/>
                      <a:pt x="43" y="0"/>
                    </a:cubicBezTo>
                    <a:cubicBezTo>
                      <a:pt x="45" y="0"/>
                      <a:pt x="46" y="1"/>
                      <a:pt x="46" y="3"/>
                    </a:cubicBezTo>
                    <a:lnTo>
                      <a:pt x="46" y="7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8" name="Rectangle 258"/>
              <p:cNvSpPr>
                <a:spLocks noChangeArrowheads="1"/>
              </p:cNvSpPr>
              <p:nvPr/>
            </p:nvSpPr>
            <p:spPr bwMode="auto">
              <a:xfrm>
                <a:off x="4989076" y="3917873"/>
                <a:ext cx="240525" cy="38999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9" name="Rectangle 259"/>
              <p:cNvSpPr>
                <a:spLocks noChangeArrowheads="1"/>
              </p:cNvSpPr>
              <p:nvPr/>
            </p:nvSpPr>
            <p:spPr bwMode="auto">
              <a:xfrm>
                <a:off x="5007941" y="3963754"/>
                <a:ext cx="193363" cy="18811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0" name="Rectangle 260"/>
              <p:cNvSpPr>
                <a:spLocks noChangeArrowheads="1"/>
              </p:cNvSpPr>
              <p:nvPr/>
            </p:nvSpPr>
            <p:spPr bwMode="auto">
              <a:xfrm>
                <a:off x="5007941" y="4161048"/>
                <a:ext cx="61309" cy="5964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1" name="Rectangle 261"/>
              <p:cNvSpPr>
                <a:spLocks noChangeArrowheads="1"/>
              </p:cNvSpPr>
              <p:nvPr/>
            </p:nvSpPr>
            <p:spPr bwMode="auto">
              <a:xfrm>
                <a:off x="5078682" y="4161048"/>
                <a:ext cx="51877" cy="5964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2" name="Rectangle 262"/>
              <p:cNvSpPr>
                <a:spLocks noChangeArrowheads="1"/>
              </p:cNvSpPr>
              <p:nvPr/>
            </p:nvSpPr>
            <p:spPr bwMode="auto">
              <a:xfrm>
                <a:off x="5144709" y="4161048"/>
                <a:ext cx="56594" cy="5964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3" name="Rectangle 263"/>
              <p:cNvSpPr>
                <a:spLocks noChangeArrowheads="1"/>
              </p:cNvSpPr>
              <p:nvPr/>
            </p:nvSpPr>
            <p:spPr bwMode="auto">
              <a:xfrm>
                <a:off x="5007941" y="4234458"/>
                <a:ext cx="193363" cy="5047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364" name="Group 363"/>
          <p:cNvGrpSpPr/>
          <p:nvPr/>
        </p:nvGrpSpPr>
        <p:grpSpPr>
          <a:xfrm>
            <a:off x="1" y="1843753"/>
            <a:ext cx="11757022" cy="548640"/>
            <a:chOff x="1" y="1843753"/>
            <a:chExt cx="11757022" cy="548640"/>
          </a:xfrm>
        </p:grpSpPr>
        <p:sp>
          <p:nvSpPr>
            <p:cNvPr id="365" name="Rectangle 364"/>
            <p:cNvSpPr/>
            <p:nvPr/>
          </p:nvSpPr>
          <p:spPr bwMode="auto">
            <a:xfrm>
              <a:off x="1" y="1843753"/>
              <a:ext cx="3248024" cy="548640"/>
            </a:xfrm>
            <a:prstGeom prst="rect">
              <a:avLst/>
            </a:prstGeom>
            <a:solidFill>
              <a:srgbClr val="0D163D"/>
            </a:solidFill>
            <a:ln w="9525" cap="flat" cmpd="sng" algn="ctr">
              <a:noFill/>
              <a:prstDash val="solid"/>
              <a:headEnd type="none" w="med" len="med"/>
              <a:tailEnd type="none" w="med" len="med"/>
            </a:ln>
            <a:effectLst/>
          </p:spPr>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	Scalable</a:t>
              </a:r>
            </a:p>
          </p:txBody>
        </p:sp>
        <p:sp>
          <p:nvSpPr>
            <p:cNvPr id="366" name="Rectangle 365"/>
            <p:cNvSpPr/>
            <p:nvPr/>
          </p:nvSpPr>
          <p:spPr>
            <a:xfrm>
              <a:off x="3248024" y="1843753"/>
              <a:ext cx="8508999" cy="548640"/>
            </a:xfrm>
            <a:prstGeom prst="rect">
              <a:avLst/>
            </a:prstGeom>
            <a:solidFill>
              <a:srgbClr val="FFFFFF">
                <a:lumMod val="95000"/>
              </a:srgbClr>
            </a:solidFill>
          </p:spPr>
          <p:txBody>
            <a:bodyPr wrap="square" lIns="9144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a:ln>
                    <a:noFill/>
                  </a:ln>
                  <a:solidFill>
                    <a:srgbClr val="505050"/>
                  </a:solidFill>
                  <a:effectLst/>
                  <a:uLnTx/>
                  <a:uFillTx/>
                </a:rPr>
                <a:t> </a:t>
              </a:r>
              <a:r>
                <a:rPr kumimoji="0" lang="en-IN" sz="1400" b="0" i="0" u="none" strike="noStrike" kern="0" cap="none" spc="0" normalizeH="0" baseline="0" noProof="0" dirty="0">
                  <a:ln>
                    <a:noFill/>
                  </a:ln>
                  <a:solidFill>
                    <a:sysClr val="windowText" lastClr="000000"/>
                  </a:solidFill>
                  <a:effectLst/>
                  <a:uLnTx/>
                  <a:uFillTx/>
                </a:rPr>
                <a:t>Must be highly scalable. When storing all data indefinitely, data volumes can quickly add up</a:t>
              </a:r>
              <a:endParaRPr kumimoji="0" lang="en-US" sz="1400" b="0" i="0" u="none" strike="noStrike" kern="0" cap="none" spc="0" normalizeH="0" baseline="0" noProof="0" dirty="0">
                <a:ln>
                  <a:noFill/>
                </a:ln>
                <a:solidFill>
                  <a:sysClr val="windowText" lastClr="000000"/>
                </a:solidFill>
                <a:effectLst/>
                <a:uLnTx/>
                <a:uFillTx/>
              </a:endParaRPr>
            </a:p>
          </p:txBody>
        </p:sp>
        <p:grpSp>
          <p:nvGrpSpPr>
            <p:cNvPr id="367" name="Group 366"/>
            <p:cNvGrpSpPr/>
            <p:nvPr/>
          </p:nvGrpSpPr>
          <p:grpSpPr>
            <a:xfrm>
              <a:off x="695243" y="1919991"/>
              <a:ext cx="384078" cy="396164"/>
              <a:chOff x="-890587" y="2645131"/>
              <a:chExt cx="644525" cy="664807"/>
            </a:xfrm>
          </p:grpSpPr>
          <p:sp>
            <p:nvSpPr>
              <p:cNvPr id="368" name="Freeform 97"/>
              <p:cNvSpPr>
                <a:spLocks/>
              </p:cNvSpPr>
              <p:nvPr/>
            </p:nvSpPr>
            <p:spPr bwMode="auto">
              <a:xfrm>
                <a:off x="-609600" y="3106738"/>
                <a:ext cx="4763" cy="30163"/>
              </a:xfrm>
              <a:custGeom>
                <a:avLst/>
                <a:gdLst>
                  <a:gd name="T0" fmla="*/ 0 w 2"/>
                  <a:gd name="T1" fmla="*/ 0 h 14"/>
                  <a:gd name="T2" fmla="*/ 2 w 2"/>
                  <a:gd name="T3" fmla="*/ 14 h 14"/>
                  <a:gd name="T4" fmla="*/ 2 w 2"/>
                  <a:gd name="T5" fmla="*/ 3 h 14"/>
                  <a:gd name="T6" fmla="*/ 0 w 2"/>
                  <a:gd name="T7" fmla="*/ 0 h 14"/>
                </a:gdLst>
                <a:ahLst/>
                <a:cxnLst>
                  <a:cxn ang="0">
                    <a:pos x="T0" y="T1"/>
                  </a:cxn>
                  <a:cxn ang="0">
                    <a:pos x="T2" y="T3"/>
                  </a:cxn>
                  <a:cxn ang="0">
                    <a:pos x="T4" y="T5"/>
                  </a:cxn>
                  <a:cxn ang="0">
                    <a:pos x="T6" y="T7"/>
                  </a:cxn>
                </a:cxnLst>
                <a:rect l="0" t="0" r="r" b="b"/>
                <a:pathLst>
                  <a:path w="2" h="14">
                    <a:moveTo>
                      <a:pt x="0" y="0"/>
                    </a:moveTo>
                    <a:cubicBezTo>
                      <a:pt x="0" y="5"/>
                      <a:pt x="1" y="10"/>
                      <a:pt x="2" y="14"/>
                    </a:cubicBezTo>
                    <a:cubicBezTo>
                      <a:pt x="2" y="10"/>
                      <a:pt x="2" y="6"/>
                      <a:pt x="2" y="3"/>
                    </a:cubicBezTo>
                    <a:cubicBezTo>
                      <a:pt x="2" y="1"/>
                      <a:pt x="1"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9" name="Freeform 98"/>
              <p:cNvSpPr>
                <a:spLocks/>
              </p:cNvSpPr>
              <p:nvPr/>
            </p:nvSpPr>
            <p:spPr bwMode="auto">
              <a:xfrm>
                <a:off x="-433387" y="3101975"/>
                <a:ext cx="39688" cy="84138"/>
              </a:xfrm>
              <a:custGeom>
                <a:avLst/>
                <a:gdLst>
                  <a:gd name="T0" fmla="*/ 6 w 18"/>
                  <a:gd name="T1" fmla="*/ 0 h 38"/>
                  <a:gd name="T2" fmla="*/ 0 w 18"/>
                  <a:gd name="T3" fmla="*/ 2 h 38"/>
                  <a:gd name="T4" fmla="*/ 9 w 18"/>
                  <a:gd name="T5" fmla="*/ 31 h 38"/>
                  <a:gd name="T6" fmla="*/ 15 w 18"/>
                  <a:gd name="T7" fmla="*/ 38 h 38"/>
                  <a:gd name="T8" fmla="*/ 18 w 18"/>
                  <a:gd name="T9" fmla="*/ 38 h 38"/>
                  <a:gd name="T10" fmla="*/ 18 w 18"/>
                  <a:gd name="T11" fmla="*/ 29 h 38"/>
                  <a:gd name="T12" fmla="*/ 6 w 18"/>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18" h="38">
                    <a:moveTo>
                      <a:pt x="6" y="0"/>
                    </a:moveTo>
                    <a:cubicBezTo>
                      <a:pt x="4" y="0"/>
                      <a:pt x="2" y="1"/>
                      <a:pt x="0" y="2"/>
                    </a:cubicBezTo>
                    <a:cubicBezTo>
                      <a:pt x="1" y="14"/>
                      <a:pt x="4" y="24"/>
                      <a:pt x="9" y="31"/>
                    </a:cubicBezTo>
                    <a:cubicBezTo>
                      <a:pt x="11" y="34"/>
                      <a:pt x="13" y="36"/>
                      <a:pt x="15" y="38"/>
                    </a:cubicBezTo>
                    <a:cubicBezTo>
                      <a:pt x="18" y="38"/>
                      <a:pt x="18" y="38"/>
                      <a:pt x="18" y="38"/>
                    </a:cubicBezTo>
                    <a:cubicBezTo>
                      <a:pt x="18" y="35"/>
                      <a:pt x="18" y="32"/>
                      <a:pt x="18" y="29"/>
                    </a:cubicBezTo>
                    <a:cubicBezTo>
                      <a:pt x="18" y="10"/>
                      <a:pt x="14" y="0"/>
                      <a:pt x="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0" name="Freeform 99"/>
              <p:cNvSpPr>
                <a:spLocks/>
              </p:cNvSpPr>
              <p:nvPr/>
            </p:nvSpPr>
            <p:spPr bwMode="auto">
              <a:xfrm>
                <a:off x="-604837" y="3113088"/>
                <a:ext cx="11113" cy="73025"/>
              </a:xfrm>
              <a:custGeom>
                <a:avLst/>
                <a:gdLst>
                  <a:gd name="T0" fmla="*/ 0 w 5"/>
                  <a:gd name="T1" fmla="*/ 0 h 33"/>
                  <a:gd name="T2" fmla="*/ 0 w 5"/>
                  <a:gd name="T3" fmla="*/ 11 h 33"/>
                  <a:gd name="T4" fmla="*/ 0 w 5"/>
                  <a:gd name="T5" fmla="*/ 14 h 33"/>
                  <a:gd name="T6" fmla="*/ 1 w 5"/>
                  <a:gd name="T7" fmla="*/ 33 h 33"/>
                  <a:gd name="T8" fmla="*/ 5 w 5"/>
                  <a:gd name="T9" fmla="*/ 33 h 33"/>
                  <a:gd name="T10" fmla="*/ 5 w 5"/>
                  <a:gd name="T11" fmla="*/ 24 h 33"/>
                  <a:gd name="T12" fmla="*/ 0 w 5"/>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5" h="33">
                    <a:moveTo>
                      <a:pt x="0" y="0"/>
                    </a:moveTo>
                    <a:cubicBezTo>
                      <a:pt x="0" y="3"/>
                      <a:pt x="0" y="7"/>
                      <a:pt x="0" y="11"/>
                    </a:cubicBezTo>
                    <a:cubicBezTo>
                      <a:pt x="0" y="12"/>
                      <a:pt x="0" y="13"/>
                      <a:pt x="0" y="14"/>
                    </a:cubicBezTo>
                    <a:cubicBezTo>
                      <a:pt x="0" y="21"/>
                      <a:pt x="0" y="27"/>
                      <a:pt x="1" y="33"/>
                    </a:cubicBezTo>
                    <a:cubicBezTo>
                      <a:pt x="5" y="33"/>
                      <a:pt x="5" y="33"/>
                      <a:pt x="5" y="33"/>
                    </a:cubicBezTo>
                    <a:cubicBezTo>
                      <a:pt x="5" y="30"/>
                      <a:pt x="5" y="27"/>
                      <a:pt x="5" y="24"/>
                    </a:cubicBezTo>
                    <a:cubicBezTo>
                      <a:pt x="5" y="12"/>
                      <a:pt x="4" y="4"/>
                      <a:pt x="0"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1" name="Freeform 100"/>
              <p:cNvSpPr>
                <a:spLocks/>
              </p:cNvSpPr>
              <p:nvPr/>
            </p:nvSpPr>
            <p:spPr bwMode="auto">
              <a:xfrm>
                <a:off x="-757237" y="3116263"/>
                <a:ext cx="31750" cy="69850"/>
              </a:xfrm>
              <a:custGeom>
                <a:avLst/>
                <a:gdLst>
                  <a:gd name="T0" fmla="*/ 15 w 15"/>
                  <a:gd name="T1" fmla="*/ 12 h 32"/>
                  <a:gd name="T2" fmla="*/ 15 w 15"/>
                  <a:gd name="T3" fmla="*/ 7 h 32"/>
                  <a:gd name="T4" fmla="*/ 15 w 15"/>
                  <a:gd name="T5" fmla="*/ 0 h 32"/>
                  <a:gd name="T6" fmla="*/ 9 w 15"/>
                  <a:gd name="T7" fmla="*/ 4 h 32"/>
                  <a:gd name="T8" fmla="*/ 1 w 15"/>
                  <a:gd name="T9" fmla="*/ 6 h 32"/>
                  <a:gd name="T10" fmla="*/ 1 w 15"/>
                  <a:gd name="T11" fmla="*/ 0 h 32"/>
                  <a:gd name="T12" fmla="*/ 0 w 15"/>
                  <a:gd name="T13" fmla="*/ 13 h 32"/>
                  <a:gd name="T14" fmla="*/ 2 w 15"/>
                  <a:gd name="T15" fmla="*/ 32 h 32"/>
                  <a:gd name="T16" fmla="*/ 15 w 15"/>
                  <a:gd name="T17" fmla="*/ 32 h 32"/>
                  <a:gd name="T18" fmla="*/ 15 w 15"/>
                  <a:gd name="T19" fmla="*/ 18 h 32"/>
                  <a:gd name="T20" fmla="*/ 15 w 15"/>
                  <a:gd name="T21"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32">
                    <a:moveTo>
                      <a:pt x="15" y="12"/>
                    </a:moveTo>
                    <a:cubicBezTo>
                      <a:pt x="15" y="10"/>
                      <a:pt x="15" y="8"/>
                      <a:pt x="15" y="7"/>
                    </a:cubicBezTo>
                    <a:cubicBezTo>
                      <a:pt x="15" y="0"/>
                      <a:pt x="15" y="0"/>
                      <a:pt x="15" y="0"/>
                    </a:cubicBezTo>
                    <a:cubicBezTo>
                      <a:pt x="13" y="1"/>
                      <a:pt x="11" y="2"/>
                      <a:pt x="9" y="4"/>
                    </a:cubicBezTo>
                    <a:cubicBezTo>
                      <a:pt x="6" y="5"/>
                      <a:pt x="4" y="5"/>
                      <a:pt x="1" y="6"/>
                    </a:cubicBezTo>
                    <a:cubicBezTo>
                      <a:pt x="1" y="0"/>
                      <a:pt x="1" y="0"/>
                      <a:pt x="1" y="0"/>
                    </a:cubicBezTo>
                    <a:cubicBezTo>
                      <a:pt x="0" y="4"/>
                      <a:pt x="0" y="9"/>
                      <a:pt x="0" y="13"/>
                    </a:cubicBezTo>
                    <a:cubicBezTo>
                      <a:pt x="0" y="20"/>
                      <a:pt x="1" y="26"/>
                      <a:pt x="2" y="32"/>
                    </a:cubicBezTo>
                    <a:cubicBezTo>
                      <a:pt x="15" y="32"/>
                      <a:pt x="15" y="32"/>
                      <a:pt x="15" y="32"/>
                    </a:cubicBezTo>
                    <a:cubicBezTo>
                      <a:pt x="15" y="18"/>
                      <a:pt x="15" y="18"/>
                      <a:pt x="15" y="18"/>
                    </a:cubicBezTo>
                    <a:cubicBezTo>
                      <a:pt x="15" y="16"/>
                      <a:pt x="15" y="14"/>
                      <a:pt x="15" y="12"/>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2" name="Freeform 101"/>
              <p:cNvSpPr>
                <a:spLocks/>
              </p:cNvSpPr>
              <p:nvPr/>
            </p:nvSpPr>
            <p:spPr bwMode="auto">
              <a:xfrm>
                <a:off x="-698500" y="3065463"/>
                <a:ext cx="41275" cy="120650"/>
              </a:xfrm>
              <a:custGeom>
                <a:avLst/>
                <a:gdLst>
                  <a:gd name="T0" fmla="*/ 17 w 19"/>
                  <a:gd name="T1" fmla="*/ 18 h 55"/>
                  <a:gd name="T2" fmla="*/ 19 w 19"/>
                  <a:gd name="T3" fmla="*/ 15 h 55"/>
                  <a:gd name="T4" fmla="*/ 11 w 19"/>
                  <a:gd name="T5" fmla="*/ 0 h 55"/>
                  <a:gd name="T6" fmla="*/ 11 w 19"/>
                  <a:gd name="T7" fmla="*/ 10 h 55"/>
                  <a:gd name="T8" fmla="*/ 0 w 19"/>
                  <a:gd name="T9" fmla="*/ 47 h 55"/>
                  <a:gd name="T10" fmla="*/ 0 w 19"/>
                  <a:gd name="T11" fmla="*/ 55 h 55"/>
                  <a:gd name="T12" fmla="*/ 11 w 19"/>
                  <a:gd name="T13" fmla="*/ 55 h 55"/>
                  <a:gd name="T14" fmla="*/ 11 w 19"/>
                  <a:gd name="T15" fmla="*/ 47 h 55"/>
                  <a:gd name="T16" fmla="*/ 17 w 19"/>
                  <a:gd name="T17" fmla="*/ 1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55">
                    <a:moveTo>
                      <a:pt x="17" y="18"/>
                    </a:moveTo>
                    <a:cubicBezTo>
                      <a:pt x="18" y="17"/>
                      <a:pt x="19" y="16"/>
                      <a:pt x="19" y="15"/>
                    </a:cubicBezTo>
                    <a:cubicBezTo>
                      <a:pt x="18" y="8"/>
                      <a:pt x="15" y="3"/>
                      <a:pt x="11" y="0"/>
                    </a:cubicBezTo>
                    <a:cubicBezTo>
                      <a:pt x="11" y="3"/>
                      <a:pt x="11" y="6"/>
                      <a:pt x="11" y="10"/>
                    </a:cubicBezTo>
                    <a:cubicBezTo>
                      <a:pt x="11" y="30"/>
                      <a:pt x="7" y="42"/>
                      <a:pt x="0" y="47"/>
                    </a:cubicBezTo>
                    <a:cubicBezTo>
                      <a:pt x="0" y="55"/>
                      <a:pt x="0" y="55"/>
                      <a:pt x="0" y="55"/>
                    </a:cubicBezTo>
                    <a:cubicBezTo>
                      <a:pt x="11" y="55"/>
                      <a:pt x="11" y="55"/>
                      <a:pt x="11" y="55"/>
                    </a:cubicBezTo>
                    <a:cubicBezTo>
                      <a:pt x="11" y="52"/>
                      <a:pt x="11" y="50"/>
                      <a:pt x="11" y="47"/>
                    </a:cubicBezTo>
                    <a:cubicBezTo>
                      <a:pt x="11" y="34"/>
                      <a:pt x="13" y="24"/>
                      <a:pt x="17" y="1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3" name="Freeform 102"/>
              <p:cNvSpPr>
                <a:spLocks/>
              </p:cNvSpPr>
              <p:nvPr/>
            </p:nvSpPr>
            <p:spPr bwMode="auto">
              <a:xfrm>
                <a:off x="-649287" y="3101975"/>
                <a:ext cx="28575" cy="84138"/>
              </a:xfrm>
              <a:custGeom>
                <a:avLst/>
                <a:gdLst>
                  <a:gd name="T0" fmla="*/ 0 w 13"/>
                  <a:gd name="T1" fmla="*/ 29 h 38"/>
                  <a:gd name="T2" fmla="*/ 0 w 13"/>
                  <a:gd name="T3" fmla="*/ 38 h 38"/>
                  <a:gd name="T4" fmla="*/ 11 w 13"/>
                  <a:gd name="T5" fmla="*/ 38 h 38"/>
                  <a:gd name="T6" fmla="*/ 13 w 13"/>
                  <a:gd name="T7" fmla="*/ 17 h 38"/>
                  <a:gd name="T8" fmla="*/ 12 w 13"/>
                  <a:gd name="T9" fmla="*/ 0 h 38"/>
                  <a:gd name="T10" fmla="*/ 0 w 13"/>
                  <a:gd name="T11" fmla="*/ 29 h 38"/>
                </a:gdLst>
                <a:ahLst/>
                <a:cxnLst>
                  <a:cxn ang="0">
                    <a:pos x="T0" y="T1"/>
                  </a:cxn>
                  <a:cxn ang="0">
                    <a:pos x="T2" y="T3"/>
                  </a:cxn>
                  <a:cxn ang="0">
                    <a:pos x="T4" y="T5"/>
                  </a:cxn>
                  <a:cxn ang="0">
                    <a:pos x="T6" y="T7"/>
                  </a:cxn>
                  <a:cxn ang="0">
                    <a:pos x="T8" y="T9"/>
                  </a:cxn>
                  <a:cxn ang="0">
                    <a:pos x="T10" y="T11"/>
                  </a:cxn>
                </a:cxnLst>
                <a:rect l="0" t="0" r="r" b="b"/>
                <a:pathLst>
                  <a:path w="13" h="38">
                    <a:moveTo>
                      <a:pt x="0" y="29"/>
                    </a:moveTo>
                    <a:cubicBezTo>
                      <a:pt x="0" y="32"/>
                      <a:pt x="0" y="35"/>
                      <a:pt x="0" y="38"/>
                    </a:cubicBezTo>
                    <a:cubicBezTo>
                      <a:pt x="11" y="38"/>
                      <a:pt x="11" y="38"/>
                      <a:pt x="11" y="38"/>
                    </a:cubicBezTo>
                    <a:cubicBezTo>
                      <a:pt x="12" y="32"/>
                      <a:pt x="13" y="25"/>
                      <a:pt x="13" y="17"/>
                    </a:cubicBezTo>
                    <a:cubicBezTo>
                      <a:pt x="13" y="11"/>
                      <a:pt x="13" y="5"/>
                      <a:pt x="12" y="0"/>
                    </a:cubicBezTo>
                    <a:cubicBezTo>
                      <a:pt x="4" y="1"/>
                      <a:pt x="0" y="10"/>
                      <a:pt x="0" y="29"/>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4" name="Freeform 103"/>
              <p:cNvSpPr>
                <a:spLocks/>
              </p:cNvSpPr>
              <p:nvPr/>
            </p:nvSpPr>
            <p:spPr bwMode="auto">
              <a:xfrm>
                <a:off x="-611187" y="2970213"/>
                <a:ext cx="152400" cy="152400"/>
              </a:xfrm>
              <a:custGeom>
                <a:avLst/>
                <a:gdLst>
                  <a:gd name="T0" fmla="*/ 11 w 70"/>
                  <a:gd name="T1" fmla="*/ 43 h 70"/>
                  <a:gd name="T2" fmla="*/ 18 w 70"/>
                  <a:gd name="T3" fmla="*/ 35 h 70"/>
                  <a:gd name="T4" fmla="*/ 35 w 70"/>
                  <a:gd name="T5" fmla="*/ 13 h 70"/>
                  <a:gd name="T6" fmla="*/ 52 w 70"/>
                  <a:gd name="T7" fmla="*/ 35 h 70"/>
                  <a:gd name="T8" fmla="*/ 66 w 70"/>
                  <a:gd name="T9" fmla="*/ 70 h 70"/>
                  <a:gd name="T10" fmla="*/ 69 w 70"/>
                  <a:gd name="T11" fmla="*/ 62 h 70"/>
                  <a:gd name="T12" fmla="*/ 70 w 70"/>
                  <a:gd name="T13" fmla="*/ 52 h 70"/>
                  <a:gd name="T14" fmla="*/ 36 w 70"/>
                  <a:gd name="T15" fmla="*/ 0 h 70"/>
                  <a:gd name="T16" fmla="*/ 10 w 70"/>
                  <a:gd name="T17" fmla="*/ 14 h 70"/>
                  <a:gd name="T18" fmla="*/ 0 w 70"/>
                  <a:gd name="T19" fmla="*/ 52 h 70"/>
                  <a:gd name="T20" fmla="*/ 6 w 70"/>
                  <a:gd name="T21" fmla="*/ 54 h 70"/>
                  <a:gd name="T22" fmla="*/ 11 w 70"/>
                  <a:gd name="T23" fmla="*/ 4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70">
                    <a:moveTo>
                      <a:pt x="11" y="43"/>
                    </a:moveTo>
                    <a:cubicBezTo>
                      <a:pt x="13" y="40"/>
                      <a:pt x="16" y="37"/>
                      <a:pt x="18" y="35"/>
                    </a:cubicBezTo>
                    <a:cubicBezTo>
                      <a:pt x="21" y="21"/>
                      <a:pt x="26" y="13"/>
                      <a:pt x="35" y="13"/>
                    </a:cubicBezTo>
                    <a:cubicBezTo>
                      <a:pt x="44" y="13"/>
                      <a:pt x="49" y="21"/>
                      <a:pt x="52" y="35"/>
                    </a:cubicBezTo>
                    <a:cubicBezTo>
                      <a:pt x="60" y="41"/>
                      <a:pt x="65" y="53"/>
                      <a:pt x="66" y="70"/>
                    </a:cubicBezTo>
                    <a:cubicBezTo>
                      <a:pt x="67" y="67"/>
                      <a:pt x="68" y="64"/>
                      <a:pt x="69" y="62"/>
                    </a:cubicBezTo>
                    <a:cubicBezTo>
                      <a:pt x="70" y="59"/>
                      <a:pt x="70" y="56"/>
                      <a:pt x="70" y="52"/>
                    </a:cubicBezTo>
                    <a:cubicBezTo>
                      <a:pt x="70" y="18"/>
                      <a:pt x="59" y="0"/>
                      <a:pt x="36" y="0"/>
                    </a:cubicBezTo>
                    <a:cubicBezTo>
                      <a:pt x="25" y="0"/>
                      <a:pt x="16" y="5"/>
                      <a:pt x="10" y="14"/>
                    </a:cubicBezTo>
                    <a:cubicBezTo>
                      <a:pt x="4" y="23"/>
                      <a:pt x="1" y="36"/>
                      <a:pt x="0" y="52"/>
                    </a:cubicBezTo>
                    <a:cubicBezTo>
                      <a:pt x="2" y="53"/>
                      <a:pt x="4" y="53"/>
                      <a:pt x="6" y="54"/>
                    </a:cubicBezTo>
                    <a:cubicBezTo>
                      <a:pt x="7" y="50"/>
                      <a:pt x="9" y="46"/>
                      <a:pt x="11" y="4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5" name="Freeform 104"/>
              <p:cNvSpPr>
                <a:spLocks/>
              </p:cNvSpPr>
              <p:nvPr/>
            </p:nvSpPr>
            <p:spPr bwMode="auto">
              <a:xfrm>
                <a:off x="-433387" y="2970213"/>
                <a:ext cx="150813" cy="215900"/>
              </a:xfrm>
              <a:custGeom>
                <a:avLst/>
                <a:gdLst>
                  <a:gd name="T0" fmla="*/ 36 w 69"/>
                  <a:gd name="T1" fmla="*/ 0 h 99"/>
                  <a:gd name="T2" fmla="*/ 9 w 69"/>
                  <a:gd name="T3" fmla="*/ 14 h 99"/>
                  <a:gd name="T4" fmla="*/ 0 w 69"/>
                  <a:gd name="T5" fmla="*/ 53 h 99"/>
                  <a:gd name="T6" fmla="*/ 6 w 69"/>
                  <a:gd name="T7" fmla="*/ 52 h 99"/>
                  <a:gd name="T8" fmla="*/ 17 w 69"/>
                  <a:gd name="T9" fmla="*/ 54 h 99"/>
                  <a:gd name="T10" fmla="*/ 17 w 69"/>
                  <a:gd name="T11" fmla="*/ 54 h 99"/>
                  <a:gd name="T12" fmla="*/ 35 w 69"/>
                  <a:gd name="T13" fmla="*/ 13 h 99"/>
                  <a:gd name="T14" fmla="*/ 53 w 69"/>
                  <a:gd name="T15" fmla="*/ 54 h 99"/>
                  <a:gd name="T16" fmla="*/ 35 w 69"/>
                  <a:gd name="T17" fmla="*/ 92 h 99"/>
                  <a:gd name="T18" fmla="*/ 30 w 69"/>
                  <a:gd name="T19" fmla="*/ 91 h 99"/>
                  <a:gd name="T20" fmla="*/ 30 w 69"/>
                  <a:gd name="T21" fmla="*/ 99 h 99"/>
                  <a:gd name="T22" fmla="*/ 53 w 69"/>
                  <a:gd name="T23" fmla="*/ 99 h 99"/>
                  <a:gd name="T24" fmla="*/ 60 w 69"/>
                  <a:gd name="T25" fmla="*/ 92 h 99"/>
                  <a:gd name="T26" fmla="*/ 69 w 69"/>
                  <a:gd name="T27" fmla="*/ 52 h 99"/>
                  <a:gd name="T28" fmla="*/ 36 w 69"/>
                  <a:gd name="T29"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 h="99">
                    <a:moveTo>
                      <a:pt x="36" y="0"/>
                    </a:moveTo>
                    <a:cubicBezTo>
                      <a:pt x="24" y="0"/>
                      <a:pt x="15" y="5"/>
                      <a:pt x="9" y="14"/>
                    </a:cubicBezTo>
                    <a:cubicBezTo>
                      <a:pt x="3" y="23"/>
                      <a:pt x="0" y="36"/>
                      <a:pt x="0" y="53"/>
                    </a:cubicBezTo>
                    <a:cubicBezTo>
                      <a:pt x="2" y="52"/>
                      <a:pt x="4" y="52"/>
                      <a:pt x="6" y="52"/>
                    </a:cubicBezTo>
                    <a:cubicBezTo>
                      <a:pt x="10" y="52"/>
                      <a:pt x="14" y="53"/>
                      <a:pt x="17" y="54"/>
                    </a:cubicBezTo>
                    <a:cubicBezTo>
                      <a:pt x="17" y="54"/>
                      <a:pt x="17" y="54"/>
                      <a:pt x="17" y="54"/>
                    </a:cubicBezTo>
                    <a:cubicBezTo>
                      <a:pt x="17" y="27"/>
                      <a:pt x="23" y="13"/>
                      <a:pt x="35" y="13"/>
                    </a:cubicBezTo>
                    <a:cubicBezTo>
                      <a:pt x="47" y="13"/>
                      <a:pt x="53" y="27"/>
                      <a:pt x="53" y="54"/>
                    </a:cubicBezTo>
                    <a:cubicBezTo>
                      <a:pt x="53" y="79"/>
                      <a:pt x="47" y="92"/>
                      <a:pt x="35" y="92"/>
                    </a:cubicBezTo>
                    <a:cubicBezTo>
                      <a:pt x="33" y="92"/>
                      <a:pt x="32" y="92"/>
                      <a:pt x="30" y="91"/>
                    </a:cubicBezTo>
                    <a:cubicBezTo>
                      <a:pt x="30" y="94"/>
                      <a:pt x="30" y="97"/>
                      <a:pt x="30" y="99"/>
                    </a:cubicBezTo>
                    <a:cubicBezTo>
                      <a:pt x="53" y="99"/>
                      <a:pt x="53" y="99"/>
                      <a:pt x="53" y="99"/>
                    </a:cubicBezTo>
                    <a:cubicBezTo>
                      <a:pt x="56" y="97"/>
                      <a:pt x="58" y="95"/>
                      <a:pt x="60" y="92"/>
                    </a:cubicBezTo>
                    <a:cubicBezTo>
                      <a:pt x="66" y="83"/>
                      <a:pt x="69" y="70"/>
                      <a:pt x="69" y="52"/>
                    </a:cubicBezTo>
                    <a:cubicBezTo>
                      <a:pt x="69" y="18"/>
                      <a:pt x="58" y="0"/>
                      <a:pt x="3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6" name="Freeform 105"/>
              <p:cNvSpPr>
                <a:spLocks/>
              </p:cNvSpPr>
              <p:nvPr/>
            </p:nvSpPr>
            <p:spPr bwMode="auto">
              <a:xfrm>
                <a:off x="-784225" y="2970213"/>
                <a:ext cx="146050" cy="215900"/>
              </a:xfrm>
              <a:custGeom>
                <a:avLst/>
                <a:gdLst>
                  <a:gd name="T0" fmla="*/ 13 w 67"/>
                  <a:gd name="T1" fmla="*/ 67 h 99"/>
                  <a:gd name="T2" fmla="*/ 13 w 67"/>
                  <a:gd name="T3" fmla="*/ 64 h 99"/>
                  <a:gd name="T4" fmla="*/ 13 w 67"/>
                  <a:gd name="T5" fmla="*/ 63 h 99"/>
                  <a:gd name="T6" fmla="*/ 14 w 67"/>
                  <a:gd name="T7" fmla="*/ 57 h 99"/>
                  <a:gd name="T8" fmla="*/ 14 w 67"/>
                  <a:gd name="T9" fmla="*/ 54 h 99"/>
                  <a:gd name="T10" fmla="*/ 33 w 67"/>
                  <a:gd name="T11" fmla="*/ 13 h 99"/>
                  <a:gd name="T12" fmla="*/ 48 w 67"/>
                  <a:gd name="T13" fmla="*/ 31 h 99"/>
                  <a:gd name="T14" fmla="*/ 67 w 67"/>
                  <a:gd name="T15" fmla="*/ 41 h 99"/>
                  <a:gd name="T16" fmla="*/ 34 w 67"/>
                  <a:gd name="T17" fmla="*/ 0 h 99"/>
                  <a:gd name="T18" fmla="*/ 7 w 67"/>
                  <a:gd name="T19" fmla="*/ 14 h 99"/>
                  <a:gd name="T20" fmla="*/ 0 w 67"/>
                  <a:gd name="T21" fmla="*/ 32 h 99"/>
                  <a:gd name="T22" fmla="*/ 3 w 67"/>
                  <a:gd name="T23" fmla="*/ 32 h 99"/>
                  <a:gd name="T24" fmla="*/ 3 w 67"/>
                  <a:gd name="T25" fmla="*/ 87 h 99"/>
                  <a:gd name="T26" fmla="*/ 6 w 67"/>
                  <a:gd name="T27" fmla="*/ 92 h 99"/>
                  <a:gd name="T28" fmla="*/ 12 w 67"/>
                  <a:gd name="T29" fmla="*/ 99 h 99"/>
                  <a:gd name="T30" fmla="*/ 14 w 67"/>
                  <a:gd name="T31" fmla="*/ 99 h 99"/>
                  <a:gd name="T32" fmla="*/ 12 w 67"/>
                  <a:gd name="T33" fmla="*/ 80 h 99"/>
                  <a:gd name="T34" fmla="*/ 13 w 67"/>
                  <a:gd name="T35" fmla="*/ 6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 h="99">
                    <a:moveTo>
                      <a:pt x="13" y="67"/>
                    </a:moveTo>
                    <a:cubicBezTo>
                      <a:pt x="13" y="64"/>
                      <a:pt x="13" y="64"/>
                      <a:pt x="13" y="64"/>
                    </a:cubicBezTo>
                    <a:cubicBezTo>
                      <a:pt x="13" y="63"/>
                      <a:pt x="13" y="63"/>
                      <a:pt x="13" y="63"/>
                    </a:cubicBezTo>
                    <a:cubicBezTo>
                      <a:pt x="13" y="61"/>
                      <a:pt x="14" y="59"/>
                      <a:pt x="14" y="57"/>
                    </a:cubicBezTo>
                    <a:cubicBezTo>
                      <a:pt x="14" y="56"/>
                      <a:pt x="14" y="55"/>
                      <a:pt x="14" y="54"/>
                    </a:cubicBezTo>
                    <a:cubicBezTo>
                      <a:pt x="14" y="27"/>
                      <a:pt x="20" y="13"/>
                      <a:pt x="33" y="13"/>
                    </a:cubicBezTo>
                    <a:cubicBezTo>
                      <a:pt x="40" y="13"/>
                      <a:pt x="45" y="19"/>
                      <a:pt x="48" y="31"/>
                    </a:cubicBezTo>
                    <a:cubicBezTo>
                      <a:pt x="56" y="31"/>
                      <a:pt x="62" y="35"/>
                      <a:pt x="67" y="41"/>
                    </a:cubicBezTo>
                    <a:cubicBezTo>
                      <a:pt x="64" y="14"/>
                      <a:pt x="53" y="0"/>
                      <a:pt x="34" y="0"/>
                    </a:cubicBezTo>
                    <a:cubicBezTo>
                      <a:pt x="22" y="0"/>
                      <a:pt x="13" y="5"/>
                      <a:pt x="7" y="14"/>
                    </a:cubicBezTo>
                    <a:cubicBezTo>
                      <a:pt x="4" y="19"/>
                      <a:pt x="1" y="25"/>
                      <a:pt x="0" y="32"/>
                    </a:cubicBezTo>
                    <a:cubicBezTo>
                      <a:pt x="3" y="32"/>
                      <a:pt x="3" y="32"/>
                      <a:pt x="3" y="32"/>
                    </a:cubicBezTo>
                    <a:cubicBezTo>
                      <a:pt x="3" y="87"/>
                      <a:pt x="3" y="87"/>
                      <a:pt x="3" y="87"/>
                    </a:cubicBezTo>
                    <a:cubicBezTo>
                      <a:pt x="4" y="89"/>
                      <a:pt x="5" y="91"/>
                      <a:pt x="6" y="92"/>
                    </a:cubicBezTo>
                    <a:cubicBezTo>
                      <a:pt x="8" y="95"/>
                      <a:pt x="10" y="97"/>
                      <a:pt x="12" y="99"/>
                    </a:cubicBezTo>
                    <a:cubicBezTo>
                      <a:pt x="14" y="99"/>
                      <a:pt x="14" y="99"/>
                      <a:pt x="14" y="99"/>
                    </a:cubicBezTo>
                    <a:cubicBezTo>
                      <a:pt x="13" y="93"/>
                      <a:pt x="12" y="87"/>
                      <a:pt x="12" y="80"/>
                    </a:cubicBezTo>
                    <a:cubicBezTo>
                      <a:pt x="12" y="76"/>
                      <a:pt x="12" y="71"/>
                      <a:pt x="13" y="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7" name="Freeform 106"/>
              <p:cNvSpPr>
                <a:spLocks/>
              </p:cNvSpPr>
              <p:nvPr/>
            </p:nvSpPr>
            <p:spPr bwMode="auto">
              <a:xfrm>
                <a:off x="-847725" y="3040063"/>
                <a:ext cx="69850" cy="146050"/>
              </a:xfrm>
              <a:custGeom>
                <a:avLst/>
                <a:gdLst>
                  <a:gd name="T0" fmla="*/ 29 w 32"/>
                  <a:gd name="T1" fmla="*/ 0 h 67"/>
                  <a:gd name="T2" fmla="*/ 27 w 32"/>
                  <a:gd name="T3" fmla="*/ 0 h 67"/>
                  <a:gd name="T4" fmla="*/ 20 w 32"/>
                  <a:gd name="T5" fmla="*/ 4 h 67"/>
                  <a:gd name="T6" fmla="*/ 13 w 32"/>
                  <a:gd name="T7" fmla="*/ 7 h 67"/>
                  <a:gd name="T8" fmla="*/ 7 w 32"/>
                  <a:gd name="T9" fmla="*/ 10 h 67"/>
                  <a:gd name="T10" fmla="*/ 0 w 32"/>
                  <a:gd name="T11" fmla="*/ 13 h 67"/>
                  <a:gd name="T12" fmla="*/ 0 w 32"/>
                  <a:gd name="T13" fmla="*/ 25 h 67"/>
                  <a:gd name="T14" fmla="*/ 10 w 32"/>
                  <a:gd name="T15" fmla="*/ 21 h 67"/>
                  <a:gd name="T16" fmla="*/ 18 w 32"/>
                  <a:gd name="T17" fmla="*/ 17 h 67"/>
                  <a:gd name="T18" fmla="*/ 18 w 32"/>
                  <a:gd name="T19" fmla="*/ 67 h 67"/>
                  <a:gd name="T20" fmla="*/ 32 w 32"/>
                  <a:gd name="T21" fmla="*/ 67 h 67"/>
                  <a:gd name="T22" fmla="*/ 32 w 32"/>
                  <a:gd name="T23" fmla="*/ 55 h 67"/>
                  <a:gd name="T24" fmla="*/ 32 w 32"/>
                  <a:gd name="T25" fmla="*/ 0 h 67"/>
                  <a:gd name="T26" fmla="*/ 29 w 32"/>
                  <a:gd name="T2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67">
                    <a:moveTo>
                      <a:pt x="29" y="0"/>
                    </a:moveTo>
                    <a:cubicBezTo>
                      <a:pt x="27" y="0"/>
                      <a:pt x="27" y="0"/>
                      <a:pt x="27" y="0"/>
                    </a:cubicBezTo>
                    <a:cubicBezTo>
                      <a:pt x="24" y="1"/>
                      <a:pt x="22" y="3"/>
                      <a:pt x="20" y="4"/>
                    </a:cubicBezTo>
                    <a:cubicBezTo>
                      <a:pt x="18" y="5"/>
                      <a:pt x="16" y="6"/>
                      <a:pt x="13" y="7"/>
                    </a:cubicBezTo>
                    <a:cubicBezTo>
                      <a:pt x="11" y="9"/>
                      <a:pt x="9" y="9"/>
                      <a:pt x="7" y="10"/>
                    </a:cubicBezTo>
                    <a:cubicBezTo>
                      <a:pt x="5" y="11"/>
                      <a:pt x="2" y="12"/>
                      <a:pt x="0" y="13"/>
                    </a:cubicBezTo>
                    <a:cubicBezTo>
                      <a:pt x="0" y="25"/>
                      <a:pt x="0" y="25"/>
                      <a:pt x="0" y="25"/>
                    </a:cubicBezTo>
                    <a:cubicBezTo>
                      <a:pt x="4" y="24"/>
                      <a:pt x="7" y="23"/>
                      <a:pt x="10" y="21"/>
                    </a:cubicBezTo>
                    <a:cubicBezTo>
                      <a:pt x="13" y="20"/>
                      <a:pt x="16" y="19"/>
                      <a:pt x="18" y="17"/>
                    </a:cubicBezTo>
                    <a:cubicBezTo>
                      <a:pt x="18" y="67"/>
                      <a:pt x="18" y="67"/>
                      <a:pt x="18" y="67"/>
                    </a:cubicBezTo>
                    <a:cubicBezTo>
                      <a:pt x="32" y="67"/>
                      <a:pt x="32" y="67"/>
                      <a:pt x="32" y="67"/>
                    </a:cubicBezTo>
                    <a:cubicBezTo>
                      <a:pt x="32" y="55"/>
                      <a:pt x="32" y="55"/>
                      <a:pt x="32" y="55"/>
                    </a:cubicBezTo>
                    <a:cubicBezTo>
                      <a:pt x="32" y="0"/>
                      <a:pt x="32" y="0"/>
                      <a:pt x="32" y="0"/>
                    </a:cubicBezTo>
                    <a:lnTo>
                      <a:pt x="29"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8" name="Freeform 107"/>
              <p:cNvSpPr>
                <a:spLocks/>
              </p:cNvSpPr>
              <p:nvPr/>
            </p:nvSpPr>
            <p:spPr bwMode="auto">
              <a:xfrm>
                <a:off x="-755650" y="3035300"/>
                <a:ext cx="128588" cy="71438"/>
              </a:xfrm>
              <a:custGeom>
                <a:avLst/>
                <a:gdLst>
                  <a:gd name="T0" fmla="*/ 35 w 59"/>
                  <a:gd name="T1" fmla="*/ 1 h 33"/>
                  <a:gd name="T2" fmla="*/ 32 w 59"/>
                  <a:gd name="T3" fmla="*/ 0 h 33"/>
                  <a:gd name="T4" fmla="*/ 7 w 59"/>
                  <a:gd name="T5" fmla="*/ 13 h 33"/>
                  <a:gd name="T6" fmla="*/ 1 w 59"/>
                  <a:gd name="T7" fmla="*/ 27 h 33"/>
                  <a:gd name="T8" fmla="*/ 0 w 59"/>
                  <a:gd name="T9" fmla="*/ 33 h 33"/>
                  <a:gd name="T10" fmla="*/ 5 w 59"/>
                  <a:gd name="T11" fmla="*/ 32 h 33"/>
                  <a:gd name="T12" fmla="*/ 10 w 59"/>
                  <a:gd name="T13" fmla="*/ 29 h 33"/>
                  <a:gd name="T14" fmla="*/ 15 w 59"/>
                  <a:gd name="T15" fmla="*/ 26 h 33"/>
                  <a:gd name="T16" fmla="*/ 17 w 59"/>
                  <a:gd name="T17" fmla="*/ 25 h 33"/>
                  <a:gd name="T18" fmla="*/ 31 w 59"/>
                  <a:gd name="T19" fmla="*/ 12 h 33"/>
                  <a:gd name="T20" fmla="*/ 37 w 59"/>
                  <a:gd name="T21" fmla="*/ 14 h 33"/>
                  <a:gd name="T22" fmla="*/ 45 w 59"/>
                  <a:gd name="T23" fmla="*/ 29 h 33"/>
                  <a:gd name="T24" fmla="*/ 59 w 59"/>
                  <a:gd name="T25" fmla="*/ 22 h 33"/>
                  <a:gd name="T26" fmla="*/ 54 w 59"/>
                  <a:gd name="T27" fmla="*/ 11 h 33"/>
                  <a:gd name="T28" fmla="*/ 35 w 59"/>
                  <a:gd name="T29"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33">
                    <a:moveTo>
                      <a:pt x="35" y="1"/>
                    </a:moveTo>
                    <a:cubicBezTo>
                      <a:pt x="34" y="0"/>
                      <a:pt x="33" y="0"/>
                      <a:pt x="32" y="0"/>
                    </a:cubicBezTo>
                    <a:cubicBezTo>
                      <a:pt x="21" y="0"/>
                      <a:pt x="13" y="5"/>
                      <a:pt x="7" y="13"/>
                    </a:cubicBezTo>
                    <a:cubicBezTo>
                      <a:pt x="5" y="17"/>
                      <a:pt x="3" y="22"/>
                      <a:pt x="1" y="27"/>
                    </a:cubicBezTo>
                    <a:cubicBezTo>
                      <a:pt x="1" y="29"/>
                      <a:pt x="0" y="31"/>
                      <a:pt x="0" y="33"/>
                    </a:cubicBezTo>
                    <a:cubicBezTo>
                      <a:pt x="2" y="33"/>
                      <a:pt x="3" y="32"/>
                      <a:pt x="5" y="32"/>
                    </a:cubicBezTo>
                    <a:cubicBezTo>
                      <a:pt x="7" y="31"/>
                      <a:pt x="9" y="30"/>
                      <a:pt x="10" y="29"/>
                    </a:cubicBezTo>
                    <a:cubicBezTo>
                      <a:pt x="12" y="28"/>
                      <a:pt x="14" y="27"/>
                      <a:pt x="15" y="26"/>
                    </a:cubicBezTo>
                    <a:cubicBezTo>
                      <a:pt x="16" y="26"/>
                      <a:pt x="17" y="26"/>
                      <a:pt x="17" y="25"/>
                    </a:cubicBezTo>
                    <a:cubicBezTo>
                      <a:pt x="20" y="17"/>
                      <a:pt x="24" y="12"/>
                      <a:pt x="31" y="12"/>
                    </a:cubicBezTo>
                    <a:cubicBezTo>
                      <a:pt x="33" y="12"/>
                      <a:pt x="35" y="13"/>
                      <a:pt x="37" y="14"/>
                    </a:cubicBezTo>
                    <a:cubicBezTo>
                      <a:pt x="41" y="17"/>
                      <a:pt x="44" y="22"/>
                      <a:pt x="45" y="29"/>
                    </a:cubicBezTo>
                    <a:cubicBezTo>
                      <a:pt x="49" y="25"/>
                      <a:pt x="53" y="23"/>
                      <a:pt x="59" y="22"/>
                    </a:cubicBezTo>
                    <a:cubicBezTo>
                      <a:pt x="58" y="18"/>
                      <a:pt x="56" y="14"/>
                      <a:pt x="54" y="11"/>
                    </a:cubicBezTo>
                    <a:cubicBezTo>
                      <a:pt x="49" y="5"/>
                      <a:pt x="43" y="1"/>
                      <a:pt x="35" y="1"/>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9" name="Freeform 108"/>
              <p:cNvSpPr>
                <a:spLocks/>
              </p:cNvSpPr>
              <p:nvPr/>
            </p:nvSpPr>
            <p:spPr bwMode="auto">
              <a:xfrm>
                <a:off x="-598487" y="3035300"/>
                <a:ext cx="130175" cy="150813"/>
              </a:xfrm>
              <a:custGeom>
                <a:avLst/>
                <a:gdLst>
                  <a:gd name="T0" fmla="*/ 60 w 60"/>
                  <a:gd name="T1" fmla="*/ 40 h 69"/>
                  <a:gd name="T2" fmla="*/ 46 w 60"/>
                  <a:gd name="T3" fmla="*/ 5 h 69"/>
                  <a:gd name="T4" fmla="*/ 29 w 60"/>
                  <a:gd name="T5" fmla="*/ 0 h 69"/>
                  <a:gd name="T6" fmla="*/ 12 w 60"/>
                  <a:gd name="T7" fmla="*/ 5 h 69"/>
                  <a:gd name="T8" fmla="*/ 5 w 60"/>
                  <a:gd name="T9" fmla="*/ 13 h 69"/>
                  <a:gd name="T10" fmla="*/ 0 w 60"/>
                  <a:gd name="T11" fmla="*/ 24 h 69"/>
                  <a:gd name="T12" fmla="*/ 12 w 60"/>
                  <a:gd name="T13" fmla="*/ 41 h 69"/>
                  <a:gd name="T14" fmla="*/ 12 w 60"/>
                  <a:gd name="T15" fmla="*/ 40 h 69"/>
                  <a:gd name="T16" fmla="*/ 29 w 60"/>
                  <a:gd name="T17" fmla="*/ 12 h 69"/>
                  <a:gd name="T18" fmla="*/ 41 w 60"/>
                  <a:gd name="T19" fmla="*/ 23 h 69"/>
                  <a:gd name="T20" fmla="*/ 45 w 60"/>
                  <a:gd name="T21" fmla="*/ 23 h 69"/>
                  <a:gd name="T22" fmla="*/ 45 w 60"/>
                  <a:gd name="T23" fmla="*/ 69 h 69"/>
                  <a:gd name="T24" fmla="*/ 57 w 60"/>
                  <a:gd name="T25" fmla="*/ 69 h 69"/>
                  <a:gd name="T26" fmla="*/ 57 w 60"/>
                  <a:gd name="T27" fmla="*/ 61 h 69"/>
                  <a:gd name="T28" fmla="*/ 60 w 60"/>
                  <a:gd name="T29" fmla="*/ 4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69">
                    <a:moveTo>
                      <a:pt x="60" y="40"/>
                    </a:moveTo>
                    <a:cubicBezTo>
                      <a:pt x="59" y="23"/>
                      <a:pt x="54" y="11"/>
                      <a:pt x="46" y="5"/>
                    </a:cubicBezTo>
                    <a:cubicBezTo>
                      <a:pt x="41" y="2"/>
                      <a:pt x="36" y="0"/>
                      <a:pt x="29" y="0"/>
                    </a:cubicBezTo>
                    <a:cubicBezTo>
                      <a:pt x="23" y="0"/>
                      <a:pt x="17" y="2"/>
                      <a:pt x="12" y="5"/>
                    </a:cubicBezTo>
                    <a:cubicBezTo>
                      <a:pt x="10" y="7"/>
                      <a:pt x="7" y="10"/>
                      <a:pt x="5" y="13"/>
                    </a:cubicBezTo>
                    <a:cubicBezTo>
                      <a:pt x="3" y="16"/>
                      <a:pt x="1" y="20"/>
                      <a:pt x="0" y="24"/>
                    </a:cubicBezTo>
                    <a:cubicBezTo>
                      <a:pt x="6" y="27"/>
                      <a:pt x="10" y="32"/>
                      <a:pt x="12" y="41"/>
                    </a:cubicBezTo>
                    <a:cubicBezTo>
                      <a:pt x="12" y="41"/>
                      <a:pt x="12" y="41"/>
                      <a:pt x="12" y="40"/>
                    </a:cubicBezTo>
                    <a:cubicBezTo>
                      <a:pt x="13" y="22"/>
                      <a:pt x="19" y="12"/>
                      <a:pt x="29" y="12"/>
                    </a:cubicBezTo>
                    <a:cubicBezTo>
                      <a:pt x="34" y="12"/>
                      <a:pt x="38" y="16"/>
                      <a:pt x="41" y="23"/>
                    </a:cubicBezTo>
                    <a:cubicBezTo>
                      <a:pt x="45" y="23"/>
                      <a:pt x="45" y="23"/>
                      <a:pt x="45" y="23"/>
                    </a:cubicBezTo>
                    <a:cubicBezTo>
                      <a:pt x="45" y="69"/>
                      <a:pt x="45" y="69"/>
                      <a:pt x="45" y="69"/>
                    </a:cubicBezTo>
                    <a:cubicBezTo>
                      <a:pt x="57" y="69"/>
                      <a:pt x="57" y="69"/>
                      <a:pt x="57" y="69"/>
                    </a:cubicBezTo>
                    <a:cubicBezTo>
                      <a:pt x="57" y="66"/>
                      <a:pt x="57" y="64"/>
                      <a:pt x="57" y="61"/>
                    </a:cubicBezTo>
                    <a:cubicBezTo>
                      <a:pt x="57" y="53"/>
                      <a:pt x="58" y="46"/>
                      <a:pt x="60" y="4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0" name="Freeform 109"/>
              <p:cNvSpPr>
                <a:spLocks/>
              </p:cNvSpPr>
              <p:nvPr/>
            </p:nvSpPr>
            <p:spPr bwMode="auto">
              <a:xfrm>
                <a:off x="-755650" y="3084513"/>
                <a:ext cx="57150" cy="101600"/>
              </a:xfrm>
              <a:custGeom>
                <a:avLst/>
                <a:gdLst>
                  <a:gd name="T0" fmla="*/ 26 w 26"/>
                  <a:gd name="T1" fmla="*/ 0 h 46"/>
                  <a:gd name="T2" fmla="*/ 21 w 26"/>
                  <a:gd name="T3" fmla="*/ 0 h 46"/>
                  <a:gd name="T4" fmla="*/ 17 w 26"/>
                  <a:gd name="T5" fmla="*/ 2 h 46"/>
                  <a:gd name="T6" fmla="*/ 15 w 26"/>
                  <a:gd name="T7" fmla="*/ 3 h 46"/>
                  <a:gd name="T8" fmla="*/ 10 w 26"/>
                  <a:gd name="T9" fmla="*/ 6 h 46"/>
                  <a:gd name="T10" fmla="*/ 5 w 26"/>
                  <a:gd name="T11" fmla="*/ 9 h 46"/>
                  <a:gd name="T12" fmla="*/ 0 w 26"/>
                  <a:gd name="T13" fmla="*/ 10 h 46"/>
                  <a:gd name="T14" fmla="*/ 0 w 26"/>
                  <a:gd name="T15" fmla="*/ 11 h 46"/>
                  <a:gd name="T16" fmla="*/ 0 w 26"/>
                  <a:gd name="T17" fmla="*/ 14 h 46"/>
                  <a:gd name="T18" fmla="*/ 0 w 26"/>
                  <a:gd name="T19" fmla="*/ 20 h 46"/>
                  <a:gd name="T20" fmla="*/ 8 w 26"/>
                  <a:gd name="T21" fmla="*/ 18 h 46"/>
                  <a:gd name="T22" fmla="*/ 14 w 26"/>
                  <a:gd name="T23" fmla="*/ 14 h 46"/>
                  <a:gd name="T24" fmla="*/ 14 w 26"/>
                  <a:gd name="T25" fmla="*/ 21 h 46"/>
                  <a:gd name="T26" fmla="*/ 14 w 26"/>
                  <a:gd name="T27" fmla="*/ 32 h 46"/>
                  <a:gd name="T28" fmla="*/ 14 w 26"/>
                  <a:gd name="T29" fmla="*/ 46 h 46"/>
                  <a:gd name="T30" fmla="*/ 26 w 26"/>
                  <a:gd name="T31" fmla="*/ 46 h 46"/>
                  <a:gd name="T32" fmla="*/ 26 w 26"/>
                  <a:gd name="T33" fmla="*/ 38 h 46"/>
                  <a:gd name="T34" fmla="*/ 26 w 26"/>
                  <a:gd name="T3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46">
                    <a:moveTo>
                      <a:pt x="26" y="0"/>
                    </a:moveTo>
                    <a:cubicBezTo>
                      <a:pt x="21" y="0"/>
                      <a:pt x="21" y="0"/>
                      <a:pt x="21" y="0"/>
                    </a:cubicBezTo>
                    <a:cubicBezTo>
                      <a:pt x="20" y="1"/>
                      <a:pt x="18" y="2"/>
                      <a:pt x="17" y="2"/>
                    </a:cubicBezTo>
                    <a:cubicBezTo>
                      <a:pt x="17" y="3"/>
                      <a:pt x="16" y="3"/>
                      <a:pt x="15" y="3"/>
                    </a:cubicBezTo>
                    <a:cubicBezTo>
                      <a:pt x="14" y="4"/>
                      <a:pt x="12" y="5"/>
                      <a:pt x="10" y="6"/>
                    </a:cubicBezTo>
                    <a:cubicBezTo>
                      <a:pt x="9" y="7"/>
                      <a:pt x="7" y="8"/>
                      <a:pt x="5" y="9"/>
                    </a:cubicBezTo>
                    <a:cubicBezTo>
                      <a:pt x="3" y="9"/>
                      <a:pt x="2" y="10"/>
                      <a:pt x="0" y="10"/>
                    </a:cubicBezTo>
                    <a:cubicBezTo>
                      <a:pt x="0" y="10"/>
                      <a:pt x="0" y="10"/>
                      <a:pt x="0" y="11"/>
                    </a:cubicBezTo>
                    <a:cubicBezTo>
                      <a:pt x="0" y="14"/>
                      <a:pt x="0" y="14"/>
                      <a:pt x="0" y="14"/>
                    </a:cubicBezTo>
                    <a:cubicBezTo>
                      <a:pt x="0" y="20"/>
                      <a:pt x="0" y="20"/>
                      <a:pt x="0" y="20"/>
                    </a:cubicBezTo>
                    <a:cubicBezTo>
                      <a:pt x="3" y="19"/>
                      <a:pt x="5" y="19"/>
                      <a:pt x="8" y="18"/>
                    </a:cubicBezTo>
                    <a:cubicBezTo>
                      <a:pt x="10" y="16"/>
                      <a:pt x="12" y="15"/>
                      <a:pt x="14" y="14"/>
                    </a:cubicBezTo>
                    <a:cubicBezTo>
                      <a:pt x="14" y="21"/>
                      <a:pt x="14" y="21"/>
                      <a:pt x="14" y="21"/>
                    </a:cubicBezTo>
                    <a:cubicBezTo>
                      <a:pt x="14" y="32"/>
                      <a:pt x="14" y="32"/>
                      <a:pt x="14" y="32"/>
                    </a:cubicBezTo>
                    <a:cubicBezTo>
                      <a:pt x="14" y="46"/>
                      <a:pt x="14" y="46"/>
                      <a:pt x="14" y="46"/>
                    </a:cubicBezTo>
                    <a:cubicBezTo>
                      <a:pt x="26" y="46"/>
                      <a:pt x="26" y="46"/>
                      <a:pt x="26" y="46"/>
                    </a:cubicBezTo>
                    <a:cubicBezTo>
                      <a:pt x="26" y="38"/>
                      <a:pt x="26" y="38"/>
                      <a:pt x="26" y="38"/>
                    </a:cubicBezTo>
                    <a:lnTo>
                      <a:pt x="2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1" name="Freeform 110"/>
              <p:cNvSpPr>
                <a:spLocks/>
              </p:cNvSpPr>
              <p:nvPr/>
            </p:nvSpPr>
            <p:spPr bwMode="auto">
              <a:xfrm>
                <a:off x="-555625" y="3084513"/>
                <a:ext cx="57150" cy="101600"/>
              </a:xfrm>
              <a:custGeom>
                <a:avLst/>
                <a:gdLst>
                  <a:gd name="T0" fmla="*/ 26 w 26"/>
                  <a:gd name="T1" fmla="*/ 0 h 46"/>
                  <a:gd name="T2" fmla="*/ 21 w 26"/>
                  <a:gd name="T3" fmla="*/ 0 h 46"/>
                  <a:gd name="T4" fmla="*/ 17 w 26"/>
                  <a:gd name="T5" fmla="*/ 2 h 46"/>
                  <a:gd name="T6" fmla="*/ 16 w 26"/>
                  <a:gd name="T7" fmla="*/ 3 h 46"/>
                  <a:gd name="T8" fmla="*/ 10 w 26"/>
                  <a:gd name="T9" fmla="*/ 6 h 46"/>
                  <a:gd name="T10" fmla="*/ 5 w 26"/>
                  <a:gd name="T11" fmla="*/ 9 h 46"/>
                  <a:gd name="T12" fmla="*/ 0 w 26"/>
                  <a:gd name="T13" fmla="*/ 10 h 46"/>
                  <a:gd name="T14" fmla="*/ 0 w 26"/>
                  <a:gd name="T15" fmla="*/ 11 h 46"/>
                  <a:gd name="T16" fmla="*/ 0 w 26"/>
                  <a:gd name="T17" fmla="*/ 14 h 46"/>
                  <a:gd name="T18" fmla="*/ 0 w 26"/>
                  <a:gd name="T19" fmla="*/ 20 h 46"/>
                  <a:gd name="T20" fmla="*/ 8 w 26"/>
                  <a:gd name="T21" fmla="*/ 18 h 46"/>
                  <a:gd name="T22" fmla="*/ 14 w 26"/>
                  <a:gd name="T23" fmla="*/ 14 h 46"/>
                  <a:gd name="T24" fmla="*/ 14 w 26"/>
                  <a:gd name="T25" fmla="*/ 21 h 46"/>
                  <a:gd name="T26" fmla="*/ 14 w 26"/>
                  <a:gd name="T27" fmla="*/ 32 h 46"/>
                  <a:gd name="T28" fmla="*/ 14 w 26"/>
                  <a:gd name="T29" fmla="*/ 46 h 46"/>
                  <a:gd name="T30" fmla="*/ 26 w 26"/>
                  <a:gd name="T31" fmla="*/ 46 h 46"/>
                  <a:gd name="T32" fmla="*/ 26 w 26"/>
                  <a:gd name="T33" fmla="*/ 38 h 46"/>
                  <a:gd name="T34" fmla="*/ 26 w 26"/>
                  <a:gd name="T3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46">
                    <a:moveTo>
                      <a:pt x="26" y="0"/>
                    </a:moveTo>
                    <a:cubicBezTo>
                      <a:pt x="21" y="0"/>
                      <a:pt x="21" y="0"/>
                      <a:pt x="21" y="0"/>
                    </a:cubicBezTo>
                    <a:cubicBezTo>
                      <a:pt x="20" y="1"/>
                      <a:pt x="18" y="2"/>
                      <a:pt x="17" y="2"/>
                    </a:cubicBezTo>
                    <a:cubicBezTo>
                      <a:pt x="17" y="3"/>
                      <a:pt x="16" y="3"/>
                      <a:pt x="16" y="3"/>
                    </a:cubicBezTo>
                    <a:cubicBezTo>
                      <a:pt x="14" y="4"/>
                      <a:pt x="12" y="5"/>
                      <a:pt x="10" y="6"/>
                    </a:cubicBezTo>
                    <a:cubicBezTo>
                      <a:pt x="9" y="7"/>
                      <a:pt x="7" y="8"/>
                      <a:pt x="5" y="9"/>
                    </a:cubicBezTo>
                    <a:cubicBezTo>
                      <a:pt x="3" y="9"/>
                      <a:pt x="2" y="10"/>
                      <a:pt x="0" y="10"/>
                    </a:cubicBezTo>
                    <a:cubicBezTo>
                      <a:pt x="0" y="10"/>
                      <a:pt x="0" y="10"/>
                      <a:pt x="0" y="11"/>
                    </a:cubicBezTo>
                    <a:cubicBezTo>
                      <a:pt x="0" y="14"/>
                      <a:pt x="0" y="14"/>
                      <a:pt x="0" y="14"/>
                    </a:cubicBezTo>
                    <a:cubicBezTo>
                      <a:pt x="0" y="20"/>
                      <a:pt x="0" y="20"/>
                      <a:pt x="0" y="20"/>
                    </a:cubicBezTo>
                    <a:cubicBezTo>
                      <a:pt x="3" y="19"/>
                      <a:pt x="5" y="19"/>
                      <a:pt x="8" y="18"/>
                    </a:cubicBezTo>
                    <a:cubicBezTo>
                      <a:pt x="10" y="16"/>
                      <a:pt x="12" y="15"/>
                      <a:pt x="14" y="14"/>
                    </a:cubicBezTo>
                    <a:cubicBezTo>
                      <a:pt x="14" y="21"/>
                      <a:pt x="14" y="21"/>
                      <a:pt x="14" y="21"/>
                    </a:cubicBezTo>
                    <a:cubicBezTo>
                      <a:pt x="14" y="32"/>
                      <a:pt x="14" y="32"/>
                      <a:pt x="14" y="32"/>
                    </a:cubicBezTo>
                    <a:cubicBezTo>
                      <a:pt x="14" y="46"/>
                      <a:pt x="14" y="46"/>
                      <a:pt x="14" y="46"/>
                    </a:cubicBezTo>
                    <a:cubicBezTo>
                      <a:pt x="26" y="46"/>
                      <a:pt x="26" y="46"/>
                      <a:pt x="26" y="46"/>
                    </a:cubicBezTo>
                    <a:cubicBezTo>
                      <a:pt x="26" y="38"/>
                      <a:pt x="26" y="38"/>
                      <a:pt x="26" y="38"/>
                    </a:cubicBezTo>
                    <a:lnTo>
                      <a:pt x="2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2" name="Freeform 111"/>
              <p:cNvSpPr>
                <a:spLocks/>
              </p:cNvSpPr>
              <p:nvPr/>
            </p:nvSpPr>
            <p:spPr bwMode="auto">
              <a:xfrm>
                <a:off x="-474662" y="3082925"/>
                <a:ext cx="106363" cy="103188"/>
              </a:xfrm>
              <a:custGeom>
                <a:avLst/>
                <a:gdLst>
                  <a:gd name="T0" fmla="*/ 49 w 49"/>
                  <a:gd name="T1" fmla="*/ 37 h 47"/>
                  <a:gd name="T2" fmla="*/ 36 w 49"/>
                  <a:gd name="T3" fmla="*/ 2 h 47"/>
                  <a:gd name="T4" fmla="*/ 25 w 49"/>
                  <a:gd name="T5" fmla="*/ 0 h 47"/>
                  <a:gd name="T6" fmla="*/ 19 w 49"/>
                  <a:gd name="T7" fmla="*/ 1 h 47"/>
                  <a:gd name="T8" fmla="*/ 6 w 49"/>
                  <a:gd name="T9" fmla="*/ 10 h 47"/>
                  <a:gd name="T10" fmla="*/ 6 w 49"/>
                  <a:gd name="T11" fmla="*/ 10 h 47"/>
                  <a:gd name="T12" fmla="*/ 3 w 49"/>
                  <a:gd name="T13" fmla="*/ 18 h 47"/>
                  <a:gd name="T14" fmla="*/ 0 w 49"/>
                  <a:gd name="T15" fmla="*/ 39 h 47"/>
                  <a:gd name="T16" fmla="*/ 0 w 49"/>
                  <a:gd name="T17" fmla="*/ 47 h 47"/>
                  <a:gd name="T18" fmla="*/ 12 w 49"/>
                  <a:gd name="T19" fmla="*/ 47 h 47"/>
                  <a:gd name="T20" fmla="*/ 12 w 49"/>
                  <a:gd name="T21" fmla="*/ 38 h 47"/>
                  <a:gd name="T22" fmla="*/ 19 w 49"/>
                  <a:gd name="T23" fmla="*/ 11 h 47"/>
                  <a:gd name="T24" fmla="*/ 25 w 49"/>
                  <a:gd name="T25" fmla="*/ 9 h 47"/>
                  <a:gd name="T26" fmla="*/ 37 w 49"/>
                  <a:gd name="T27" fmla="*/ 38 h 47"/>
                  <a:gd name="T28" fmla="*/ 37 w 49"/>
                  <a:gd name="T29" fmla="*/ 47 h 47"/>
                  <a:gd name="T30" fmla="*/ 49 w 49"/>
                  <a:gd name="T31" fmla="*/ 47 h 47"/>
                  <a:gd name="T32" fmla="*/ 49 w 49"/>
                  <a:gd name="T33" fmla="*/ 39 h 47"/>
                  <a:gd name="T34" fmla="*/ 49 w 49"/>
                  <a:gd name="T35"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47">
                    <a:moveTo>
                      <a:pt x="49" y="37"/>
                    </a:moveTo>
                    <a:cubicBezTo>
                      <a:pt x="49" y="18"/>
                      <a:pt x="45" y="7"/>
                      <a:pt x="36" y="2"/>
                    </a:cubicBezTo>
                    <a:cubicBezTo>
                      <a:pt x="33" y="1"/>
                      <a:pt x="29" y="0"/>
                      <a:pt x="25" y="0"/>
                    </a:cubicBezTo>
                    <a:cubicBezTo>
                      <a:pt x="23" y="0"/>
                      <a:pt x="21" y="0"/>
                      <a:pt x="19" y="1"/>
                    </a:cubicBezTo>
                    <a:cubicBezTo>
                      <a:pt x="14" y="2"/>
                      <a:pt x="10" y="5"/>
                      <a:pt x="6" y="10"/>
                    </a:cubicBezTo>
                    <a:cubicBezTo>
                      <a:pt x="6" y="10"/>
                      <a:pt x="6" y="10"/>
                      <a:pt x="6" y="10"/>
                    </a:cubicBezTo>
                    <a:cubicBezTo>
                      <a:pt x="5" y="12"/>
                      <a:pt x="4" y="15"/>
                      <a:pt x="3" y="18"/>
                    </a:cubicBezTo>
                    <a:cubicBezTo>
                      <a:pt x="1" y="24"/>
                      <a:pt x="0" y="31"/>
                      <a:pt x="0" y="39"/>
                    </a:cubicBezTo>
                    <a:cubicBezTo>
                      <a:pt x="0" y="42"/>
                      <a:pt x="0" y="44"/>
                      <a:pt x="0" y="47"/>
                    </a:cubicBezTo>
                    <a:cubicBezTo>
                      <a:pt x="12" y="47"/>
                      <a:pt x="12" y="47"/>
                      <a:pt x="12" y="47"/>
                    </a:cubicBezTo>
                    <a:cubicBezTo>
                      <a:pt x="12" y="44"/>
                      <a:pt x="12" y="41"/>
                      <a:pt x="12" y="38"/>
                    </a:cubicBezTo>
                    <a:cubicBezTo>
                      <a:pt x="12" y="24"/>
                      <a:pt x="14" y="15"/>
                      <a:pt x="19" y="11"/>
                    </a:cubicBezTo>
                    <a:cubicBezTo>
                      <a:pt x="21" y="10"/>
                      <a:pt x="23" y="9"/>
                      <a:pt x="25" y="9"/>
                    </a:cubicBezTo>
                    <a:cubicBezTo>
                      <a:pt x="33" y="9"/>
                      <a:pt x="37" y="19"/>
                      <a:pt x="37" y="38"/>
                    </a:cubicBezTo>
                    <a:cubicBezTo>
                      <a:pt x="37" y="41"/>
                      <a:pt x="37" y="44"/>
                      <a:pt x="37" y="47"/>
                    </a:cubicBezTo>
                    <a:cubicBezTo>
                      <a:pt x="49" y="47"/>
                      <a:pt x="49" y="47"/>
                      <a:pt x="49" y="47"/>
                    </a:cubicBezTo>
                    <a:cubicBezTo>
                      <a:pt x="49" y="45"/>
                      <a:pt x="49" y="42"/>
                      <a:pt x="49" y="39"/>
                    </a:cubicBezTo>
                    <a:cubicBezTo>
                      <a:pt x="49" y="39"/>
                      <a:pt x="49" y="38"/>
                      <a:pt x="49" y="37"/>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3" name="Freeform 112"/>
              <p:cNvSpPr>
                <a:spLocks/>
              </p:cNvSpPr>
              <p:nvPr/>
            </p:nvSpPr>
            <p:spPr bwMode="auto">
              <a:xfrm>
                <a:off x="-674687" y="3082925"/>
                <a:ext cx="106363" cy="103188"/>
              </a:xfrm>
              <a:custGeom>
                <a:avLst/>
                <a:gdLst>
                  <a:gd name="T0" fmla="*/ 49 w 49"/>
                  <a:gd name="T1" fmla="*/ 37 h 47"/>
                  <a:gd name="T2" fmla="*/ 36 w 49"/>
                  <a:gd name="T3" fmla="*/ 2 h 47"/>
                  <a:gd name="T4" fmla="*/ 25 w 49"/>
                  <a:gd name="T5" fmla="*/ 0 h 47"/>
                  <a:gd name="T6" fmla="*/ 19 w 49"/>
                  <a:gd name="T7" fmla="*/ 1 h 47"/>
                  <a:gd name="T8" fmla="*/ 6 w 49"/>
                  <a:gd name="T9" fmla="*/ 10 h 47"/>
                  <a:gd name="T10" fmla="*/ 6 w 49"/>
                  <a:gd name="T11" fmla="*/ 10 h 47"/>
                  <a:gd name="T12" fmla="*/ 2 w 49"/>
                  <a:gd name="T13" fmla="*/ 18 h 47"/>
                  <a:gd name="T14" fmla="*/ 0 w 49"/>
                  <a:gd name="T15" fmla="*/ 39 h 47"/>
                  <a:gd name="T16" fmla="*/ 0 w 49"/>
                  <a:gd name="T17" fmla="*/ 47 h 47"/>
                  <a:gd name="T18" fmla="*/ 12 w 49"/>
                  <a:gd name="T19" fmla="*/ 47 h 47"/>
                  <a:gd name="T20" fmla="*/ 12 w 49"/>
                  <a:gd name="T21" fmla="*/ 38 h 47"/>
                  <a:gd name="T22" fmla="*/ 19 w 49"/>
                  <a:gd name="T23" fmla="*/ 11 h 47"/>
                  <a:gd name="T24" fmla="*/ 25 w 49"/>
                  <a:gd name="T25" fmla="*/ 9 h 47"/>
                  <a:gd name="T26" fmla="*/ 37 w 49"/>
                  <a:gd name="T27" fmla="*/ 38 h 47"/>
                  <a:gd name="T28" fmla="*/ 37 w 49"/>
                  <a:gd name="T29" fmla="*/ 47 h 47"/>
                  <a:gd name="T30" fmla="*/ 48 w 49"/>
                  <a:gd name="T31" fmla="*/ 47 h 47"/>
                  <a:gd name="T32" fmla="*/ 49 w 49"/>
                  <a:gd name="T33" fmla="*/ 39 h 47"/>
                  <a:gd name="T34" fmla="*/ 49 w 49"/>
                  <a:gd name="T35"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47">
                    <a:moveTo>
                      <a:pt x="49" y="37"/>
                    </a:moveTo>
                    <a:cubicBezTo>
                      <a:pt x="49" y="18"/>
                      <a:pt x="45" y="7"/>
                      <a:pt x="36" y="2"/>
                    </a:cubicBezTo>
                    <a:cubicBezTo>
                      <a:pt x="33" y="1"/>
                      <a:pt x="29" y="0"/>
                      <a:pt x="25" y="0"/>
                    </a:cubicBezTo>
                    <a:cubicBezTo>
                      <a:pt x="23" y="0"/>
                      <a:pt x="21" y="0"/>
                      <a:pt x="19" y="1"/>
                    </a:cubicBezTo>
                    <a:cubicBezTo>
                      <a:pt x="14" y="2"/>
                      <a:pt x="9" y="5"/>
                      <a:pt x="6" y="10"/>
                    </a:cubicBezTo>
                    <a:cubicBezTo>
                      <a:pt x="6" y="10"/>
                      <a:pt x="6" y="10"/>
                      <a:pt x="6" y="10"/>
                    </a:cubicBezTo>
                    <a:cubicBezTo>
                      <a:pt x="5" y="12"/>
                      <a:pt x="3" y="15"/>
                      <a:pt x="2" y="18"/>
                    </a:cubicBezTo>
                    <a:cubicBezTo>
                      <a:pt x="1" y="24"/>
                      <a:pt x="0" y="31"/>
                      <a:pt x="0" y="39"/>
                    </a:cubicBezTo>
                    <a:cubicBezTo>
                      <a:pt x="0" y="42"/>
                      <a:pt x="0" y="44"/>
                      <a:pt x="0" y="47"/>
                    </a:cubicBezTo>
                    <a:cubicBezTo>
                      <a:pt x="12" y="47"/>
                      <a:pt x="12" y="47"/>
                      <a:pt x="12" y="47"/>
                    </a:cubicBezTo>
                    <a:cubicBezTo>
                      <a:pt x="12" y="44"/>
                      <a:pt x="12" y="41"/>
                      <a:pt x="12" y="38"/>
                    </a:cubicBezTo>
                    <a:cubicBezTo>
                      <a:pt x="12" y="24"/>
                      <a:pt x="14" y="15"/>
                      <a:pt x="19" y="11"/>
                    </a:cubicBezTo>
                    <a:cubicBezTo>
                      <a:pt x="21" y="10"/>
                      <a:pt x="23" y="9"/>
                      <a:pt x="25" y="9"/>
                    </a:cubicBezTo>
                    <a:cubicBezTo>
                      <a:pt x="33" y="9"/>
                      <a:pt x="37" y="19"/>
                      <a:pt x="37" y="38"/>
                    </a:cubicBezTo>
                    <a:cubicBezTo>
                      <a:pt x="37" y="41"/>
                      <a:pt x="37" y="44"/>
                      <a:pt x="37" y="47"/>
                    </a:cubicBezTo>
                    <a:cubicBezTo>
                      <a:pt x="48" y="47"/>
                      <a:pt x="48" y="47"/>
                      <a:pt x="48" y="47"/>
                    </a:cubicBezTo>
                    <a:cubicBezTo>
                      <a:pt x="49" y="45"/>
                      <a:pt x="49" y="42"/>
                      <a:pt x="49" y="39"/>
                    </a:cubicBezTo>
                    <a:cubicBezTo>
                      <a:pt x="49" y="39"/>
                      <a:pt x="49" y="38"/>
                      <a:pt x="49" y="37"/>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4" name="Freeform 113"/>
              <p:cNvSpPr>
                <a:spLocks/>
              </p:cNvSpPr>
              <p:nvPr/>
            </p:nvSpPr>
            <p:spPr bwMode="auto">
              <a:xfrm>
                <a:off x="-889000" y="2645131"/>
                <a:ext cx="642938" cy="536219"/>
              </a:xfrm>
              <a:custGeom>
                <a:avLst/>
                <a:gdLst>
                  <a:gd name="T0" fmla="*/ 295 w 295"/>
                  <a:gd name="T1" fmla="*/ 290 h 290"/>
                  <a:gd name="T2" fmla="*/ 149 w 295"/>
                  <a:gd name="T3" fmla="*/ 0 h 290"/>
                  <a:gd name="T4" fmla="*/ 0 w 295"/>
                  <a:gd name="T5" fmla="*/ 290 h 290"/>
                </a:gdLst>
                <a:ahLst/>
                <a:cxnLst>
                  <a:cxn ang="0">
                    <a:pos x="T0" y="T1"/>
                  </a:cxn>
                  <a:cxn ang="0">
                    <a:pos x="T2" y="T3"/>
                  </a:cxn>
                  <a:cxn ang="0">
                    <a:pos x="T4" y="T5"/>
                  </a:cxn>
                </a:cxnLst>
                <a:rect l="0" t="0" r="r" b="b"/>
                <a:pathLst>
                  <a:path w="295" h="290">
                    <a:moveTo>
                      <a:pt x="295" y="290"/>
                    </a:moveTo>
                    <a:cubicBezTo>
                      <a:pt x="214" y="290"/>
                      <a:pt x="149" y="190"/>
                      <a:pt x="149" y="0"/>
                    </a:cubicBezTo>
                    <a:cubicBezTo>
                      <a:pt x="149" y="190"/>
                      <a:pt x="82" y="290"/>
                      <a:pt x="0" y="290"/>
                    </a:cubicBezTo>
                  </a:path>
                </a:pathLst>
              </a:custGeom>
              <a:noFill/>
              <a:ln w="12700" cap="flat">
                <a:solidFill>
                  <a:srgbClr val="96969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5" name="Freeform 114"/>
              <p:cNvSpPr>
                <a:spLocks/>
              </p:cNvSpPr>
              <p:nvPr/>
            </p:nvSpPr>
            <p:spPr bwMode="auto">
              <a:xfrm>
                <a:off x="-890587" y="3181350"/>
                <a:ext cx="644525" cy="128588"/>
              </a:xfrm>
              <a:custGeom>
                <a:avLst/>
                <a:gdLst>
                  <a:gd name="T0" fmla="*/ 261 w 296"/>
                  <a:gd name="T1" fmla="*/ 0 h 59"/>
                  <a:gd name="T2" fmla="*/ 227 w 296"/>
                  <a:gd name="T3" fmla="*/ 0 h 59"/>
                  <a:gd name="T4" fmla="*/ 70 w 296"/>
                  <a:gd name="T5" fmla="*/ 0 h 59"/>
                  <a:gd name="T6" fmla="*/ 35 w 296"/>
                  <a:gd name="T7" fmla="*/ 0 h 59"/>
                  <a:gd name="T8" fmla="*/ 0 w 296"/>
                  <a:gd name="T9" fmla="*/ 0 h 59"/>
                  <a:gd name="T10" fmla="*/ 35 w 296"/>
                  <a:gd name="T11" fmla="*/ 33 h 59"/>
                  <a:gd name="T12" fmla="*/ 56 w 296"/>
                  <a:gd name="T13" fmla="*/ 33 h 59"/>
                  <a:gd name="T14" fmla="*/ 83 w 296"/>
                  <a:gd name="T15" fmla="*/ 59 h 59"/>
                  <a:gd name="T16" fmla="*/ 214 w 296"/>
                  <a:gd name="T17" fmla="*/ 59 h 59"/>
                  <a:gd name="T18" fmla="*/ 240 w 296"/>
                  <a:gd name="T19" fmla="*/ 33 h 59"/>
                  <a:gd name="T20" fmla="*/ 261 w 296"/>
                  <a:gd name="T21" fmla="*/ 33 h 59"/>
                  <a:gd name="T22" fmla="*/ 296 w 296"/>
                  <a:gd name="T23" fmla="*/ 0 h 59"/>
                  <a:gd name="T24" fmla="*/ 261 w 296"/>
                  <a:gd name="T2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6" h="59">
                    <a:moveTo>
                      <a:pt x="261" y="0"/>
                    </a:moveTo>
                    <a:cubicBezTo>
                      <a:pt x="227" y="0"/>
                      <a:pt x="227" y="0"/>
                      <a:pt x="227" y="0"/>
                    </a:cubicBezTo>
                    <a:cubicBezTo>
                      <a:pt x="70" y="0"/>
                      <a:pt x="70" y="0"/>
                      <a:pt x="70" y="0"/>
                    </a:cubicBezTo>
                    <a:cubicBezTo>
                      <a:pt x="35" y="0"/>
                      <a:pt x="35" y="0"/>
                      <a:pt x="35" y="0"/>
                    </a:cubicBezTo>
                    <a:cubicBezTo>
                      <a:pt x="0" y="0"/>
                      <a:pt x="0" y="0"/>
                      <a:pt x="0" y="0"/>
                    </a:cubicBezTo>
                    <a:cubicBezTo>
                      <a:pt x="1" y="19"/>
                      <a:pt x="16" y="33"/>
                      <a:pt x="35" y="33"/>
                    </a:cubicBezTo>
                    <a:cubicBezTo>
                      <a:pt x="56" y="33"/>
                      <a:pt x="56" y="33"/>
                      <a:pt x="56" y="33"/>
                    </a:cubicBezTo>
                    <a:cubicBezTo>
                      <a:pt x="57" y="47"/>
                      <a:pt x="68" y="59"/>
                      <a:pt x="83" y="59"/>
                    </a:cubicBezTo>
                    <a:cubicBezTo>
                      <a:pt x="214" y="59"/>
                      <a:pt x="214" y="59"/>
                      <a:pt x="214" y="59"/>
                    </a:cubicBezTo>
                    <a:cubicBezTo>
                      <a:pt x="228" y="59"/>
                      <a:pt x="240" y="47"/>
                      <a:pt x="240" y="33"/>
                    </a:cubicBezTo>
                    <a:cubicBezTo>
                      <a:pt x="261" y="33"/>
                      <a:pt x="261" y="33"/>
                      <a:pt x="261" y="33"/>
                    </a:cubicBezTo>
                    <a:cubicBezTo>
                      <a:pt x="280" y="33"/>
                      <a:pt x="295" y="19"/>
                      <a:pt x="296" y="0"/>
                    </a:cubicBezTo>
                    <a:lnTo>
                      <a:pt x="261"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386" name="Group 385"/>
          <p:cNvGrpSpPr/>
          <p:nvPr/>
        </p:nvGrpSpPr>
        <p:grpSpPr>
          <a:xfrm>
            <a:off x="1" y="5259067"/>
            <a:ext cx="11757022" cy="548640"/>
            <a:chOff x="1" y="5259067"/>
            <a:chExt cx="11757022" cy="548640"/>
          </a:xfrm>
        </p:grpSpPr>
        <p:sp>
          <p:nvSpPr>
            <p:cNvPr id="387" name="Rectangle 386"/>
            <p:cNvSpPr/>
            <p:nvPr/>
          </p:nvSpPr>
          <p:spPr bwMode="auto">
            <a:xfrm>
              <a:off x="1" y="5259067"/>
              <a:ext cx="3248023" cy="548640"/>
            </a:xfrm>
            <a:prstGeom prst="rect">
              <a:avLst/>
            </a:prstGeom>
            <a:solidFill>
              <a:srgbClr val="0D163D"/>
            </a:solidFill>
            <a:ln w="9525" cap="flat" cmpd="sng" algn="ctr">
              <a:noFill/>
              <a:prstDash val="solid"/>
              <a:headEnd type="none" w="med" len="med"/>
              <a:tailEnd type="none" w="med" len="med"/>
            </a:ln>
            <a:effectLst/>
          </p:spPr>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	All sources</a:t>
              </a:r>
            </a:p>
          </p:txBody>
        </p:sp>
        <p:sp>
          <p:nvSpPr>
            <p:cNvPr id="388" name="Rectangle 387"/>
            <p:cNvSpPr/>
            <p:nvPr/>
          </p:nvSpPr>
          <p:spPr>
            <a:xfrm>
              <a:off x="3248024" y="5259067"/>
              <a:ext cx="8508999" cy="548640"/>
            </a:xfrm>
            <a:prstGeom prst="rect">
              <a:avLst/>
            </a:prstGeom>
            <a:solidFill>
              <a:srgbClr val="FFFFFF">
                <a:lumMod val="95000"/>
              </a:srgbClr>
            </a:solidFill>
          </p:spPr>
          <p:txBody>
            <a:bodyPr wrap="square" lIns="91440" anchor="ctr">
              <a:noAutofit/>
            </a:bodyPr>
            <a:lstStyle/>
            <a:p>
              <a:pPr marL="53965" marR="0" lvl="1" indent="0" defTabSz="931954" eaLnBrk="1" fontAlgn="auto" latinLnBrk="0" hangingPunct="1">
                <a:lnSpc>
                  <a:spcPct val="100000"/>
                </a:lnSpc>
                <a:spcBef>
                  <a:spcPts val="0"/>
                </a:spcBef>
                <a:spcAft>
                  <a:spcPts val="0"/>
                </a:spcAft>
                <a:buClr>
                  <a:srgbClr val="68217A">
                    <a:lumMod val="50000"/>
                  </a:srgbClr>
                </a:buClr>
                <a:buSzTx/>
                <a:buFontTx/>
                <a:buNone/>
                <a:tabLst>
                  <a:tab pos="658368" algn="l"/>
                </a:tabLst>
                <a:defRPr/>
              </a:pPr>
              <a:r>
                <a:rPr kumimoji="0" lang="en-IN" sz="14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Must be able ingest data from a variety of sources-LOB/ERP, Logs, Devices, Social NWs etc.</a:t>
              </a:r>
            </a:p>
          </p:txBody>
        </p:sp>
        <p:grpSp>
          <p:nvGrpSpPr>
            <p:cNvPr id="389" name="Group 388"/>
            <p:cNvGrpSpPr/>
            <p:nvPr/>
          </p:nvGrpSpPr>
          <p:grpSpPr>
            <a:xfrm>
              <a:off x="571714" y="5296877"/>
              <a:ext cx="631137" cy="473020"/>
              <a:chOff x="1102413" y="1114425"/>
              <a:chExt cx="4250322" cy="3185498"/>
            </a:xfrm>
          </p:grpSpPr>
          <p:sp>
            <p:nvSpPr>
              <p:cNvPr id="390" name="Rectangle 132"/>
              <p:cNvSpPr>
                <a:spLocks noChangeArrowheads="1"/>
              </p:cNvSpPr>
              <p:nvPr/>
            </p:nvSpPr>
            <p:spPr bwMode="auto">
              <a:xfrm>
                <a:off x="3115409" y="2134383"/>
                <a:ext cx="2237326" cy="1516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1" name="Rectangle 140"/>
              <p:cNvSpPr>
                <a:spLocks noChangeArrowheads="1"/>
              </p:cNvSpPr>
              <p:nvPr/>
            </p:nvSpPr>
            <p:spPr bwMode="auto">
              <a:xfrm>
                <a:off x="4266972" y="3378671"/>
                <a:ext cx="711876" cy="765714"/>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2" name="Freeform 155"/>
              <p:cNvSpPr>
                <a:spLocks/>
              </p:cNvSpPr>
              <p:nvPr/>
            </p:nvSpPr>
            <p:spPr bwMode="auto">
              <a:xfrm>
                <a:off x="1102413" y="3324832"/>
                <a:ext cx="798619" cy="783662"/>
              </a:xfrm>
              <a:custGeom>
                <a:avLst/>
                <a:gdLst>
                  <a:gd name="T0" fmla="*/ 254 w 316"/>
                  <a:gd name="T1" fmla="*/ 15 h 511"/>
                  <a:gd name="T2" fmla="*/ 81 w 316"/>
                  <a:gd name="T3" fmla="*/ 15 h 511"/>
                  <a:gd name="T4" fmla="*/ 81 w 316"/>
                  <a:gd name="T5" fmla="*/ 16 h 511"/>
                  <a:gd name="T6" fmla="*/ 0 w 316"/>
                  <a:gd name="T7" fmla="*/ 117 h 511"/>
                  <a:gd name="T8" fmla="*/ 0 w 316"/>
                  <a:gd name="T9" fmla="*/ 511 h 511"/>
                  <a:gd name="T10" fmla="*/ 316 w 316"/>
                  <a:gd name="T11" fmla="*/ 511 h 511"/>
                  <a:gd name="T12" fmla="*/ 316 w 316"/>
                  <a:gd name="T13" fmla="*/ 121 h 511"/>
                  <a:gd name="T14" fmla="*/ 254 w 316"/>
                  <a:gd name="T15" fmla="*/ 15 h 5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6" h="511">
                    <a:moveTo>
                      <a:pt x="254" y="15"/>
                    </a:moveTo>
                    <a:cubicBezTo>
                      <a:pt x="81" y="15"/>
                      <a:pt x="81" y="15"/>
                      <a:pt x="81" y="15"/>
                    </a:cubicBezTo>
                    <a:cubicBezTo>
                      <a:pt x="81" y="16"/>
                      <a:pt x="81" y="16"/>
                      <a:pt x="81" y="16"/>
                    </a:cubicBezTo>
                    <a:cubicBezTo>
                      <a:pt x="81" y="16"/>
                      <a:pt x="0" y="0"/>
                      <a:pt x="0" y="117"/>
                    </a:cubicBezTo>
                    <a:cubicBezTo>
                      <a:pt x="0" y="511"/>
                      <a:pt x="0" y="511"/>
                      <a:pt x="0" y="511"/>
                    </a:cubicBezTo>
                    <a:cubicBezTo>
                      <a:pt x="316" y="511"/>
                      <a:pt x="316" y="511"/>
                      <a:pt x="316" y="511"/>
                    </a:cubicBezTo>
                    <a:cubicBezTo>
                      <a:pt x="316" y="121"/>
                      <a:pt x="316" y="121"/>
                      <a:pt x="316" y="121"/>
                    </a:cubicBezTo>
                    <a:cubicBezTo>
                      <a:pt x="316" y="31"/>
                      <a:pt x="271" y="17"/>
                      <a:pt x="254" y="15"/>
                    </a:cubicBezTo>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3" name="Freeform 164"/>
              <p:cNvSpPr>
                <a:spLocks/>
              </p:cNvSpPr>
              <p:nvPr/>
            </p:nvSpPr>
            <p:spPr bwMode="auto">
              <a:xfrm>
                <a:off x="1724557" y="3698715"/>
                <a:ext cx="242278" cy="242278"/>
              </a:xfrm>
              <a:custGeom>
                <a:avLst/>
                <a:gdLst>
                  <a:gd name="T0" fmla="*/ 83 w 96"/>
                  <a:gd name="T1" fmla="*/ 18 h 96"/>
                  <a:gd name="T2" fmla="*/ 30 w 96"/>
                  <a:gd name="T3" fmla="*/ 14 h 96"/>
                  <a:gd name="T4" fmla="*/ 29 w 96"/>
                  <a:gd name="T5" fmla="*/ 15 h 96"/>
                  <a:gd name="T6" fmla="*/ 29 w 96"/>
                  <a:gd name="T7" fmla="*/ 15 h 96"/>
                  <a:gd name="T8" fmla="*/ 0 w 96"/>
                  <a:gd name="T9" fmla="*/ 40 h 96"/>
                  <a:gd name="T10" fmla="*/ 49 w 96"/>
                  <a:gd name="T11" fmla="*/ 96 h 96"/>
                  <a:gd name="T12" fmla="*/ 78 w 96"/>
                  <a:gd name="T13" fmla="*/ 71 h 96"/>
                  <a:gd name="T14" fmla="*/ 78 w 96"/>
                  <a:gd name="T15" fmla="*/ 71 h 96"/>
                  <a:gd name="T16" fmla="*/ 79 w 96"/>
                  <a:gd name="T17" fmla="*/ 70 h 96"/>
                  <a:gd name="T18" fmla="*/ 83 w 96"/>
                  <a:gd name="T1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83" y="18"/>
                    </a:moveTo>
                    <a:cubicBezTo>
                      <a:pt x="69" y="2"/>
                      <a:pt x="46" y="0"/>
                      <a:pt x="30" y="14"/>
                    </a:cubicBezTo>
                    <a:cubicBezTo>
                      <a:pt x="30" y="14"/>
                      <a:pt x="30" y="15"/>
                      <a:pt x="29" y="15"/>
                    </a:cubicBezTo>
                    <a:cubicBezTo>
                      <a:pt x="29" y="15"/>
                      <a:pt x="29" y="15"/>
                      <a:pt x="29" y="15"/>
                    </a:cubicBezTo>
                    <a:cubicBezTo>
                      <a:pt x="0" y="40"/>
                      <a:pt x="0" y="40"/>
                      <a:pt x="0" y="40"/>
                    </a:cubicBezTo>
                    <a:cubicBezTo>
                      <a:pt x="49" y="96"/>
                      <a:pt x="49" y="96"/>
                      <a:pt x="49" y="96"/>
                    </a:cubicBezTo>
                    <a:cubicBezTo>
                      <a:pt x="78" y="71"/>
                      <a:pt x="78" y="71"/>
                      <a:pt x="78" y="71"/>
                    </a:cubicBezTo>
                    <a:cubicBezTo>
                      <a:pt x="78" y="71"/>
                      <a:pt x="78" y="71"/>
                      <a:pt x="78" y="71"/>
                    </a:cubicBezTo>
                    <a:cubicBezTo>
                      <a:pt x="78" y="71"/>
                      <a:pt x="79" y="70"/>
                      <a:pt x="79" y="70"/>
                    </a:cubicBezTo>
                    <a:cubicBezTo>
                      <a:pt x="94" y="57"/>
                      <a:pt x="96" y="33"/>
                      <a:pt x="83" y="18"/>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4" name="Freeform 165"/>
              <p:cNvSpPr>
                <a:spLocks/>
              </p:cNvSpPr>
              <p:nvPr/>
            </p:nvSpPr>
            <p:spPr bwMode="auto">
              <a:xfrm>
                <a:off x="1679692" y="3034696"/>
                <a:ext cx="29911" cy="29911"/>
              </a:xfrm>
              <a:custGeom>
                <a:avLst/>
                <a:gdLst>
                  <a:gd name="T0" fmla="*/ 12 w 12"/>
                  <a:gd name="T1" fmla="*/ 7 h 12"/>
                  <a:gd name="T2" fmla="*/ 5 w 12"/>
                  <a:gd name="T3" fmla="*/ 11 h 12"/>
                  <a:gd name="T4" fmla="*/ 1 w 12"/>
                  <a:gd name="T5" fmla="*/ 5 h 12"/>
                  <a:gd name="T6" fmla="*/ 7 w 12"/>
                  <a:gd name="T7" fmla="*/ 0 h 12"/>
                  <a:gd name="T8" fmla="*/ 12 w 12"/>
                  <a:gd name="T9" fmla="*/ 7 h 12"/>
                </a:gdLst>
                <a:ahLst/>
                <a:cxnLst>
                  <a:cxn ang="0">
                    <a:pos x="T0" y="T1"/>
                  </a:cxn>
                  <a:cxn ang="0">
                    <a:pos x="T2" y="T3"/>
                  </a:cxn>
                  <a:cxn ang="0">
                    <a:pos x="T4" y="T5"/>
                  </a:cxn>
                  <a:cxn ang="0">
                    <a:pos x="T6" y="T7"/>
                  </a:cxn>
                  <a:cxn ang="0">
                    <a:pos x="T8" y="T9"/>
                  </a:cxn>
                </a:cxnLst>
                <a:rect l="0" t="0" r="r" b="b"/>
                <a:pathLst>
                  <a:path w="12" h="12">
                    <a:moveTo>
                      <a:pt x="12" y="7"/>
                    </a:moveTo>
                    <a:cubicBezTo>
                      <a:pt x="11" y="10"/>
                      <a:pt x="8" y="12"/>
                      <a:pt x="5" y="11"/>
                    </a:cubicBezTo>
                    <a:cubicBezTo>
                      <a:pt x="2" y="11"/>
                      <a:pt x="0" y="8"/>
                      <a:pt x="1" y="5"/>
                    </a:cubicBezTo>
                    <a:cubicBezTo>
                      <a:pt x="1" y="2"/>
                      <a:pt x="4" y="0"/>
                      <a:pt x="7" y="0"/>
                    </a:cubicBezTo>
                    <a:cubicBezTo>
                      <a:pt x="10" y="1"/>
                      <a:pt x="12" y="4"/>
                      <a:pt x="12" y="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5" name="Freeform 166"/>
              <p:cNvSpPr>
                <a:spLocks/>
              </p:cNvSpPr>
              <p:nvPr/>
            </p:nvSpPr>
            <p:spPr bwMode="auto">
              <a:xfrm>
                <a:off x="1730539" y="2986839"/>
                <a:ext cx="86742" cy="161518"/>
              </a:xfrm>
              <a:custGeom>
                <a:avLst/>
                <a:gdLst>
                  <a:gd name="T0" fmla="*/ 24 w 29"/>
                  <a:gd name="T1" fmla="*/ 0 h 54"/>
                  <a:gd name="T2" fmla="*/ 29 w 29"/>
                  <a:gd name="T3" fmla="*/ 54 h 54"/>
                  <a:gd name="T4" fmla="*/ 0 w 29"/>
                  <a:gd name="T5" fmla="*/ 49 h 54"/>
                  <a:gd name="T6" fmla="*/ 24 w 29"/>
                  <a:gd name="T7" fmla="*/ 0 h 54"/>
                </a:gdLst>
                <a:ahLst/>
                <a:cxnLst>
                  <a:cxn ang="0">
                    <a:pos x="T0" y="T1"/>
                  </a:cxn>
                  <a:cxn ang="0">
                    <a:pos x="T2" y="T3"/>
                  </a:cxn>
                  <a:cxn ang="0">
                    <a:pos x="T4" y="T5"/>
                  </a:cxn>
                  <a:cxn ang="0">
                    <a:pos x="T6" y="T7"/>
                  </a:cxn>
                </a:cxnLst>
                <a:rect l="0" t="0" r="r" b="b"/>
                <a:pathLst>
                  <a:path w="29" h="54">
                    <a:moveTo>
                      <a:pt x="24" y="0"/>
                    </a:moveTo>
                    <a:lnTo>
                      <a:pt x="29" y="54"/>
                    </a:lnTo>
                    <a:lnTo>
                      <a:pt x="0" y="49"/>
                    </a:lnTo>
                    <a:lnTo>
                      <a:pt x="24"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6" name="Freeform 167"/>
              <p:cNvSpPr>
                <a:spLocks/>
              </p:cNvSpPr>
              <p:nvPr/>
            </p:nvSpPr>
            <p:spPr bwMode="auto">
              <a:xfrm>
                <a:off x="3267953" y="2197195"/>
                <a:ext cx="670001" cy="837501"/>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7" name="Freeform 168"/>
              <p:cNvSpPr>
                <a:spLocks/>
              </p:cNvSpPr>
              <p:nvPr/>
            </p:nvSpPr>
            <p:spPr bwMode="auto">
              <a:xfrm>
                <a:off x="3273935" y="2197195"/>
                <a:ext cx="664019" cy="837501"/>
              </a:xfrm>
              <a:custGeom>
                <a:avLst/>
                <a:gdLst>
                  <a:gd name="T0" fmla="*/ 263 w 263"/>
                  <a:gd name="T1" fmla="*/ 0 h 331"/>
                  <a:gd name="T2" fmla="*/ 198 w 263"/>
                  <a:gd name="T3" fmla="*/ 1 h 331"/>
                  <a:gd name="T4" fmla="*/ 198 w 263"/>
                  <a:gd name="T5" fmla="*/ 1 h 331"/>
                  <a:gd name="T6" fmla="*/ 198 w 263"/>
                  <a:gd name="T7" fmla="*/ 4 h 331"/>
                  <a:gd name="T8" fmla="*/ 198 w 263"/>
                  <a:gd name="T9" fmla="*/ 5 h 331"/>
                  <a:gd name="T10" fmla="*/ 170 w 263"/>
                  <a:gd name="T11" fmla="*/ 151 h 331"/>
                  <a:gd name="T12" fmla="*/ 113 w 263"/>
                  <a:gd name="T13" fmla="*/ 232 h 331"/>
                  <a:gd name="T14" fmla="*/ 7 w 263"/>
                  <a:gd name="T15" fmla="*/ 266 h 331"/>
                  <a:gd name="T16" fmla="*/ 0 w 263"/>
                  <a:gd name="T17" fmla="*/ 266 h 331"/>
                  <a:gd name="T18" fmla="*/ 0 w 263"/>
                  <a:gd name="T19" fmla="*/ 266 h 331"/>
                  <a:gd name="T20" fmla="*/ 2 w 263"/>
                  <a:gd name="T21" fmla="*/ 266 h 331"/>
                  <a:gd name="T22" fmla="*/ 2 w 263"/>
                  <a:gd name="T23" fmla="*/ 331 h 331"/>
                  <a:gd name="T24" fmla="*/ 7 w 263"/>
                  <a:gd name="T25" fmla="*/ 331 h 331"/>
                  <a:gd name="T26" fmla="*/ 7 w 263"/>
                  <a:gd name="T27" fmla="*/ 331 h 331"/>
                  <a:gd name="T28" fmla="*/ 154 w 263"/>
                  <a:gd name="T29" fmla="*/ 283 h 331"/>
                  <a:gd name="T30" fmla="*/ 249 w 263"/>
                  <a:gd name="T31" fmla="*/ 120 h 331"/>
                  <a:gd name="T32" fmla="*/ 263 w 263"/>
                  <a:gd name="T33" fmla="*/ 4 h 331"/>
                  <a:gd name="T34" fmla="*/ 263 w 263"/>
                  <a:gd name="T3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331">
                    <a:moveTo>
                      <a:pt x="263" y="0"/>
                    </a:moveTo>
                    <a:cubicBezTo>
                      <a:pt x="198" y="1"/>
                      <a:pt x="198" y="1"/>
                      <a:pt x="198" y="1"/>
                    </a:cubicBezTo>
                    <a:cubicBezTo>
                      <a:pt x="198" y="1"/>
                      <a:pt x="198" y="1"/>
                      <a:pt x="198" y="1"/>
                    </a:cubicBezTo>
                    <a:cubicBezTo>
                      <a:pt x="198" y="1"/>
                      <a:pt x="198" y="2"/>
                      <a:pt x="198" y="4"/>
                    </a:cubicBezTo>
                    <a:cubicBezTo>
                      <a:pt x="198" y="4"/>
                      <a:pt x="198" y="5"/>
                      <a:pt x="198" y="5"/>
                    </a:cubicBezTo>
                    <a:cubicBezTo>
                      <a:pt x="198" y="22"/>
                      <a:pt x="195" y="91"/>
                      <a:pt x="170" y="151"/>
                    </a:cubicBezTo>
                    <a:cubicBezTo>
                      <a:pt x="157" y="182"/>
                      <a:pt x="138" y="211"/>
                      <a:pt x="113" y="232"/>
                    </a:cubicBezTo>
                    <a:cubicBezTo>
                      <a:pt x="87" y="252"/>
                      <a:pt x="54" y="266"/>
                      <a:pt x="7" y="266"/>
                    </a:cubicBezTo>
                    <a:cubicBezTo>
                      <a:pt x="5" y="266"/>
                      <a:pt x="2" y="266"/>
                      <a:pt x="0" y="266"/>
                    </a:cubicBezTo>
                    <a:cubicBezTo>
                      <a:pt x="0" y="266"/>
                      <a:pt x="0" y="266"/>
                      <a:pt x="0" y="266"/>
                    </a:cubicBezTo>
                    <a:cubicBezTo>
                      <a:pt x="2" y="266"/>
                      <a:pt x="2" y="266"/>
                      <a:pt x="2" y="266"/>
                    </a:cubicBezTo>
                    <a:cubicBezTo>
                      <a:pt x="2" y="331"/>
                      <a:pt x="2" y="331"/>
                      <a:pt x="2" y="331"/>
                    </a:cubicBezTo>
                    <a:cubicBezTo>
                      <a:pt x="4" y="331"/>
                      <a:pt x="5" y="331"/>
                      <a:pt x="7" y="331"/>
                    </a:cubicBezTo>
                    <a:cubicBezTo>
                      <a:pt x="7" y="331"/>
                      <a:pt x="7" y="331"/>
                      <a:pt x="7" y="331"/>
                    </a:cubicBezTo>
                    <a:cubicBezTo>
                      <a:pt x="68" y="331"/>
                      <a:pt x="117" y="312"/>
                      <a:pt x="154" y="283"/>
                    </a:cubicBezTo>
                    <a:cubicBezTo>
                      <a:pt x="209" y="238"/>
                      <a:pt x="235" y="174"/>
                      <a:pt x="249" y="120"/>
                    </a:cubicBezTo>
                    <a:cubicBezTo>
                      <a:pt x="262" y="65"/>
                      <a:pt x="263" y="18"/>
                      <a:pt x="263" y="4"/>
                    </a:cubicBezTo>
                    <a:cubicBezTo>
                      <a:pt x="263" y="2"/>
                      <a:pt x="263" y="0"/>
                      <a:pt x="263" y="0"/>
                    </a:cubicBezTo>
                  </a:path>
                </a:pathLst>
              </a:custGeom>
              <a:solidFill>
                <a:srgbClr val="E5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8" name="Rectangle 175"/>
              <p:cNvSpPr>
                <a:spLocks noChangeArrowheads="1"/>
              </p:cNvSpPr>
              <p:nvPr/>
            </p:nvSpPr>
            <p:spPr bwMode="auto">
              <a:xfrm>
                <a:off x="2577015" y="2870188"/>
                <a:ext cx="702904" cy="1295137"/>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9" name="Rectangle 176"/>
              <p:cNvSpPr>
                <a:spLocks noChangeArrowheads="1"/>
              </p:cNvSpPr>
              <p:nvPr/>
            </p:nvSpPr>
            <p:spPr bwMode="auto">
              <a:xfrm>
                <a:off x="2577015" y="2870188"/>
                <a:ext cx="702904" cy="1429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0" name="Freeform 178"/>
              <p:cNvSpPr>
                <a:spLocks/>
              </p:cNvSpPr>
              <p:nvPr/>
            </p:nvSpPr>
            <p:spPr bwMode="auto">
              <a:xfrm>
                <a:off x="2403532" y="2873178"/>
                <a:ext cx="320046" cy="1226341"/>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1" name="Freeform 179"/>
              <p:cNvSpPr>
                <a:spLocks/>
              </p:cNvSpPr>
              <p:nvPr/>
            </p:nvSpPr>
            <p:spPr bwMode="auto">
              <a:xfrm>
                <a:off x="2915005" y="2648848"/>
                <a:ext cx="185447" cy="221340"/>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2" name="Freeform 180"/>
              <p:cNvSpPr>
                <a:spLocks/>
              </p:cNvSpPr>
              <p:nvPr/>
            </p:nvSpPr>
            <p:spPr bwMode="auto">
              <a:xfrm>
                <a:off x="3121391" y="2388624"/>
                <a:ext cx="131607" cy="191429"/>
              </a:xfrm>
              <a:custGeom>
                <a:avLst/>
                <a:gdLst>
                  <a:gd name="T0" fmla="*/ 0 w 44"/>
                  <a:gd name="T1" fmla="*/ 0 h 64"/>
                  <a:gd name="T2" fmla="*/ 44 w 44"/>
                  <a:gd name="T3" fmla="*/ 49 h 64"/>
                  <a:gd name="T4" fmla="*/ 12 w 44"/>
                  <a:gd name="T5" fmla="*/ 64 h 64"/>
                  <a:gd name="T6" fmla="*/ 0 w 44"/>
                  <a:gd name="T7" fmla="*/ 0 h 64"/>
                </a:gdLst>
                <a:ahLst/>
                <a:cxnLst>
                  <a:cxn ang="0">
                    <a:pos x="T0" y="T1"/>
                  </a:cxn>
                  <a:cxn ang="0">
                    <a:pos x="T2" y="T3"/>
                  </a:cxn>
                  <a:cxn ang="0">
                    <a:pos x="T4" y="T5"/>
                  </a:cxn>
                  <a:cxn ang="0">
                    <a:pos x="T6" y="T7"/>
                  </a:cxn>
                </a:cxnLst>
                <a:rect l="0" t="0" r="r" b="b"/>
                <a:pathLst>
                  <a:path w="44" h="64">
                    <a:moveTo>
                      <a:pt x="0" y="0"/>
                    </a:moveTo>
                    <a:lnTo>
                      <a:pt x="44" y="49"/>
                    </a:lnTo>
                    <a:lnTo>
                      <a:pt x="12" y="64"/>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3" name="Freeform 181"/>
              <p:cNvSpPr>
                <a:spLocks/>
              </p:cNvSpPr>
              <p:nvPr/>
            </p:nvSpPr>
            <p:spPr bwMode="auto">
              <a:xfrm>
                <a:off x="3046613" y="2457419"/>
                <a:ext cx="29911" cy="29911"/>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4" name="Freeform 182"/>
              <p:cNvSpPr>
                <a:spLocks/>
              </p:cNvSpPr>
              <p:nvPr/>
            </p:nvSpPr>
            <p:spPr bwMode="auto">
              <a:xfrm>
                <a:off x="4500276" y="2992821"/>
                <a:ext cx="29911" cy="29911"/>
              </a:xfrm>
              <a:custGeom>
                <a:avLst/>
                <a:gdLst>
                  <a:gd name="T0" fmla="*/ 1 w 12"/>
                  <a:gd name="T1" fmla="*/ 5 h 12"/>
                  <a:gd name="T2" fmla="*/ 5 w 12"/>
                  <a:gd name="T3" fmla="*/ 11 h 12"/>
                  <a:gd name="T4" fmla="*/ 12 w 12"/>
                  <a:gd name="T5" fmla="*/ 7 h 12"/>
                  <a:gd name="T6" fmla="*/ 7 w 12"/>
                  <a:gd name="T7" fmla="*/ 1 h 12"/>
                  <a:gd name="T8" fmla="*/ 1 w 12"/>
                  <a:gd name="T9" fmla="*/ 5 h 12"/>
                </a:gdLst>
                <a:ahLst/>
                <a:cxnLst>
                  <a:cxn ang="0">
                    <a:pos x="T0" y="T1"/>
                  </a:cxn>
                  <a:cxn ang="0">
                    <a:pos x="T2" y="T3"/>
                  </a:cxn>
                  <a:cxn ang="0">
                    <a:pos x="T4" y="T5"/>
                  </a:cxn>
                  <a:cxn ang="0">
                    <a:pos x="T6" y="T7"/>
                  </a:cxn>
                  <a:cxn ang="0">
                    <a:pos x="T8" y="T9"/>
                  </a:cxn>
                </a:cxnLst>
                <a:rect l="0" t="0" r="r" b="b"/>
                <a:pathLst>
                  <a:path w="12" h="12">
                    <a:moveTo>
                      <a:pt x="1" y="5"/>
                    </a:moveTo>
                    <a:cubicBezTo>
                      <a:pt x="0" y="8"/>
                      <a:pt x="2" y="11"/>
                      <a:pt x="5" y="11"/>
                    </a:cubicBezTo>
                    <a:cubicBezTo>
                      <a:pt x="8" y="12"/>
                      <a:pt x="11" y="10"/>
                      <a:pt x="12" y="7"/>
                    </a:cubicBezTo>
                    <a:cubicBezTo>
                      <a:pt x="12" y="4"/>
                      <a:pt x="10" y="1"/>
                      <a:pt x="7" y="1"/>
                    </a:cubicBezTo>
                    <a:cubicBezTo>
                      <a:pt x="5" y="0"/>
                      <a:pt x="2" y="2"/>
                      <a:pt x="1" y="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5" name="Rectangle 183"/>
              <p:cNvSpPr>
                <a:spLocks noChangeArrowheads="1"/>
              </p:cNvSpPr>
              <p:nvPr/>
            </p:nvSpPr>
            <p:spPr bwMode="auto">
              <a:xfrm>
                <a:off x="2849202" y="1114425"/>
                <a:ext cx="197411" cy="628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6" name="Rectangle 184"/>
              <p:cNvSpPr>
                <a:spLocks noChangeArrowheads="1"/>
              </p:cNvSpPr>
              <p:nvPr/>
            </p:nvSpPr>
            <p:spPr bwMode="auto">
              <a:xfrm>
                <a:off x="2849202" y="1823311"/>
                <a:ext cx="197411" cy="1166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7" name="Freeform 185"/>
              <p:cNvSpPr>
                <a:spLocks/>
              </p:cNvSpPr>
              <p:nvPr/>
            </p:nvSpPr>
            <p:spPr bwMode="auto">
              <a:xfrm>
                <a:off x="3821303" y="3453447"/>
                <a:ext cx="592233" cy="559332"/>
              </a:xfrm>
              <a:custGeom>
                <a:avLst/>
                <a:gdLst>
                  <a:gd name="T0" fmla="*/ 231 w 234"/>
                  <a:gd name="T1" fmla="*/ 156 h 221"/>
                  <a:gd name="T2" fmla="*/ 47 w 234"/>
                  <a:gd name="T3" fmla="*/ 221 h 221"/>
                  <a:gd name="T4" fmla="*/ 0 w 234"/>
                  <a:gd name="T5" fmla="*/ 219 h 221"/>
                  <a:gd name="T6" fmla="*/ 5 w 234"/>
                  <a:gd name="T7" fmla="*/ 162 h 221"/>
                  <a:gd name="T8" fmla="*/ 189 w 234"/>
                  <a:gd name="T9" fmla="*/ 117 h 221"/>
                  <a:gd name="T10" fmla="*/ 224 w 234"/>
                  <a:gd name="T11" fmla="*/ 0 h 221"/>
                  <a:gd name="T12" fmla="*/ 231 w 234"/>
                  <a:gd name="T13" fmla="*/ 156 h 221"/>
                </a:gdLst>
                <a:ahLst/>
                <a:cxnLst>
                  <a:cxn ang="0">
                    <a:pos x="T0" y="T1"/>
                  </a:cxn>
                  <a:cxn ang="0">
                    <a:pos x="T2" y="T3"/>
                  </a:cxn>
                  <a:cxn ang="0">
                    <a:pos x="T4" y="T5"/>
                  </a:cxn>
                  <a:cxn ang="0">
                    <a:pos x="T6" y="T7"/>
                  </a:cxn>
                  <a:cxn ang="0">
                    <a:pos x="T8" y="T9"/>
                  </a:cxn>
                  <a:cxn ang="0">
                    <a:pos x="T10" y="T11"/>
                  </a:cxn>
                  <a:cxn ang="0">
                    <a:pos x="T12" y="T13"/>
                  </a:cxn>
                </a:cxnLst>
                <a:rect l="0" t="0" r="r" b="b"/>
                <a:pathLst>
                  <a:path w="234" h="221">
                    <a:moveTo>
                      <a:pt x="231" y="156"/>
                    </a:moveTo>
                    <a:cubicBezTo>
                      <a:pt x="190" y="199"/>
                      <a:pt x="128" y="221"/>
                      <a:pt x="47" y="221"/>
                    </a:cubicBezTo>
                    <a:cubicBezTo>
                      <a:pt x="32" y="221"/>
                      <a:pt x="16" y="220"/>
                      <a:pt x="0" y="219"/>
                    </a:cubicBezTo>
                    <a:cubicBezTo>
                      <a:pt x="5" y="162"/>
                      <a:pt x="5" y="162"/>
                      <a:pt x="5" y="162"/>
                    </a:cubicBezTo>
                    <a:cubicBezTo>
                      <a:pt x="92" y="170"/>
                      <a:pt x="154" y="155"/>
                      <a:pt x="189" y="117"/>
                    </a:cubicBezTo>
                    <a:cubicBezTo>
                      <a:pt x="234" y="70"/>
                      <a:pt x="225" y="0"/>
                      <a:pt x="224" y="0"/>
                    </a:cubicBezTo>
                    <a:cubicBezTo>
                      <a:pt x="231" y="156"/>
                      <a:pt x="231" y="156"/>
                      <a:pt x="231" y="156"/>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8" name="Freeform 186"/>
              <p:cNvSpPr>
                <a:spLocks/>
              </p:cNvSpPr>
              <p:nvPr/>
            </p:nvSpPr>
            <p:spPr bwMode="auto">
              <a:xfrm>
                <a:off x="4135365" y="3653850"/>
                <a:ext cx="272189" cy="299108"/>
              </a:xfrm>
              <a:custGeom>
                <a:avLst/>
                <a:gdLst>
                  <a:gd name="T0" fmla="*/ 74 w 91"/>
                  <a:gd name="T1" fmla="*/ 0 h 100"/>
                  <a:gd name="T2" fmla="*/ 0 w 91"/>
                  <a:gd name="T3" fmla="*/ 85 h 100"/>
                  <a:gd name="T4" fmla="*/ 17 w 91"/>
                  <a:gd name="T5" fmla="*/ 100 h 100"/>
                  <a:gd name="T6" fmla="*/ 91 w 91"/>
                  <a:gd name="T7" fmla="*/ 15 h 100"/>
                  <a:gd name="T8" fmla="*/ 74 w 91"/>
                  <a:gd name="T9" fmla="*/ 0 h 100"/>
                </a:gdLst>
                <a:ahLst/>
                <a:cxnLst>
                  <a:cxn ang="0">
                    <a:pos x="T0" y="T1"/>
                  </a:cxn>
                  <a:cxn ang="0">
                    <a:pos x="T2" y="T3"/>
                  </a:cxn>
                  <a:cxn ang="0">
                    <a:pos x="T4" y="T5"/>
                  </a:cxn>
                  <a:cxn ang="0">
                    <a:pos x="T6" y="T7"/>
                  </a:cxn>
                  <a:cxn ang="0">
                    <a:pos x="T8" y="T9"/>
                  </a:cxn>
                </a:cxnLst>
                <a:rect l="0" t="0" r="r" b="b"/>
                <a:pathLst>
                  <a:path w="91" h="100">
                    <a:moveTo>
                      <a:pt x="74" y="0"/>
                    </a:moveTo>
                    <a:lnTo>
                      <a:pt x="0" y="85"/>
                    </a:lnTo>
                    <a:lnTo>
                      <a:pt x="17" y="100"/>
                    </a:lnTo>
                    <a:lnTo>
                      <a:pt x="91" y="15"/>
                    </a:lnTo>
                    <a:lnTo>
                      <a:pt x="74" y="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9" name="Freeform 187"/>
              <p:cNvSpPr>
                <a:spLocks/>
              </p:cNvSpPr>
              <p:nvPr/>
            </p:nvSpPr>
            <p:spPr bwMode="auto">
              <a:xfrm>
                <a:off x="4314829" y="3653850"/>
                <a:ext cx="92724" cy="95714"/>
              </a:xfrm>
              <a:custGeom>
                <a:avLst/>
                <a:gdLst>
                  <a:gd name="T0" fmla="*/ 0 w 31"/>
                  <a:gd name="T1" fmla="*/ 18 h 32"/>
                  <a:gd name="T2" fmla="*/ 17 w 31"/>
                  <a:gd name="T3" fmla="*/ 32 h 32"/>
                  <a:gd name="T4" fmla="*/ 31 w 31"/>
                  <a:gd name="T5" fmla="*/ 15 h 32"/>
                  <a:gd name="T6" fmla="*/ 14 w 31"/>
                  <a:gd name="T7" fmla="*/ 0 h 32"/>
                  <a:gd name="T8" fmla="*/ 0 w 31"/>
                  <a:gd name="T9" fmla="*/ 18 h 32"/>
                </a:gdLst>
                <a:ahLst/>
                <a:cxnLst>
                  <a:cxn ang="0">
                    <a:pos x="T0" y="T1"/>
                  </a:cxn>
                  <a:cxn ang="0">
                    <a:pos x="T2" y="T3"/>
                  </a:cxn>
                  <a:cxn ang="0">
                    <a:pos x="T4" y="T5"/>
                  </a:cxn>
                  <a:cxn ang="0">
                    <a:pos x="T6" y="T7"/>
                  </a:cxn>
                  <a:cxn ang="0">
                    <a:pos x="T8" y="T9"/>
                  </a:cxn>
                </a:cxnLst>
                <a:rect l="0" t="0" r="r" b="b"/>
                <a:pathLst>
                  <a:path w="31" h="32">
                    <a:moveTo>
                      <a:pt x="0" y="18"/>
                    </a:moveTo>
                    <a:lnTo>
                      <a:pt x="17" y="32"/>
                    </a:lnTo>
                    <a:lnTo>
                      <a:pt x="31" y="15"/>
                    </a:lnTo>
                    <a:lnTo>
                      <a:pt x="14" y="0"/>
                    </a:lnTo>
                    <a:lnTo>
                      <a:pt x="0" y="18"/>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0" name="Freeform 188"/>
              <p:cNvSpPr>
                <a:spLocks/>
              </p:cNvSpPr>
              <p:nvPr/>
            </p:nvSpPr>
            <p:spPr bwMode="auto">
              <a:xfrm>
                <a:off x="4287911" y="3707689"/>
                <a:ext cx="77768" cy="71786"/>
              </a:xfrm>
              <a:custGeom>
                <a:avLst/>
                <a:gdLst>
                  <a:gd name="T0" fmla="*/ 9 w 26"/>
                  <a:gd name="T1" fmla="*/ 0 h 24"/>
                  <a:gd name="T2" fmla="*/ 26 w 26"/>
                  <a:gd name="T3" fmla="*/ 14 h 24"/>
                  <a:gd name="T4" fmla="*/ 17 w 26"/>
                  <a:gd name="T5" fmla="*/ 24 h 24"/>
                  <a:gd name="T6" fmla="*/ 0 w 26"/>
                  <a:gd name="T7" fmla="*/ 10 h 24"/>
                  <a:gd name="T8" fmla="*/ 9 w 26"/>
                  <a:gd name="T9" fmla="*/ 0 h 24"/>
                </a:gdLst>
                <a:ahLst/>
                <a:cxnLst>
                  <a:cxn ang="0">
                    <a:pos x="T0" y="T1"/>
                  </a:cxn>
                  <a:cxn ang="0">
                    <a:pos x="T2" y="T3"/>
                  </a:cxn>
                  <a:cxn ang="0">
                    <a:pos x="T4" y="T5"/>
                  </a:cxn>
                  <a:cxn ang="0">
                    <a:pos x="T6" y="T7"/>
                  </a:cxn>
                  <a:cxn ang="0">
                    <a:pos x="T8" y="T9"/>
                  </a:cxn>
                </a:cxnLst>
                <a:rect l="0" t="0" r="r" b="b"/>
                <a:pathLst>
                  <a:path w="26" h="24">
                    <a:moveTo>
                      <a:pt x="9" y="0"/>
                    </a:moveTo>
                    <a:lnTo>
                      <a:pt x="26" y="14"/>
                    </a:lnTo>
                    <a:lnTo>
                      <a:pt x="17" y="24"/>
                    </a:lnTo>
                    <a:lnTo>
                      <a:pt x="0" y="10"/>
                    </a:lnTo>
                    <a:lnTo>
                      <a:pt x="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1" name="Freeform 189"/>
              <p:cNvSpPr>
                <a:spLocks/>
              </p:cNvSpPr>
              <p:nvPr/>
            </p:nvSpPr>
            <p:spPr bwMode="auto">
              <a:xfrm>
                <a:off x="4287911" y="3707689"/>
                <a:ext cx="77768" cy="71786"/>
              </a:xfrm>
              <a:custGeom>
                <a:avLst/>
                <a:gdLst>
                  <a:gd name="T0" fmla="*/ 9 w 26"/>
                  <a:gd name="T1" fmla="*/ 0 h 24"/>
                  <a:gd name="T2" fmla="*/ 26 w 26"/>
                  <a:gd name="T3" fmla="*/ 14 h 24"/>
                  <a:gd name="T4" fmla="*/ 17 w 26"/>
                  <a:gd name="T5" fmla="*/ 24 h 24"/>
                  <a:gd name="T6" fmla="*/ 0 w 26"/>
                  <a:gd name="T7" fmla="*/ 10 h 24"/>
                </a:gdLst>
                <a:ahLst/>
                <a:cxnLst>
                  <a:cxn ang="0">
                    <a:pos x="T0" y="T1"/>
                  </a:cxn>
                  <a:cxn ang="0">
                    <a:pos x="T2" y="T3"/>
                  </a:cxn>
                  <a:cxn ang="0">
                    <a:pos x="T4" y="T5"/>
                  </a:cxn>
                  <a:cxn ang="0">
                    <a:pos x="T6" y="T7"/>
                  </a:cxn>
                </a:cxnLst>
                <a:rect l="0" t="0" r="r" b="b"/>
                <a:pathLst>
                  <a:path w="26" h="24">
                    <a:moveTo>
                      <a:pt x="9" y="0"/>
                    </a:moveTo>
                    <a:lnTo>
                      <a:pt x="26" y="14"/>
                    </a:lnTo>
                    <a:lnTo>
                      <a:pt x="17" y="24"/>
                    </a:lnTo>
                    <a:lnTo>
                      <a:pt x="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2" name="Freeform 190"/>
              <p:cNvSpPr>
                <a:spLocks/>
              </p:cNvSpPr>
              <p:nvPr/>
            </p:nvSpPr>
            <p:spPr bwMode="auto">
              <a:xfrm>
                <a:off x="4114428" y="3908090"/>
                <a:ext cx="71786" cy="71786"/>
              </a:xfrm>
              <a:custGeom>
                <a:avLst/>
                <a:gdLst>
                  <a:gd name="T0" fmla="*/ 7 w 24"/>
                  <a:gd name="T1" fmla="*/ 0 h 24"/>
                  <a:gd name="T2" fmla="*/ 24 w 24"/>
                  <a:gd name="T3" fmla="*/ 15 h 24"/>
                  <a:gd name="T4" fmla="*/ 0 w 24"/>
                  <a:gd name="T5" fmla="*/ 24 h 24"/>
                  <a:gd name="T6" fmla="*/ 7 w 24"/>
                  <a:gd name="T7" fmla="*/ 0 h 24"/>
                </a:gdLst>
                <a:ahLst/>
                <a:cxnLst>
                  <a:cxn ang="0">
                    <a:pos x="T0" y="T1"/>
                  </a:cxn>
                  <a:cxn ang="0">
                    <a:pos x="T2" y="T3"/>
                  </a:cxn>
                  <a:cxn ang="0">
                    <a:pos x="T4" y="T5"/>
                  </a:cxn>
                  <a:cxn ang="0">
                    <a:pos x="T6" y="T7"/>
                  </a:cxn>
                </a:cxnLst>
                <a:rect l="0" t="0" r="r" b="b"/>
                <a:pathLst>
                  <a:path w="24" h="24">
                    <a:moveTo>
                      <a:pt x="7" y="0"/>
                    </a:moveTo>
                    <a:lnTo>
                      <a:pt x="24" y="15"/>
                    </a:lnTo>
                    <a:lnTo>
                      <a:pt x="0" y="24"/>
                    </a:lnTo>
                    <a:lnTo>
                      <a:pt x="7"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3" name="Freeform 191"/>
              <p:cNvSpPr>
                <a:spLocks/>
              </p:cNvSpPr>
              <p:nvPr/>
            </p:nvSpPr>
            <p:spPr bwMode="auto">
              <a:xfrm>
                <a:off x="4114428" y="3943983"/>
                <a:ext cx="35893" cy="35893"/>
              </a:xfrm>
              <a:custGeom>
                <a:avLst/>
                <a:gdLst>
                  <a:gd name="T0" fmla="*/ 12 w 12"/>
                  <a:gd name="T1" fmla="*/ 8 h 12"/>
                  <a:gd name="T2" fmla="*/ 4 w 12"/>
                  <a:gd name="T3" fmla="*/ 0 h 12"/>
                  <a:gd name="T4" fmla="*/ 0 w 12"/>
                  <a:gd name="T5" fmla="*/ 12 h 12"/>
                  <a:gd name="T6" fmla="*/ 12 w 12"/>
                  <a:gd name="T7" fmla="*/ 8 h 12"/>
                </a:gdLst>
                <a:ahLst/>
                <a:cxnLst>
                  <a:cxn ang="0">
                    <a:pos x="T0" y="T1"/>
                  </a:cxn>
                  <a:cxn ang="0">
                    <a:pos x="T2" y="T3"/>
                  </a:cxn>
                  <a:cxn ang="0">
                    <a:pos x="T4" y="T5"/>
                  </a:cxn>
                  <a:cxn ang="0">
                    <a:pos x="T6" y="T7"/>
                  </a:cxn>
                </a:cxnLst>
                <a:rect l="0" t="0" r="r" b="b"/>
                <a:pathLst>
                  <a:path w="12" h="12">
                    <a:moveTo>
                      <a:pt x="12" y="8"/>
                    </a:moveTo>
                    <a:lnTo>
                      <a:pt x="4" y="0"/>
                    </a:lnTo>
                    <a:lnTo>
                      <a:pt x="0" y="12"/>
                    </a:lnTo>
                    <a:lnTo>
                      <a:pt x="12" y="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4" name="Freeform 192"/>
              <p:cNvSpPr>
                <a:spLocks/>
              </p:cNvSpPr>
              <p:nvPr/>
            </p:nvSpPr>
            <p:spPr bwMode="auto">
              <a:xfrm>
                <a:off x="4147329" y="3716661"/>
                <a:ext cx="239286" cy="239286"/>
              </a:xfrm>
              <a:custGeom>
                <a:avLst/>
                <a:gdLst>
                  <a:gd name="T0" fmla="*/ 66 w 95"/>
                  <a:gd name="T1" fmla="*/ 14 h 95"/>
                  <a:gd name="T2" fmla="*/ 66 w 95"/>
                  <a:gd name="T3" fmla="*/ 14 h 95"/>
                  <a:gd name="T4" fmla="*/ 65 w 95"/>
                  <a:gd name="T5" fmla="*/ 13 h 95"/>
                  <a:gd name="T6" fmla="*/ 13 w 95"/>
                  <a:gd name="T7" fmla="*/ 17 h 95"/>
                  <a:gd name="T8" fmla="*/ 17 w 95"/>
                  <a:gd name="T9" fmla="*/ 69 h 95"/>
                  <a:gd name="T10" fmla="*/ 18 w 95"/>
                  <a:gd name="T11" fmla="*/ 70 h 95"/>
                  <a:gd name="T12" fmla="*/ 18 w 95"/>
                  <a:gd name="T13" fmla="*/ 70 h 95"/>
                  <a:gd name="T14" fmla="*/ 47 w 95"/>
                  <a:gd name="T15" fmla="*/ 95 h 95"/>
                  <a:gd name="T16" fmla="*/ 95 w 95"/>
                  <a:gd name="T17" fmla="*/ 39 h 95"/>
                  <a:gd name="T18" fmla="*/ 66 w 95"/>
                  <a:gd name="T19"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95">
                    <a:moveTo>
                      <a:pt x="66" y="14"/>
                    </a:moveTo>
                    <a:cubicBezTo>
                      <a:pt x="66" y="14"/>
                      <a:pt x="66" y="14"/>
                      <a:pt x="66" y="14"/>
                    </a:cubicBezTo>
                    <a:cubicBezTo>
                      <a:pt x="66" y="14"/>
                      <a:pt x="66" y="13"/>
                      <a:pt x="65" y="13"/>
                    </a:cubicBezTo>
                    <a:cubicBezTo>
                      <a:pt x="50" y="0"/>
                      <a:pt x="27" y="1"/>
                      <a:pt x="13" y="17"/>
                    </a:cubicBezTo>
                    <a:cubicBezTo>
                      <a:pt x="0" y="32"/>
                      <a:pt x="1" y="56"/>
                      <a:pt x="17" y="69"/>
                    </a:cubicBezTo>
                    <a:cubicBezTo>
                      <a:pt x="17" y="70"/>
                      <a:pt x="18" y="70"/>
                      <a:pt x="18" y="70"/>
                    </a:cubicBezTo>
                    <a:cubicBezTo>
                      <a:pt x="18" y="70"/>
                      <a:pt x="18" y="70"/>
                      <a:pt x="18" y="70"/>
                    </a:cubicBezTo>
                    <a:cubicBezTo>
                      <a:pt x="47" y="95"/>
                      <a:pt x="47" y="95"/>
                      <a:pt x="47" y="95"/>
                    </a:cubicBezTo>
                    <a:cubicBezTo>
                      <a:pt x="95" y="39"/>
                      <a:pt x="95" y="39"/>
                      <a:pt x="95" y="39"/>
                    </a:cubicBezTo>
                    <a:lnTo>
                      <a:pt x="66" y="14"/>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5" name="Freeform 193"/>
              <p:cNvSpPr>
                <a:spLocks/>
              </p:cNvSpPr>
              <p:nvPr/>
            </p:nvSpPr>
            <p:spPr bwMode="auto">
              <a:xfrm>
                <a:off x="3656793" y="3854251"/>
                <a:ext cx="203393" cy="197411"/>
              </a:xfrm>
              <a:custGeom>
                <a:avLst/>
                <a:gdLst>
                  <a:gd name="T0" fmla="*/ 42 w 81"/>
                  <a:gd name="T1" fmla="*/ 1 h 78"/>
                  <a:gd name="T2" fmla="*/ 42 w 81"/>
                  <a:gd name="T3" fmla="*/ 1 h 78"/>
                  <a:gd name="T4" fmla="*/ 41 w 81"/>
                  <a:gd name="T5" fmla="*/ 1 h 78"/>
                  <a:gd name="T6" fmla="*/ 1 w 81"/>
                  <a:gd name="T7" fmla="*/ 36 h 78"/>
                  <a:gd name="T8" fmla="*/ 36 w 81"/>
                  <a:gd name="T9" fmla="*/ 75 h 78"/>
                  <a:gd name="T10" fmla="*/ 37 w 81"/>
                  <a:gd name="T11" fmla="*/ 75 h 78"/>
                  <a:gd name="T12" fmla="*/ 37 w 81"/>
                  <a:gd name="T13" fmla="*/ 75 h 78"/>
                  <a:gd name="T14" fmla="*/ 76 w 81"/>
                  <a:gd name="T15" fmla="*/ 78 h 78"/>
                  <a:gd name="T16" fmla="*/ 81 w 81"/>
                  <a:gd name="T17" fmla="*/ 4 h 78"/>
                  <a:gd name="T18" fmla="*/ 42 w 81"/>
                  <a:gd name="T19"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8">
                    <a:moveTo>
                      <a:pt x="42" y="1"/>
                    </a:moveTo>
                    <a:cubicBezTo>
                      <a:pt x="42" y="1"/>
                      <a:pt x="42" y="1"/>
                      <a:pt x="42" y="1"/>
                    </a:cubicBezTo>
                    <a:cubicBezTo>
                      <a:pt x="42" y="1"/>
                      <a:pt x="41" y="1"/>
                      <a:pt x="41" y="1"/>
                    </a:cubicBezTo>
                    <a:cubicBezTo>
                      <a:pt x="21" y="0"/>
                      <a:pt x="3" y="15"/>
                      <a:pt x="1" y="36"/>
                    </a:cubicBezTo>
                    <a:cubicBezTo>
                      <a:pt x="0" y="56"/>
                      <a:pt x="15" y="74"/>
                      <a:pt x="36" y="75"/>
                    </a:cubicBezTo>
                    <a:cubicBezTo>
                      <a:pt x="36" y="75"/>
                      <a:pt x="37" y="75"/>
                      <a:pt x="37" y="75"/>
                    </a:cubicBezTo>
                    <a:cubicBezTo>
                      <a:pt x="37" y="75"/>
                      <a:pt x="37" y="75"/>
                      <a:pt x="37" y="75"/>
                    </a:cubicBezTo>
                    <a:cubicBezTo>
                      <a:pt x="76" y="78"/>
                      <a:pt x="76" y="78"/>
                      <a:pt x="76" y="78"/>
                    </a:cubicBezTo>
                    <a:cubicBezTo>
                      <a:pt x="81" y="4"/>
                      <a:pt x="81" y="4"/>
                      <a:pt x="81" y="4"/>
                    </a:cubicBezTo>
                    <a:cubicBezTo>
                      <a:pt x="42" y="1"/>
                      <a:pt x="42" y="1"/>
                      <a:pt x="42" y="1"/>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6" name="Rectangle 202"/>
              <p:cNvSpPr>
                <a:spLocks noChangeArrowheads="1"/>
              </p:cNvSpPr>
              <p:nvPr/>
            </p:nvSpPr>
            <p:spPr bwMode="auto">
              <a:xfrm>
                <a:off x="1102413" y="4006797"/>
                <a:ext cx="3690988" cy="15852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7" name="Rectangle 203"/>
              <p:cNvSpPr>
                <a:spLocks noChangeArrowheads="1"/>
              </p:cNvSpPr>
              <p:nvPr/>
            </p:nvSpPr>
            <p:spPr bwMode="auto">
              <a:xfrm>
                <a:off x="1281877" y="4006797"/>
                <a:ext cx="3511524" cy="158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8" name="Freeform 211"/>
              <p:cNvSpPr>
                <a:spLocks/>
              </p:cNvSpPr>
              <p:nvPr/>
            </p:nvSpPr>
            <p:spPr bwMode="auto">
              <a:xfrm>
                <a:off x="2025553" y="4006797"/>
                <a:ext cx="2956022" cy="158528"/>
              </a:xfrm>
              <a:custGeom>
                <a:avLst/>
                <a:gdLst>
                  <a:gd name="T0" fmla="*/ 919 w 919"/>
                  <a:gd name="T1" fmla="*/ 0 h 53"/>
                  <a:gd name="T2" fmla="*/ 604 w 919"/>
                  <a:gd name="T3" fmla="*/ 0 h 53"/>
                  <a:gd name="T4" fmla="*/ 545 w 919"/>
                  <a:gd name="T5" fmla="*/ 0 h 53"/>
                  <a:gd name="T6" fmla="*/ 413 w 919"/>
                  <a:gd name="T7" fmla="*/ 0 h 53"/>
                  <a:gd name="T8" fmla="*/ 178 w 919"/>
                  <a:gd name="T9" fmla="*/ 0 h 53"/>
                  <a:gd name="T10" fmla="*/ 173 w 919"/>
                  <a:gd name="T11" fmla="*/ 0 h 53"/>
                  <a:gd name="T12" fmla="*/ 120 w 919"/>
                  <a:gd name="T13" fmla="*/ 0 h 53"/>
                  <a:gd name="T14" fmla="*/ 0 w 919"/>
                  <a:gd name="T15" fmla="*/ 0 h 53"/>
                  <a:gd name="T16" fmla="*/ 0 w 919"/>
                  <a:gd name="T17" fmla="*/ 53 h 53"/>
                  <a:gd name="T18" fmla="*/ 1 w 919"/>
                  <a:gd name="T19" fmla="*/ 53 h 53"/>
                  <a:gd name="T20" fmla="*/ 24 w 919"/>
                  <a:gd name="T21" fmla="*/ 53 h 53"/>
                  <a:gd name="T22" fmla="*/ 664 w 919"/>
                  <a:gd name="T23" fmla="*/ 53 h 53"/>
                  <a:gd name="T24" fmla="*/ 687 w 919"/>
                  <a:gd name="T25" fmla="*/ 53 h 53"/>
                  <a:gd name="T26" fmla="*/ 896 w 919"/>
                  <a:gd name="T27" fmla="*/ 53 h 53"/>
                  <a:gd name="T28" fmla="*/ 919 w 919"/>
                  <a:gd name="T29" fmla="*/ 53 h 53"/>
                  <a:gd name="T30" fmla="*/ 919 w 919"/>
                  <a:gd name="T31" fmla="*/ 53 h 53"/>
                  <a:gd name="T32" fmla="*/ 919 w 919"/>
                  <a:gd name="T33" fmla="*/ 31 h 53"/>
                  <a:gd name="T34" fmla="*/ 919 w 919"/>
                  <a:gd name="T3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9" h="53">
                    <a:moveTo>
                      <a:pt x="919" y="0"/>
                    </a:moveTo>
                    <a:lnTo>
                      <a:pt x="604" y="0"/>
                    </a:lnTo>
                    <a:lnTo>
                      <a:pt x="545" y="0"/>
                    </a:lnTo>
                    <a:lnTo>
                      <a:pt x="413" y="0"/>
                    </a:lnTo>
                    <a:lnTo>
                      <a:pt x="178" y="0"/>
                    </a:lnTo>
                    <a:lnTo>
                      <a:pt x="173" y="0"/>
                    </a:lnTo>
                    <a:lnTo>
                      <a:pt x="120" y="0"/>
                    </a:lnTo>
                    <a:lnTo>
                      <a:pt x="0" y="0"/>
                    </a:lnTo>
                    <a:lnTo>
                      <a:pt x="0" y="53"/>
                    </a:lnTo>
                    <a:lnTo>
                      <a:pt x="1" y="53"/>
                    </a:lnTo>
                    <a:lnTo>
                      <a:pt x="24" y="53"/>
                    </a:lnTo>
                    <a:lnTo>
                      <a:pt x="664" y="53"/>
                    </a:lnTo>
                    <a:lnTo>
                      <a:pt x="687" y="53"/>
                    </a:lnTo>
                    <a:lnTo>
                      <a:pt x="896" y="53"/>
                    </a:lnTo>
                    <a:lnTo>
                      <a:pt x="919" y="53"/>
                    </a:lnTo>
                    <a:lnTo>
                      <a:pt x="919" y="53"/>
                    </a:lnTo>
                    <a:lnTo>
                      <a:pt x="919" y="31"/>
                    </a:lnTo>
                    <a:lnTo>
                      <a:pt x="919"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9" name="Freeform 212"/>
              <p:cNvSpPr>
                <a:spLocks/>
              </p:cNvSpPr>
              <p:nvPr/>
            </p:nvSpPr>
            <p:spPr bwMode="auto">
              <a:xfrm>
                <a:off x="2044603" y="4006797"/>
                <a:ext cx="2748801" cy="158528"/>
              </a:xfrm>
              <a:custGeom>
                <a:avLst/>
                <a:gdLst>
                  <a:gd name="T0" fmla="*/ 919 w 919"/>
                  <a:gd name="T1" fmla="*/ 0 h 53"/>
                  <a:gd name="T2" fmla="*/ 604 w 919"/>
                  <a:gd name="T3" fmla="*/ 0 h 53"/>
                  <a:gd name="T4" fmla="*/ 545 w 919"/>
                  <a:gd name="T5" fmla="*/ 0 h 53"/>
                  <a:gd name="T6" fmla="*/ 413 w 919"/>
                  <a:gd name="T7" fmla="*/ 0 h 53"/>
                  <a:gd name="T8" fmla="*/ 178 w 919"/>
                  <a:gd name="T9" fmla="*/ 0 h 53"/>
                  <a:gd name="T10" fmla="*/ 173 w 919"/>
                  <a:gd name="T11" fmla="*/ 0 h 53"/>
                  <a:gd name="T12" fmla="*/ 120 w 919"/>
                  <a:gd name="T13" fmla="*/ 0 h 53"/>
                  <a:gd name="T14" fmla="*/ 0 w 919"/>
                  <a:gd name="T15" fmla="*/ 0 h 53"/>
                  <a:gd name="T16" fmla="*/ 0 w 919"/>
                  <a:gd name="T17" fmla="*/ 53 h 53"/>
                  <a:gd name="T18" fmla="*/ 1 w 919"/>
                  <a:gd name="T19" fmla="*/ 53 h 53"/>
                  <a:gd name="T20" fmla="*/ 24 w 919"/>
                  <a:gd name="T21" fmla="*/ 53 h 53"/>
                  <a:gd name="T22" fmla="*/ 664 w 919"/>
                  <a:gd name="T23" fmla="*/ 53 h 53"/>
                  <a:gd name="T24" fmla="*/ 687 w 919"/>
                  <a:gd name="T25" fmla="*/ 53 h 53"/>
                  <a:gd name="T26" fmla="*/ 896 w 919"/>
                  <a:gd name="T27" fmla="*/ 53 h 53"/>
                  <a:gd name="T28" fmla="*/ 919 w 919"/>
                  <a:gd name="T29" fmla="*/ 53 h 53"/>
                  <a:gd name="T30" fmla="*/ 919 w 919"/>
                  <a:gd name="T31" fmla="*/ 53 h 53"/>
                  <a:gd name="T32" fmla="*/ 919 w 919"/>
                  <a:gd name="T33" fmla="*/ 31 h 53"/>
                  <a:gd name="T34" fmla="*/ 919 w 919"/>
                  <a:gd name="T3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9" h="53">
                    <a:moveTo>
                      <a:pt x="919" y="0"/>
                    </a:moveTo>
                    <a:lnTo>
                      <a:pt x="604" y="0"/>
                    </a:lnTo>
                    <a:lnTo>
                      <a:pt x="545" y="0"/>
                    </a:lnTo>
                    <a:lnTo>
                      <a:pt x="413" y="0"/>
                    </a:lnTo>
                    <a:lnTo>
                      <a:pt x="178" y="0"/>
                    </a:lnTo>
                    <a:lnTo>
                      <a:pt x="173" y="0"/>
                    </a:lnTo>
                    <a:lnTo>
                      <a:pt x="120" y="0"/>
                    </a:lnTo>
                    <a:lnTo>
                      <a:pt x="0" y="0"/>
                    </a:lnTo>
                    <a:lnTo>
                      <a:pt x="0" y="53"/>
                    </a:lnTo>
                    <a:lnTo>
                      <a:pt x="1" y="53"/>
                    </a:lnTo>
                    <a:lnTo>
                      <a:pt x="24" y="53"/>
                    </a:lnTo>
                    <a:lnTo>
                      <a:pt x="664" y="53"/>
                    </a:lnTo>
                    <a:lnTo>
                      <a:pt x="687" y="53"/>
                    </a:lnTo>
                    <a:lnTo>
                      <a:pt x="896" y="53"/>
                    </a:lnTo>
                    <a:lnTo>
                      <a:pt x="919" y="53"/>
                    </a:lnTo>
                    <a:lnTo>
                      <a:pt x="919" y="53"/>
                    </a:lnTo>
                    <a:lnTo>
                      <a:pt x="919" y="31"/>
                    </a:lnTo>
                    <a:lnTo>
                      <a:pt x="9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0" name="Rectangle 213"/>
              <p:cNvSpPr>
                <a:spLocks noChangeArrowheads="1"/>
              </p:cNvSpPr>
              <p:nvPr/>
            </p:nvSpPr>
            <p:spPr bwMode="auto">
              <a:xfrm>
                <a:off x="1766432" y="3920055"/>
                <a:ext cx="906297" cy="8674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1" name="Rectangle 214"/>
              <p:cNvSpPr>
                <a:spLocks noChangeArrowheads="1"/>
              </p:cNvSpPr>
              <p:nvPr/>
            </p:nvSpPr>
            <p:spPr bwMode="auto">
              <a:xfrm>
                <a:off x="2083486" y="3486350"/>
                <a:ext cx="589243" cy="46660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2" name="Rectangle 215"/>
              <p:cNvSpPr>
                <a:spLocks noChangeArrowheads="1"/>
              </p:cNvSpPr>
              <p:nvPr/>
            </p:nvSpPr>
            <p:spPr bwMode="auto">
              <a:xfrm>
                <a:off x="1766432" y="3920055"/>
                <a:ext cx="367903" cy="867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3" name="Rectangle 216"/>
              <p:cNvSpPr>
                <a:spLocks noChangeArrowheads="1"/>
              </p:cNvSpPr>
              <p:nvPr/>
            </p:nvSpPr>
            <p:spPr bwMode="auto">
              <a:xfrm>
                <a:off x="2083486" y="3486350"/>
                <a:ext cx="50849" cy="43370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4" name="Freeform 217"/>
              <p:cNvSpPr>
                <a:spLocks/>
              </p:cNvSpPr>
              <p:nvPr/>
            </p:nvSpPr>
            <p:spPr bwMode="auto">
              <a:xfrm>
                <a:off x="3106434" y="3130410"/>
                <a:ext cx="95714" cy="65804"/>
              </a:xfrm>
              <a:custGeom>
                <a:avLst/>
                <a:gdLst>
                  <a:gd name="T0" fmla="*/ 0 w 32"/>
                  <a:gd name="T1" fmla="*/ 22 h 22"/>
                  <a:gd name="T2" fmla="*/ 16 w 32"/>
                  <a:gd name="T3" fmla="*/ 0 h 22"/>
                  <a:gd name="T4" fmla="*/ 32 w 32"/>
                  <a:gd name="T5" fmla="*/ 22 h 22"/>
                  <a:gd name="T6" fmla="*/ 0 w 32"/>
                  <a:gd name="T7" fmla="*/ 22 h 22"/>
                </a:gdLst>
                <a:ahLst/>
                <a:cxnLst>
                  <a:cxn ang="0">
                    <a:pos x="T0" y="T1"/>
                  </a:cxn>
                  <a:cxn ang="0">
                    <a:pos x="T2" y="T3"/>
                  </a:cxn>
                  <a:cxn ang="0">
                    <a:pos x="T4" y="T5"/>
                  </a:cxn>
                  <a:cxn ang="0">
                    <a:pos x="T6" y="T7"/>
                  </a:cxn>
                </a:cxnLst>
                <a:rect l="0" t="0" r="r" b="b"/>
                <a:pathLst>
                  <a:path w="32" h="22">
                    <a:moveTo>
                      <a:pt x="0" y="22"/>
                    </a:moveTo>
                    <a:lnTo>
                      <a:pt x="16" y="0"/>
                    </a:lnTo>
                    <a:lnTo>
                      <a:pt x="32" y="2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5" name="Freeform 218"/>
              <p:cNvSpPr>
                <a:spLocks/>
              </p:cNvSpPr>
              <p:nvPr/>
            </p:nvSpPr>
            <p:spPr bwMode="auto">
              <a:xfrm>
                <a:off x="3154292" y="3130410"/>
                <a:ext cx="95714" cy="65804"/>
              </a:xfrm>
              <a:custGeom>
                <a:avLst/>
                <a:gdLst>
                  <a:gd name="T0" fmla="*/ 0 w 32"/>
                  <a:gd name="T1" fmla="*/ 22 h 22"/>
                  <a:gd name="T2" fmla="*/ 16 w 32"/>
                  <a:gd name="T3" fmla="*/ 0 h 22"/>
                  <a:gd name="T4" fmla="*/ 32 w 32"/>
                  <a:gd name="T5" fmla="*/ 22 h 22"/>
                  <a:gd name="T6" fmla="*/ 0 w 32"/>
                  <a:gd name="T7" fmla="*/ 22 h 22"/>
                </a:gdLst>
                <a:ahLst/>
                <a:cxnLst>
                  <a:cxn ang="0">
                    <a:pos x="T0" y="T1"/>
                  </a:cxn>
                  <a:cxn ang="0">
                    <a:pos x="T2" y="T3"/>
                  </a:cxn>
                  <a:cxn ang="0">
                    <a:pos x="T4" y="T5"/>
                  </a:cxn>
                  <a:cxn ang="0">
                    <a:pos x="T6" y="T7"/>
                  </a:cxn>
                </a:cxnLst>
                <a:rect l="0" t="0" r="r" b="b"/>
                <a:pathLst>
                  <a:path w="32" h="22">
                    <a:moveTo>
                      <a:pt x="0" y="22"/>
                    </a:moveTo>
                    <a:lnTo>
                      <a:pt x="16" y="0"/>
                    </a:lnTo>
                    <a:lnTo>
                      <a:pt x="32" y="2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6" name="Freeform 219"/>
              <p:cNvSpPr>
                <a:spLocks/>
              </p:cNvSpPr>
              <p:nvPr/>
            </p:nvSpPr>
            <p:spPr bwMode="auto">
              <a:xfrm>
                <a:off x="2900051" y="2867196"/>
                <a:ext cx="155536" cy="62814"/>
              </a:xfrm>
              <a:custGeom>
                <a:avLst/>
                <a:gdLst>
                  <a:gd name="T0" fmla="*/ 52 w 52"/>
                  <a:gd name="T1" fmla="*/ 0 h 21"/>
                  <a:gd name="T2" fmla="*/ 25 w 52"/>
                  <a:gd name="T3" fmla="*/ 21 h 21"/>
                  <a:gd name="T4" fmla="*/ 0 w 52"/>
                  <a:gd name="T5" fmla="*/ 0 h 21"/>
                  <a:gd name="T6" fmla="*/ 52 w 52"/>
                  <a:gd name="T7" fmla="*/ 0 h 21"/>
                </a:gdLst>
                <a:ahLst/>
                <a:cxnLst>
                  <a:cxn ang="0">
                    <a:pos x="T0" y="T1"/>
                  </a:cxn>
                  <a:cxn ang="0">
                    <a:pos x="T2" y="T3"/>
                  </a:cxn>
                  <a:cxn ang="0">
                    <a:pos x="T4" y="T5"/>
                  </a:cxn>
                  <a:cxn ang="0">
                    <a:pos x="T6" y="T7"/>
                  </a:cxn>
                </a:cxnLst>
                <a:rect l="0" t="0" r="r" b="b"/>
                <a:pathLst>
                  <a:path w="52" h="21">
                    <a:moveTo>
                      <a:pt x="52" y="0"/>
                    </a:moveTo>
                    <a:lnTo>
                      <a:pt x="25" y="21"/>
                    </a:lnTo>
                    <a:lnTo>
                      <a:pt x="0" y="0"/>
                    </a:lnTo>
                    <a:lnTo>
                      <a:pt x="52"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7" name="Freeform 220"/>
              <p:cNvSpPr>
                <a:spLocks/>
              </p:cNvSpPr>
              <p:nvPr/>
            </p:nvSpPr>
            <p:spPr bwMode="auto">
              <a:xfrm>
                <a:off x="2900051" y="2867196"/>
                <a:ext cx="155536" cy="62814"/>
              </a:xfrm>
              <a:custGeom>
                <a:avLst/>
                <a:gdLst>
                  <a:gd name="T0" fmla="*/ 52 w 52"/>
                  <a:gd name="T1" fmla="*/ 0 h 21"/>
                  <a:gd name="T2" fmla="*/ 25 w 52"/>
                  <a:gd name="T3" fmla="*/ 21 h 21"/>
                  <a:gd name="T4" fmla="*/ 0 w 52"/>
                  <a:gd name="T5" fmla="*/ 0 h 21"/>
                  <a:gd name="T6" fmla="*/ 52 w 52"/>
                  <a:gd name="T7" fmla="*/ 0 h 21"/>
                </a:gdLst>
                <a:ahLst/>
                <a:cxnLst>
                  <a:cxn ang="0">
                    <a:pos x="T0" y="T1"/>
                  </a:cxn>
                  <a:cxn ang="0">
                    <a:pos x="T2" y="T3"/>
                  </a:cxn>
                  <a:cxn ang="0">
                    <a:pos x="T4" y="T5"/>
                  </a:cxn>
                  <a:cxn ang="0">
                    <a:pos x="T6" y="T7"/>
                  </a:cxn>
                </a:cxnLst>
                <a:rect l="0" t="0" r="r" b="b"/>
                <a:pathLst>
                  <a:path w="52" h="21">
                    <a:moveTo>
                      <a:pt x="52" y="0"/>
                    </a:moveTo>
                    <a:lnTo>
                      <a:pt x="25" y="21"/>
                    </a:lnTo>
                    <a:lnTo>
                      <a:pt x="0" y="0"/>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8" name="Freeform 221"/>
              <p:cNvSpPr>
                <a:spLocks/>
              </p:cNvSpPr>
              <p:nvPr/>
            </p:nvSpPr>
            <p:spPr bwMode="auto">
              <a:xfrm>
                <a:off x="2900051" y="2930009"/>
                <a:ext cx="155536" cy="568305"/>
              </a:xfrm>
              <a:custGeom>
                <a:avLst/>
                <a:gdLst>
                  <a:gd name="T0" fmla="*/ 52 w 52"/>
                  <a:gd name="T1" fmla="*/ 0 h 190"/>
                  <a:gd name="T2" fmla="*/ 25 w 52"/>
                  <a:gd name="T3" fmla="*/ 0 h 190"/>
                  <a:gd name="T4" fmla="*/ 0 w 52"/>
                  <a:gd name="T5" fmla="*/ 0 h 190"/>
                  <a:gd name="T6" fmla="*/ 27 w 52"/>
                  <a:gd name="T7" fmla="*/ 190 h 190"/>
                  <a:gd name="T8" fmla="*/ 52 w 52"/>
                  <a:gd name="T9" fmla="*/ 0 h 190"/>
                </a:gdLst>
                <a:ahLst/>
                <a:cxnLst>
                  <a:cxn ang="0">
                    <a:pos x="T0" y="T1"/>
                  </a:cxn>
                  <a:cxn ang="0">
                    <a:pos x="T2" y="T3"/>
                  </a:cxn>
                  <a:cxn ang="0">
                    <a:pos x="T4" y="T5"/>
                  </a:cxn>
                  <a:cxn ang="0">
                    <a:pos x="T6" y="T7"/>
                  </a:cxn>
                  <a:cxn ang="0">
                    <a:pos x="T8" y="T9"/>
                  </a:cxn>
                </a:cxnLst>
                <a:rect l="0" t="0" r="r" b="b"/>
                <a:pathLst>
                  <a:path w="52" h="190">
                    <a:moveTo>
                      <a:pt x="52" y="0"/>
                    </a:moveTo>
                    <a:lnTo>
                      <a:pt x="25" y="0"/>
                    </a:lnTo>
                    <a:lnTo>
                      <a:pt x="0" y="0"/>
                    </a:lnTo>
                    <a:lnTo>
                      <a:pt x="27" y="190"/>
                    </a:lnTo>
                    <a:lnTo>
                      <a:pt x="52" y="0"/>
                    </a:lnTo>
                    <a:close/>
                  </a:path>
                </a:pathLst>
              </a:custGeom>
              <a:solidFill>
                <a:srgbClr val="E5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9" name="Freeform 222"/>
              <p:cNvSpPr>
                <a:spLocks/>
              </p:cNvSpPr>
              <p:nvPr/>
            </p:nvSpPr>
            <p:spPr bwMode="auto">
              <a:xfrm>
                <a:off x="2900051" y="2930009"/>
                <a:ext cx="155536" cy="568305"/>
              </a:xfrm>
              <a:custGeom>
                <a:avLst/>
                <a:gdLst>
                  <a:gd name="T0" fmla="*/ 52 w 52"/>
                  <a:gd name="T1" fmla="*/ 0 h 190"/>
                  <a:gd name="T2" fmla="*/ 25 w 52"/>
                  <a:gd name="T3" fmla="*/ 0 h 190"/>
                  <a:gd name="T4" fmla="*/ 0 w 52"/>
                  <a:gd name="T5" fmla="*/ 0 h 190"/>
                  <a:gd name="T6" fmla="*/ 27 w 52"/>
                  <a:gd name="T7" fmla="*/ 190 h 190"/>
                  <a:gd name="T8" fmla="*/ 52 w 52"/>
                  <a:gd name="T9" fmla="*/ 0 h 190"/>
                </a:gdLst>
                <a:ahLst/>
                <a:cxnLst>
                  <a:cxn ang="0">
                    <a:pos x="T0" y="T1"/>
                  </a:cxn>
                  <a:cxn ang="0">
                    <a:pos x="T2" y="T3"/>
                  </a:cxn>
                  <a:cxn ang="0">
                    <a:pos x="T4" y="T5"/>
                  </a:cxn>
                  <a:cxn ang="0">
                    <a:pos x="T6" y="T7"/>
                  </a:cxn>
                  <a:cxn ang="0">
                    <a:pos x="T8" y="T9"/>
                  </a:cxn>
                </a:cxnLst>
                <a:rect l="0" t="0" r="r" b="b"/>
                <a:pathLst>
                  <a:path w="52" h="190">
                    <a:moveTo>
                      <a:pt x="52" y="0"/>
                    </a:moveTo>
                    <a:lnTo>
                      <a:pt x="25" y="0"/>
                    </a:lnTo>
                    <a:lnTo>
                      <a:pt x="0" y="0"/>
                    </a:lnTo>
                    <a:lnTo>
                      <a:pt x="27" y="190"/>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0" name="Freeform 223"/>
              <p:cNvSpPr>
                <a:spLocks/>
              </p:cNvSpPr>
              <p:nvPr/>
            </p:nvSpPr>
            <p:spPr bwMode="auto">
              <a:xfrm>
                <a:off x="2941926" y="2930009"/>
                <a:ext cx="74778" cy="107679"/>
              </a:xfrm>
              <a:custGeom>
                <a:avLst/>
                <a:gdLst>
                  <a:gd name="T0" fmla="*/ 0 w 25"/>
                  <a:gd name="T1" fmla="*/ 22 h 36"/>
                  <a:gd name="T2" fmla="*/ 3 w 25"/>
                  <a:gd name="T3" fmla="*/ 36 h 36"/>
                  <a:gd name="T4" fmla="*/ 20 w 25"/>
                  <a:gd name="T5" fmla="*/ 36 h 36"/>
                  <a:gd name="T6" fmla="*/ 25 w 25"/>
                  <a:gd name="T7" fmla="*/ 16 h 36"/>
                  <a:gd name="T8" fmla="*/ 11 w 25"/>
                  <a:gd name="T9" fmla="*/ 0 h 36"/>
                  <a:gd name="T10" fmla="*/ 0 w 25"/>
                  <a:gd name="T11" fmla="*/ 22 h 36"/>
                </a:gdLst>
                <a:ahLst/>
                <a:cxnLst>
                  <a:cxn ang="0">
                    <a:pos x="T0" y="T1"/>
                  </a:cxn>
                  <a:cxn ang="0">
                    <a:pos x="T2" y="T3"/>
                  </a:cxn>
                  <a:cxn ang="0">
                    <a:pos x="T4" y="T5"/>
                  </a:cxn>
                  <a:cxn ang="0">
                    <a:pos x="T6" y="T7"/>
                  </a:cxn>
                  <a:cxn ang="0">
                    <a:pos x="T8" y="T9"/>
                  </a:cxn>
                  <a:cxn ang="0">
                    <a:pos x="T10" y="T11"/>
                  </a:cxn>
                </a:cxnLst>
                <a:rect l="0" t="0" r="r" b="b"/>
                <a:pathLst>
                  <a:path w="25" h="36">
                    <a:moveTo>
                      <a:pt x="0" y="22"/>
                    </a:moveTo>
                    <a:lnTo>
                      <a:pt x="3" y="36"/>
                    </a:lnTo>
                    <a:lnTo>
                      <a:pt x="20" y="36"/>
                    </a:lnTo>
                    <a:lnTo>
                      <a:pt x="25" y="16"/>
                    </a:lnTo>
                    <a:lnTo>
                      <a:pt x="11" y="0"/>
                    </a:lnTo>
                    <a:lnTo>
                      <a:pt x="0" y="22"/>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1" name="Freeform 224"/>
              <p:cNvSpPr>
                <a:spLocks/>
              </p:cNvSpPr>
              <p:nvPr/>
            </p:nvSpPr>
            <p:spPr bwMode="auto">
              <a:xfrm>
                <a:off x="2929962" y="3037688"/>
                <a:ext cx="92724" cy="460626"/>
              </a:xfrm>
              <a:custGeom>
                <a:avLst/>
                <a:gdLst>
                  <a:gd name="T0" fmla="*/ 24 w 31"/>
                  <a:gd name="T1" fmla="*/ 0 h 154"/>
                  <a:gd name="T2" fmla="*/ 7 w 31"/>
                  <a:gd name="T3" fmla="*/ 0 h 154"/>
                  <a:gd name="T4" fmla="*/ 0 w 31"/>
                  <a:gd name="T5" fmla="*/ 38 h 154"/>
                  <a:gd name="T6" fmla="*/ 17 w 31"/>
                  <a:gd name="T7" fmla="*/ 154 h 154"/>
                  <a:gd name="T8" fmla="*/ 31 w 31"/>
                  <a:gd name="T9" fmla="*/ 45 h 154"/>
                  <a:gd name="T10" fmla="*/ 24 w 31"/>
                  <a:gd name="T11" fmla="*/ 0 h 154"/>
                </a:gdLst>
                <a:ahLst/>
                <a:cxnLst>
                  <a:cxn ang="0">
                    <a:pos x="T0" y="T1"/>
                  </a:cxn>
                  <a:cxn ang="0">
                    <a:pos x="T2" y="T3"/>
                  </a:cxn>
                  <a:cxn ang="0">
                    <a:pos x="T4" y="T5"/>
                  </a:cxn>
                  <a:cxn ang="0">
                    <a:pos x="T6" y="T7"/>
                  </a:cxn>
                  <a:cxn ang="0">
                    <a:pos x="T8" y="T9"/>
                  </a:cxn>
                  <a:cxn ang="0">
                    <a:pos x="T10" y="T11"/>
                  </a:cxn>
                </a:cxnLst>
                <a:rect l="0" t="0" r="r" b="b"/>
                <a:pathLst>
                  <a:path w="31" h="154">
                    <a:moveTo>
                      <a:pt x="24" y="0"/>
                    </a:moveTo>
                    <a:lnTo>
                      <a:pt x="7" y="0"/>
                    </a:lnTo>
                    <a:lnTo>
                      <a:pt x="0" y="38"/>
                    </a:lnTo>
                    <a:lnTo>
                      <a:pt x="17" y="154"/>
                    </a:lnTo>
                    <a:lnTo>
                      <a:pt x="31" y="45"/>
                    </a:lnTo>
                    <a:lnTo>
                      <a:pt x="24" y="0"/>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2" name="Freeform 225"/>
              <p:cNvSpPr>
                <a:spLocks/>
              </p:cNvSpPr>
              <p:nvPr/>
            </p:nvSpPr>
            <p:spPr bwMode="auto">
              <a:xfrm>
                <a:off x="2900051" y="2867196"/>
                <a:ext cx="77768" cy="149554"/>
              </a:xfrm>
              <a:custGeom>
                <a:avLst/>
                <a:gdLst>
                  <a:gd name="T0" fmla="*/ 26 w 26"/>
                  <a:gd name="T1" fmla="*/ 21 h 50"/>
                  <a:gd name="T2" fmla="*/ 9 w 26"/>
                  <a:gd name="T3" fmla="*/ 50 h 50"/>
                  <a:gd name="T4" fmla="*/ 0 w 26"/>
                  <a:gd name="T5" fmla="*/ 21 h 50"/>
                  <a:gd name="T6" fmla="*/ 0 w 26"/>
                  <a:gd name="T7" fmla="*/ 0 h 50"/>
                  <a:gd name="T8" fmla="*/ 26 w 26"/>
                  <a:gd name="T9" fmla="*/ 21 h 50"/>
                </a:gdLst>
                <a:ahLst/>
                <a:cxnLst>
                  <a:cxn ang="0">
                    <a:pos x="T0" y="T1"/>
                  </a:cxn>
                  <a:cxn ang="0">
                    <a:pos x="T2" y="T3"/>
                  </a:cxn>
                  <a:cxn ang="0">
                    <a:pos x="T4" y="T5"/>
                  </a:cxn>
                  <a:cxn ang="0">
                    <a:pos x="T6" y="T7"/>
                  </a:cxn>
                  <a:cxn ang="0">
                    <a:pos x="T8" y="T9"/>
                  </a:cxn>
                </a:cxnLst>
                <a:rect l="0" t="0" r="r" b="b"/>
                <a:pathLst>
                  <a:path w="26" h="50">
                    <a:moveTo>
                      <a:pt x="26" y="21"/>
                    </a:moveTo>
                    <a:lnTo>
                      <a:pt x="9" y="50"/>
                    </a:lnTo>
                    <a:lnTo>
                      <a:pt x="0" y="21"/>
                    </a:lnTo>
                    <a:lnTo>
                      <a:pt x="0" y="0"/>
                    </a:lnTo>
                    <a:lnTo>
                      <a:pt x="26"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3" name="Freeform 226"/>
              <p:cNvSpPr>
                <a:spLocks/>
              </p:cNvSpPr>
              <p:nvPr/>
            </p:nvSpPr>
            <p:spPr bwMode="auto">
              <a:xfrm>
                <a:off x="2974827" y="2867196"/>
                <a:ext cx="80760" cy="149554"/>
              </a:xfrm>
              <a:custGeom>
                <a:avLst/>
                <a:gdLst>
                  <a:gd name="T0" fmla="*/ 0 w 27"/>
                  <a:gd name="T1" fmla="*/ 21 h 50"/>
                  <a:gd name="T2" fmla="*/ 19 w 27"/>
                  <a:gd name="T3" fmla="*/ 50 h 50"/>
                  <a:gd name="T4" fmla="*/ 27 w 27"/>
                  <a:gd name="T5" fmla="*/ 21 h 50"/>
                  <a:gd name="T6" fmla="*/ 27 w 27"/>
                  <a:gd name="T7" fmla="*/ 0 h 50"/>
                  <a:gd name="T8" fmla="*/ 0 w 27"/>
                  <a:gd name="T9" fmla="*/ 21 h 50"/>
                </a:gdLst>
                <a:ahLst/>
                <a:cxnLst>
                  <a:cxn ang="0">
                    <a:pos x="T0" y="T1"/>
                  </a:cxn>
                  <a:cxn ang="0">
                    <a:pos x="T2" y="T3"/>
                  </a:cxn>
                  <a:cxn ang="0">
                    <a:pos x="T4" y="T5"/>
                  </a:cxn>
                  <a:cxn ang="0">
                    <a:pos x="T6" y="T7"/>
                  </a:cxn>
                  <a:cxn ang="0">
                    <a:pos x="T8" y="T9"/>
                  </a:cxn>
                </a:cxnLst>
                <a:rect l="0" t="0" r="r" b="b"/>
                <a:pathLst>
                  <a:path w="27" h="50">
                    <a:moveTo>
                      <a:pt x="0" y="21"/>
                    </a:moveTo>
                    <a:lnTo>
                      <a:pt x="19" y="50"/>
                    </a:lnTo>
                    <a:lnTo>
                      <a:pt x="27" y="21"/>
                    </a:lnTo>
                    <a:lnTo>
                      <a:pt x="27"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4" name="Freeform 227"/>
              <p:cNvSpPr>
                <a:spLocks/>
              </p:cNvSpPr>
              <p:nvPr/>
            </p:nvSpPr>
            <p:spPr bwMode="auto">
              <a:xfrm>
                <a:off x="4694697" y="3256036"/>
                <a:ext cx="433707" cy="394822"/>
              </a:xfrm>
              <a:custGeom>
                <a:avLst/>
                <a:gdLst>
                  <a:gd name="T0" fmla="*/ 0 w 172"/>
                  <a:gd name="T1" fmla="*/ 48 h 156"/>
                  <a:gd name="T2" fmla="*/ 113 w 172"/>
                  <a:gd name="T3" fmla="*/ 156 h 156"/>
                  <a:gd name="T4" fmla="*/ 172 w 172"/>
                  <a:gd name="T5" fmla="*/ 0 h 156"/>
                  <a:gd name="T6" fmla="*/ 6 w 172"/>
                  <a:gd name="T7" fmla="*/ 26 h 156"/>
                  <a:gd name="T8" fmla="*/ 0 w 172"/>
                  <a:gd name="T9" fmla="*/ 48 h 156"/>
                </a:gdLst>
                <a:ahLst/>
                <a:cxnLst>
                  <a:cxn ang="0">
                    <a:pos x="T0" y="T1"/>
                  </a:cxn>
                  <a:cxn ang="0">
                    <a:pos x="T2" y="T3"/>
                  </a:cxn>
                  <a:cxn ang="0">
                    <a:pos x="T4" y="T5"/>
                  </a:cxn>
                  <a:cxn ang="0">
                    <a:pos x="T6" y="T7"/>
                  </a:cxn>
                  <a:cxn ang="0">
                    <a:pos x="T8" y="T9"/>
                  </a:cxn>
                </a:cxnLst>
                <a:rect l="0" t="0" r="r" b="b"/>
                <a:pathLst>
                  <a:path w="172" h="156">
                    <a:moveTo>
                      <a:pt x="0" y="48"/>
                    </a:moveTo>
                    <a:cubicBezTo>
                      <a:pt x="0" y="48"/>
                      <a:pt x="113" y="37"/>
                      <a:pt x="113" y="156"/>
                    </a:cubicBezTo>
                    <a:cubicBezTo>
                      <a:pt x="172" y="0"/>
                      <a:pt x="172" y="0"/>
                      <a:pt x="172" y="0"/>
                    </a:cubicBezTo>
                    <a:cubicBezTo>
                      <a:pt x="6" y="26"/>
                      <a:pt x="6" y="26"/>
                      <a:pt x="6" y="26"/>
                    </a:cubicBezTo>
                    <a:lnTo>
                      <a:pt x="0"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5" name="Freeform 228"/>
              <p:cNvSpPr>
                <a:spLocks/>
              </p:cNvSpPr>
              <p:nvPr/>
            </p:nvSpPr>
            <p:spPr bwMode="auto">
              <a:xfrm>
                <a:off x="3773445" y="1886123"/>
                <a:ext cx="164510" cy="317054"/>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6" name="Rectangle 229"/>
              <p:cNvSpPr>
                <a:spLocks noChangeArrowheads="1"/>
              </p:cNvSpPr>
              <p:nvPr/>
            </p:nvSpPr>
            <p:spPr bwMode="auto">
              <a:xfrm>
                <a:off x="2376612" y="3740590"/>
                <a:ext cx="74778" cy="77768"/>
              </a:xfrm>
              <a:prstGeom prst="rect">
                <a:avLst/>
              </a:prstGeom>
              <a:solidFill>
                <a:srgbClr val="263C7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7" name="Freeform 230"/>
              <p:cNvSpPr>
                <a:spLocks/>
              </p:cNvSpPr>
              <p:nvPr/>
            </p:nvSpPr>
            <p:spPr bwMode="auto">
              <a:xfrm>
                <a:off x="4485322" y="3160321"/>
                <a:ext cx="179465" cy="287143"/>
              </a:xfrm>
              <a:custGeom>
                <a:avLst/>
                <a:gdLst>
                  <a:gd name="T0" fmla="*/ 29 w 71"/>
                  <a:gd name="T1" fmla="*/ 21 h 113"/>
                  <a:gd name="T2" fmla="*/ 25 w 71"/>
                  <a:gd name="T3" fmla="*/ 0 h 113"/>
                  <a:gd name="T4" fmla="*/ 0 w 71"/>
                  <a:gd name="T5" fmla="*/ 3 h 113"/>
                  <a:gd name="T6" fmla="*/ 15 w 71"/>
                  <a:gd name="T7" fmla="*/ 48 h 113"/>
                  <a:gd name="T8" fmla="*/ 7 w 71"/>
                  <a:gd name="T9" fmla="*/ 86 h 113"/>
                  <a:gd name="T10" fmla="*/ 29 w 71"/>
                  <a:gd name="T11" fmla="*/ 113 h 113"/>
                  <a:gd name="T12" fmla="*/ 59 w 71"/>
                  <a:gd name="T13" fmla="*/ 86 h 113"/>
                  <a:gd name="T14" fmla="*/ 71 w 71"/>
                  <a:gd name="T15" fmla="*/ 29 h 113"/>
                  <a:gd name="T16" fmla="*/ 29 w 71"/>
                  <a:gd name="T17" fmla="*/ 2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13">
                    <a:moveTo>
                      <a:pt x="29" y="21"/>
                    </a:moveTo>
                    <a:cubicBezTo>
                      <a:pt x="25" y="0"/>
                      <a:pt x="25" y="0"/>
                      <a:pt x="25" y="0"/>
                    </a:cubicBezTo>
                    <a:cubicBezTo>
                      <a:pt x="0" y="3"/>
                      <a:pt x="0" y="3"/>
                      <a:pt x="0" y="3"/>
                    </a:cubicBezTo>
                    <a:cubicBezTo>
                      <a:pt x="18" y="13"/>
                      <a:pt x="17" y="35"/>
                      <a:pt x="15" y="48"/>
                    </a:cubicBezTo>
                    <a:cubicBezTo>
                      <a:pt x="7" y="86"/>
                      <a:pt x="7" y="86"/>
                      <a:pt x="7" y="86"/>
                    </a:cubicBezTo>
                    <a:cubicBezTo>
                      <a:pt x="29" y="113"/>
                      <a:pt x="29" y="113"/>
                      <a:pt x="29" y="113"/>
                    </a:cubicBezTo>
                    <a:cubicBezTo>
                      <a:pt x="59" y="86"/>
                      <a:pt x="59" y="86"/>
                      <a:pt x="59" y="86"/>
                    </a:cubicBezTo>
                    <a:cubicBezTo>
                      <a:pt x="71" y="29"/>
                      <a:pt x="71" y="29"/>
                      <a:pt x="71" y="29"/>
                    </a:cubicBezTo>
                    <a:lnTo>
                      <a:pt x="29" y="21"/>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8" name="Freeform 231"/>
              <p:cNvSpPr>
                <a:spLocks/>
              </p:cNvSpPr>
              <p:nvPr/>
            </p:nvSpPr>
            <p:spPr bwMode="auto">
              <a:xfrm>
                <a:off x="1443396" y="3124428"/>
                <a:ext cx="197411" cy="314064"/>
              </a:xfrm>
              <a:custGeom>
                <a:avLst/>
                <a:gdLst>
                  <a:gd name="T0" fmla="*/ 54 w 79"/>
                  <a:gd name="T1" fmla="*/ 0 h 125"/>
                  <a:gd name="T2" fmla="*/ 45 w 79"/>
                  <a:gd name="T3" fmla="*/ 21 h 125"/>
                  <a:gd name="T4" fmla="*/ 0 w 79"/>
                  <a:gd name="T5" fmla="*/ 21 h 125"/>
                  <a:gd name="T6" fmla="*/ 0 w 79"/>
                  <a:gd name="T7" fmla="*/ 94 h 125"/>
                  <a:gd name="T8" fmla="*/ 29 w 79"/>
                  <a:gd name="T9" fmla="*/ 125 h 125"/>
                  <a:gd name="T10" fmla="*/ 54 w 79"/>
                  <a:gd name="T11" fmla="*/ 94 h 125"/>
                  <a:gd name="T12" fmla="*/ 54 w 79"/>
                  <a:gd name="T13" fmla="*/ 52 h 125"/>
                  <a:gd name="T14" fmla="*/ 79 w 79"/>
                  <a:gd name="T15" fmla="*/ 9 h 125"/>
                  <a:gd name="T16" fmla="*/ 54 w 79"/>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25">
                    <a:moveTo>
                      <a:pt x="54" y="0"/>
                    </a:moveTo>
                    <a:cubicBezTo>
                      <a:pt x="45" y="21"/>
                      <a:pt x="45" y="21"/>
                      <a:pt x="45" y="21"/>
                    </a:cubicBezTo>
                    <a:cubicBezTo>
                      <a:pt x="0" y="21"/>
                      <a:pt x="0" y="21"/>
                      <a:pt x="0" y="21"/>
                    </a:cubicBezTo>
                    <a:cubicBezTo>
                      <a:pt x="0" y="94"/>
                      <a:pt x="0" y="94"/>
                      <a:pt x="0" y="94"/>
                    </a:cubicBezTo>
                    <a:cubicBezTo>
                      <a:pt x="29" y="125"/>
                      <a:pt x="29" y="125"/>
                      <a:pt x="29" y="125"/>
                    </a:cubicBezTo>
                    <a:cubicBezTo>
                      <a:pt x="54" y="94"/>
                      <a:pt x="54" y="94"/>
                      <a:pt x="54" y="94"/>
                    </a:cubicBezTo>
                    <a:cubicBezTo>
                      <a:pt x="54" y="52"/>
                      <a:pt x="54" y="52"/>
                      <a:pt x="54" y="52"/>
                    </a:cubicBezTo>
                    <a:cubicBezTo>
                      <a:pt x="55" y="38"/>
                      <a:pt x="59" y="15"/>
                      <a:pt x="79" y="9"/>
                    </a:cubicBezTo>
                    <a:lnTo>
                      <a:pt x="54"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9" name="Freeform 232"/>
              <p:cNvSpPr>
                <a:spLocks/>
              </p:cNvSpPr>
              <p:nvPr/>
            </p:nvSpPr>
            <p:spPr bwMode="auto">
              <a:xfrm>
                <a:off x="4353714" y="2915053"/>
                <a:ext cx="86742" cy="167500"/>
              </a:xfrm>
              <a:custGeom>
                <a:avLst/>
                <a:gdLst>
                  <a:gd name="T0" fmla="*/ 34 w 34"/>
                  <a:gd name="T1" fmla="*/ 0 h 66"/>
                  <a:gd name="T2" fmla="*/ 0 w 34"/>
                  <a:gd name="T3" fmla="*/ 60 h 66"/>
                  <a:gd name="T4" fmla="*/ 29 w 34"/>
                  <a:gd name="T5" fmla="*/ 66 h 66"/>
                  <a:gd name="T6" fmla="*/ 34 w 34"/>
                  <a:gd name="T7" fmla="*/ 0 h 66"/>
                </a:gdLst>
                <a:ahLst/>
                <a:cxnLst>
                  <a:cxn ang="0">
                    <a:pos x="T0" y="T1"/>
                  </a:cxn>
                  <a:cxn ang="0">
                    <a:pos x="T2" y="T3"/>
                  </a:cxn>
                  <a:cxn ang="0">
                    <a:pos x="T4" y="T5"/>
                  </a:cxn>
                  <a:cxn ang="0">
                    <a:pos x="T6" y="T7"/>
                  </a:cxn>
                </a:cxnLst>
                <a:rect l="0" t="0" r="r" b="b"/>
                <a:pathLst>
                  <a:path w="34" h="66">
                    <a:moveTo>
                      <a:pt x="34" y="0"/>
                    </a:moveTo>
                    <a:cubicBezTo>
                      <a:pt x="34" y="0"/>
                      <a:pt x="11" y="25"/>
                      <a:pt x="0" y="60"/>
                    </a:cubicBezTo>
                    <a:cubicBezTo>
                      <a:pt x="29" y="66"/>
                      <a:pt x="29" y="66"/>
                      <a:pt x="29" y="66"/>
                    </a:cubicBezTo>
                    <a:lnTo>
                      <a:pt x="34"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0" name="Freeform 233"/>
              <p:cNvSpPr>
                <a:spLocks/>
              </p:cNvSpPr>
              <p:nvPr/>
            </p:nvSpPr>
            <p:spPr bwMode="auto">
              <a:xfrm>
                <a:off x="4368669" y="2813356"/>
                <a:ext cx="424733" cy="496519"/>
              </a:xfrm>
              <a:custGeom>
                <a:avLst/>
                <a:gdLst>
                  <a:gd name="T0" fmla="*/ 169 w 169"/>
                  <a:gd name="T1" fmla="*/ 27 h 197"/>
                  <a:gd name="T2" fmla="*/ 150 w 169"/>
                  <a:gd name="T3" fmla="*/ 120 h 197"/>
                  <a:gd name="T4" fmla="*/ 149 w 169"/>
                  <a:gd name="T5" fmla="*/ 120 h 197"/>
                  <a:gd name="T6" fmla="*/ 0 w 169"/>
                  <a:gd name="T7" fmla="*/ 183 h 197"/>
                  <a:gd name="T8" fmla="*/ 1 w 169"/>
                  <a:gd name="T9" fmla="*/ 177 h 197"/>
                  <a:gd name="T10" fmla="*/ 12 w 169"/>
                  <a:gd name="T11" fmla="*/ 124 h 197"/>
                  <a:gd name="T12" fmla="*/ 25 w 169"/>
                  <a:gd name="T13" fmla="*/ 58 h 197"/>
                  <a:gd name="T14" fmla="*/ 37 w 169"/>
                  <a:gd name="T15" fmla="*/ 0 h 197"/>
                  <a:gd name="T16" fmla="*/ 169 w 169"/>
                  <a:gd name="T17" fmla="*/ 2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197">
                    <a:moveTo>
                      <a:pt x="169" y="27"/>
                    </a:moveTo>
                    <a:cubicBezTo>
                      <a:pt x="150" y="120"/>
                      <a:pt x="150" y="120"/>
                      <a:pt x="150" y="120"/>
                    </a:cubicBezTo>
                    <a:cubicBezTo>
                      <a:pt x="149" y="120"/>
                      <a:pt x="149" y="120"/>
                      <a:pt x="149" y="120"/>
                    </a:cubicBezTo>
                    <a:cubicBezTo>
                      <a:pt x="131" y="188"/>
                      <a:pt x="70" y="197"/>
                      <a:pt x="0" y="183"/>
                    </a:cubicBezTo>
                    <a:cubicBezTo>
                      <a:pt x="1" y="177"/>
                      <a:pt x="1" y="177"/>
                      <a:pt x="1" y="177"/>
                    </a:cubicBezTo>
                    <a:cubicBezTo>
                      <a:pt x="12" y="124"/>
                      <a:pt x="12" y="124"/>
                      <a:pt x="12" y="124"/>
                    </a:cubicBezTo>
                    <a:cubicBezTo>
                      <a:pt x="25" y="58"/>
                      <a:pt x="25" y="58"/>
                      <a:pt x="25" y="58"/>
                    </a:cubicBezTo>
                    <a:cubicBezTo>
                      <a:pt x="37" y="0"/>
                      <a:pt x="37" y="0"/>
                      <a:pt x="37" y="0"/>
                    </a:cubicBezTo>
                    <a:cubicBezTo>
                      <a:pt x="169" y="27"/>
                      <a:pt x="169" y="27"/>
                      <a:pt x="169" y="27"/>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1" name="Freeform 234"/>
              <p:cNvSpPr>
                <a:spLocks/>
              </p:cNvSpPr>
              <p:nvPr/>
            </p:nvSpPr>
            <p:spPr bwMode="auto">
              <a:xfrm>
                <a:off x="4500276" y="2992821"/>
                <a:ext cx="29911" cy="29911"/>
              </a:xfrm>
              <a:custGeom>
                <a:avLst/>
                <a:gdLst>
                  <a:gd name="T0" fmla="*/ 1 w 12"/>
                  <a:gd name="T1" fmla="*/ 5 h 12"/>
                  <a:gd name="T2" fmla="*/ 5 w 12"/>
                  <a:gd name="T3" fmla="*/ 11 h 12"/>
                  <a:gd name="T4" fmla="*/ 12 w 12"/>
                  <a:gd name="T5" fmla="*/ 7 h 12"/>
                  <a:gd name="T6" fmla="*/ 7 w 12"/>
                  <a:gd name="T7" fmla="*/ 1 h 12"/>
                  <a:gd name="T8" fmla="*/ 1 w 12"/>
                  <a:gd name="T9" fmla="*/ 5 h 12"/>
                </a:gdLst>
                <a:ahLst/>
                <a:cxnLst>
                  <a:cxn ang="0">
                    <a:pos x="T0" y="T1"/>
                  </a:cxn>
                  <a:cxn ang="0">
                    <a:pos x="T2" y="T3"/>
                  </a:cxn>
                  <a:cxn ang="0">
                    <a:pos x="T4" y="T5"/>
                  </a:cxn>
                  <a:cxn ang="0">
                    <a:pos x="T6" y="T7"/>
                  </a:cxn>
                  <a:cxn ang="0">
                    <a:pos x="T8" y="T9"/>
                  </a:cxn>
                </a:cxnLst>
                <a:rect l="0" t="0" r="r" b="b"/>
                <a:pathLst>
                  <a:path w="12" h="12">
                    <a:moveTo>
                      <a:pt x="1" y="5"/>
                    </a:moveTo>
                    <a:cubicBezTo>
                      <a:pt x="0" y="8"/>
                      <a:pt x="2" y="11"/>
                      <a:pt x="5" y="11"/>
                    </a:cubicBezTo>
                    <a:cubicBezTo>
                      <a:pt x="8" y="12"/>
                      <a:pt x="11" y="10"/>
                      <a:pt x="12" y="7"/>
                    </a:cubicBezTo>
                    <a:cubicBezTo>
                      <a:pt x="12" y="4"/>
                      <a:pt x="10" y="1"/>
                      <a:pt x="7" y="1"/>
                    </a:cubicBezTo>
                    <a:cubicBezTo>
                      <a:pt x="5" y="0"/>
                      <a:pt x="2" y="2"/>
                      <a:pt x="1" y="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2" name="Freeform 235"/>
              <p:cNvSpPr>
                <a:spLocks/>
              </p:cNvSpPr>
              <p:nvPr/>
            </p:nvSpPr>
            <p:spPr bwMode="auto">
              <a:xfrm>
                <a:off x="4368669" y="2681749"/>
                <a:ext cx="538394" cy="702904"/>
              </a:xfrm>
              <a:custGeom>
                <a:avLst/>
                <a:gdLst>
                  <a:gd name="T0" fmla="*/ 201 w 213"/>
                  <a:gd name="T1" fmla="*/ 72 h 278"/>
                  <a:gd name="T2" fmla="*/ 170 w 213"/>
                  <a:gd name="T3" fmla="*/ 59 h 278"/>
                  <a:gd name="T4" fmla="*/ 164 w 213"/>
                  <a:gd name="T5" fmla="*/ 44 h 278"/>
                  <a:gd name="T6" fmla="*/ 143 w 213"/>
                  <a:gd name="T7" fmla="*/ 34 h 278"/>
                  <a:gd name="T8" fmla="*/ 119 w 213"/>
                  <a:gd name="T9" fmla="*/ 22 h 278"/>
                  <a:gd name="T10" fmla="*/ 38 w 213"/>
                  <a:gd name="T11" fmla="*/ 52 h 278"/>
                  <a:gd name="T12" fmla="*/ 39 w 213"/>
                  <a:gd name="T13" fmla="*/ 52 h 278"/>
                  <a:gd name="T14" fmla="*/ 38 w 213"/>
                  <a:gd name="T15" fmla="*/ 52 h 278"/>
                  <a:gd name="T16" fmla="*/ 85 w 213"/>
                  <a:gd name="T17" fmla="*/ 96 h 278"/>
                  <a:gd name="T18" fmla="*/ 110 w 213"/>
                  <a:gd name="T19" fmla="*/ 104 h 278"/>
                  <a:gd name="T20" fmla="*/ 110 w 213"/>
                  <a:gd name="T21" fmla="*/ 104 h 278"/>
                  <a:gd name="T22" fmla="*/ 36 w 213"/>
                  <a:gd name="T23" fmla="*/ 187 h 278"/>
                  <a:gd name="T24" fmla="*/ 16 w 213"/>
                  <a:gd name="T25" fmla="*/ 157 h 278"/>
                  <a:gd name="T26" fmla="*/ 0 w 213"/>
                  <a:gd name="T27" fmla="*/ 235 h 278"/>
                  <a:gd name="T28" fmla="*/ 108 w 213"/>
                  <a:gd name="T29" fmla="*/ 174 h 278"/>
                  <a:gd name="T30" fmla="*/ 119 w 213"/>
                  <a:gd name="T31" fmla="*/ 135 h 278"/>
                  <a:gd name="T32" fmla="*/ 139 w 213"/>
                  <a:gd name="T33" fmla="*/ 199 h 278"/>
                  <a:gd name="T34" fmla="*/ 139 w 213"/>
                  <a:gd name="T35" fmla="*/ 199 h 278"/>
                  <a:gd name="T36" fmla="*/ 139 w 213"/>
                  <a:gd name="T37" fmla="*/ 199 h 278"/>
                  <a:gd name="T38" fmla="*/ 163 w 213"/>
                  <a:gd name="T39" fmla="*/ 160 h 278"/>
                  <a:gd name="T40" fmla="*/ 194 w 213"/>
                  <a:gd name="T41" fmla="*/ 125 h 278"/>
                  <a:gd name="T42" fmla="*/ 201 w 213"/>
                  <a:gd name="T43" fmla="*/ 7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278">
                    <a:moveTo>
                      <a:pt x="201" y="72"/>
                    </a:moveTo>
                    <a:cubicBezTo>
                      <a:pt x="194" y="63"/>
                      <a:pt x="182" y="59"/>
                      <a:pt x="170" y="59"/>
                    </a:cubicBezTo>
                    <a:cubicBezTo>
                      <a:pt x="169" y="53"/>
                      <a:pt x="167" y="47"/>
                      <a:pt x="164" y="44"/>
                    </a:cubicBezTo>
                    <a:cubicBezTo>
                      <a:pt x="157" y="38"/>
                      <a:pt x="151" y="36"/>
                      <a:pt x="143" y="34"/>
                    </a:cubicBezTo>
                    <a:cubicBezTo>
                      <a:pt x="133" y="32"/>
                      <a:pt x="127" y="29"/>
                      <a:pt x="119" y="22"/>
                    </a:cubicBezTo>
                    <a:cubicBezTo>
                      <a:pt x="95" y="0"/>
                      <a:pt x="44" y="17"/>
                      <a:pt x="38" y="52"/>
                    </a:cubicBezTo>
                    <a:cubicBezTo>
                      <a:pt x="39" y="52"/>
                      <a:pt x="39" y="52"/>
                      <a:pt x="39" y="52"/>
                    </a:cubicBezTo>
                    <a:cubicBezTo>
                      <a:pt x="38" y="52"/>
                      <a:pt x="38" y="52"/>
                      <a:pt x="38" y="52"/>
                    </a:cubicBezTo>
                    <a:cubicBezTo>
                      <a:pt x="39" y="73"/>
                      <a:pt x="67" y="91"/>
                      <a:pt x="85" y="96"/>
                    </a:cubicBezTo>
                    <a:cubicBezTo>
                      <a:pt x="96" y="99"/>
                      <a:pt x="103" y="99"/>
                      <a:pt x="110" y="104"/>
                    </a:cubicBezTo>
                    <a:cubicBezTo>
                      <a:pt x="110" y="104"/>
                      <a:pt x="110" y="104"/>
                      <a:pt x="110" y="104"/>
                    </a:cubicBezTo>
                    <a:cubicBezTo>
                      <a:pt x="110" y="104"/>
                      <a:pt x="88" y="197"/>
                      <a:pt x="36" y="187"/>
                    </a:cubicBezTo>
                    <a:cubicBezTo>
                      <a:pt x="36" y="187"/>
                      <a:pt x="37" y="162"/>
                      <a:pt x="16" y="157"/>
                    </a:cubicBezTo>
                    <a:cubicBezTo>
                      <a:pt x="0" y="235"/>
                      <a:pt x="0" y="235"/>
                      <a:pt x="0" y="235"/>
                    </a:cubicBezTo>
                    <a:cubicBezTo>
                      <a:pt x="0" y="235"/>
                      <a:pt x="87" y="278"/>
                      <a:pt x="108" y="174"/>
                    </a:cubicBezTo>
                    <a:cubicBezTo>
                      <a:pt x="119" y="135"/>
                      <a:pt x="119" y="135"/>
                      <a:pt x="119" y="135"/>
                    </a:cubicBezTo>
                    <a:cubicBezTo>
                      <a:pt x="118" y="153"/>
                      <a:pt x="120" y="181"/>
                      <a:pt x="139" y="199"/>
                    </a:cubicBezTo>
                    <a:cubicBezTo>
                      <a:pt x="139" y="199"/>
                      <a:pt x="139" y="199"/>
                      <a:pt x="139" y="199"/>
                    </a:cubicBezTo>
                    <a:cubicBezTo>
                      <a:pt x="139" y="199"/>
                      <a:pt x="139" y="199"/>
                      <a:pt x="139" y="199"/>
                    </a:cubicBezTo>
                    <a:cubicBezTo>
                      <a:pt x="159" y="193"/>
                      <a:pt x="157" y="176"/>
                      <a:pt x="163" y="160"/>
                    </a:cubicBezTo>
                    <a:cubicBezTo>
                      <a:pt x="168" y="148"/>
                      <a:pt x="185" y="135"/>
                      <a:pt x="194" y="125"/>
                    </a:cubicBezTo>
                    <a:cubicBezTo>
                      <a:pt x="204" y="113"/>
                      <a:pt x="213" y="86"/>
                      <a:pt x="201" y="7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3" name="Freeform 236"/>
              <p:cNvSpPr>
                <a:spLocks/>
              </p:cNvSpPr>
              <p:nvPr/>
            </p:nvSpPr>
            <p:spPr bwMode="auto">
              <a:xfrm>
                <a:off x="3121391" y="2388624"/>
                <a:ext cx="131607" cy="191429"/>
              </a:xfrm>
              <a:custGeom>
                <a:avLst/>
                <a:gdLst>
                  <a:gd name="T0" fmla="*/ 0 w 44"/>
                  <a:gd name="T1" fmla="*/ 0 h 64"/>
                  <a:gd name="T2" fmla="*/ 44 w 44"/>
                  <a:gd name="T3" fmla="*/ 49 h 64"/>
                  <a:gd name="T4" fmla="*/ 12 w 44"/>
                  <a:gd name="T5" fmla="*/ 64 h 64"/>
                  <a:gd name="T6" fmla="*/ 0 w 44"/>
                  <a:gd name="T7" fmla="*/ 0 h 64"/>
                </a:gdLst>
                <a:ahLst/>
                <a:cxnLst>
                  <a:cxn ang="0">
                    <a:pos x="T0" y="T1"/>
                  </a:cxn>
                  <a:cxn ang="0">
                    <a:pos x="T2" y="T3"/>
                  </a:cxn>
                  <a:cxn ang="0">
                    <a:pos x="T4" y="T5"/>
                  </a:cxn>
                  <a:cxn ang="0">
                    <a:pos x="T6" y="T7"/>
                  </a:cxn>
                </a:cxnLst>
                <a:rect l="0" t="0" r="r" b="b"/>
                <a:pathLst>
                  <a:path w="44" h="64">
                    <a:moveTo>
                      <a:pt x="0" y="0"/>
                    </a:moveTo>
                    <a:lnTo>
                      <a:pt x="44" y="49"/>
                    </a:lnTo>
                    <a:lnTo>
                      <a:pt x="12" y="64"/>
                    </a:lnTo>
                    <a:lnTo>
                      <a:pt x="0"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4" name="Freeform 237"/>
              <p:cNvSpPr>
                <a:spLocks/>
              </p:cNvSpPr>
              <p:nvPr/>
            </p:nvSpPr>
            <p:spPr bwMode="auto">
              <a:xfrm>
                <a:off x="2765452" y="2271972"/>
                <a:ext cx="502501" cy="514465"/>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5" name="Freeform 238"/>
              <p:cNvSpPr>
                <a:spLocks/>
              </p:cNvSpPr>
              <p:nvPr/>
            </p:nvSpPr>
            <p:spPr bwMode="auto">
              <a:xfrm>
                <a:off x="3046613" y="2457419"/>
                <a:ext cx="29911" cy="29911"/>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6" name="Freeform 239"/>
              <p:cNvSpPr>
                <a:spLocks/>
              </p:cNvSpPr>
              <p:nvPr/>
            </p:nvSpPr>
            <p:spPr bwMode="auto">
              <a:xfrm>
                <a:off x="2648801" y="2179248"/>
                <a:ext cx="424733" cy="511475"/>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7" name="Freeform 240"/>
              <p:cNvSpPr>
                <a:spLocks/>
              </p:cNvSpPr>
              <p:nvPr/>
            </p:nvSpPr>
            <p:spPr bwMode="auto">
              <a:xfrm>
                <a:off x="4640858" y="2971884"/>
                <a:ext cx="98706" cy="158528"/>
              </a:xfrm>
              <a:custGeom>
                <a:avLst/>
                <a:gdLst>
                  <a:gd name="T0" fmla="*/ 12 w 39"/>
                  <a:gd name="T1" fmla="*/ 0 h 63"/>
                  <a:gd name="T2" fmla="*/ 36 w 39"/>
                  <a:gd name="T3" fmla="*/ 36 h 63"/>
                  <a:gd name="T4" fmla="*/ 0 w 39"/>
                  <a:gd name="T5" fmla="*/ 59 h 63"/>
                  <a:gd name="T6" fmla="*/ 12 w 39"/>
                  <a:gd name="T7" fmla="*/ 0 h 63"/>
                </a:gdLst>
                <a:ahLst/>
                <a:cxnLst>
                  <a:cxn ang="0">
                    <a:pos x="T0" y="T1"/>
                  </a:cxn>
                  <a:cxn ang="0">
                    <a:pos x="T2" y="T3"/>
                  </a:cxn>
                  <a:cxn ang="0">
                    <a:pos x="T4" y="T5"/>
                  </a:cxn>
                  <a:cxn ang="0">
                    <a:pos x="T6" y="T7"/>
                  </a:cxn>
                </a:cxnLst>
                <a:rect l="0" t="0" r="r" b="b"/>
                <a:pathLst>
                  <a:path w="39" h="63">
                    <a:moveTo>
                      <a:pt x="12" y="0"/>
                    </a:moveTo>
                    <a:cubicBezTo>
                      <a:pt x="29" y="4"/>
                      <a:pt x="39" y="20"/>
                      <a:pt x="36" y="36"/>
                    </a:cubicBezTo>
                    <a:cubicBezTo>
                      <a:pt x="32" y="52"/>
                      <a:pt x="16" y="63"/>
                      <a:pt x="0" y="59"/>
                    </a:cubicBezTo>
                    <a:cubicBezTo>
                      <a:pt x="12" y="0"/>
                      <a:pt x="12" y="0"/>
                      <a:pt x="12"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8" name="Freeform 241"/>
              <p:cNvSpPr>
                <a:spLocks/>
              </p:cNvSpPr>
              <p:nvPr/>
            </p:nvSpPr>
            <p:spPr bwMode="auto">
              <a:xfrm>
                <a:off x="4646840" y="3010767"/>
                <a:ext cx="50849" cy="74778"/>
              </a:xfrm>
              <a:custGeom>
                <a:avLst/>
                <a:gdLst>
                  <a:gd name="T0" fmla="*/ 6 w 20"/>
                  <a:gd name="T1" fmla="*/ 0 h 30"/>
                  <a:gd name="T2" fmla="*/ 0 w 20"/>
                  <a:gd name="T3" fmla="*/ 30 h 30"/>
                  <a:gd name="T4" fmla="*/ 3 w 20"/>
                  <a:gd name="T5" fmla="*/ 30 h 30"/>
                  <a:gd name="T6" fmla="*/ 18 w 20"/>
                  <a:gd name="T7" fmla="*/ 18 h 30"/>
                  <a:gd name="T8" fmla="*/ 6 w 20"/>
                  <a:gd name="T9" fmla="*/ 0 h 30"/>
                </a:gdLst>
                <a:ahLst/>
                <a:cxnLst>
                  <a:cxn ang="0">
                    <a:pos x="T0" y="T1"/>
                  </a:cxn>
                  <a:cxn ang="0">
                    <a:pos x="T2" y="T3"/>
                  </a:cxn>
                  <a:cxn ang="0">
                    <a:pos x="T4" y="T5"/>
                  </a:cxn>
                  <a:cxn ang="0">
                    <a:pos x="T6" y="T7"/>
                  </a:cxn>
                  <a:cxn ang="0">
                    <a:pos x="T8" y="T9"/>
                  </a:cxn>
                </a:cxnLst>
                <a:rect l="0" t="0" r="r" b="b"/>
                <a:pathLst>
                  <a:path w="20" h="30">
                    <a:moveTo>
                      <a:pt x="6" y="0"/>
                    </a:moveTo>
                    <a:cubicBezTo>
                      <a:pt x="0" y="30"/>
                      <a:pt x="0" y="30"/>
                      <a:pt x="0" y="30"/>
                    </a:cubicBezTo>
                    <a:cubicBezTo>
                      <a:pt x="1" y="30"/>
                      <a:pt x="2" y="30"/>
                      <a:pt x="3" y="30"/>
                    </a:cubicBezTo>
                    <a:cubicBezTo>
                      <a:pt x="10" y="30"/>
                      <a:pt x="17" y="25"/>
                      <a:pt x="18" y="18"/>
                    </a:cubicBezTo>
                    <a:cubicBezTo>
                      <a:pt x="20" y="10"/>
                      <a:pt x="14" y="2"/>
                      <a:pt x="6"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9" name="Freeform 242"/>
              <p:cNvSpPr>
                <a:spLocks/>
              </p:cNvSpPr>
              <p:nvPr/>
            </p:nvSpPr>
            <p:spPr bwMode="auto">
              <a:xfrm>
                <a:off x="2852194" y="2475366"/>
                <a:ext cx="116653" cy="155536"/>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0" name="Freeform 243"/>
              <p:cNvSpPr>
                <a:spLocks/>
              </p:cNvSpPr>
              <p:nvPr/>
            </p:nvSpPr>
            <p:spPr bwMode="auto">
              <a:xfrm>
                <a:off x="2920988" y="2508267"/>
                <a:ext cx="32903" cy="68796"/>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1" name="Freeform 244"/>
              <p:cNvSpPr>
                <a:spLocks/>
              </p:cNvSpPr>
              <p:nvPr/>
            </p:nvSpPr>
            <p:spPr bwMode="auto">
              <a:xfrm>
                <a:off x="2894069" y="2508267"/>
                <a:ext cx="59822" cy="71786"/>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2" name="Freeform 245"/>
              <p:cNvSpPr>
                <a:spLocks/>
              </p:cNvSpPr>
              <p:nvPr/>
            </p:nvSpPr>
            <p:spPr bwMode="auto">
              <a:xfrm>
                <a:off x="3794382" y="2035677"/>
                <a:ext cx="143572" cy="146564"/>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3" name="Freeform 246"/>
              <p:cNvSpPr>
                <a:spLocks/>
              </p:cNvSpPr>
              <p:nvPr/>
            </p:nvSpPr>
            <p:spPr bwMode="auto">
              <a:xfrm>
                <a:off x="1425449" y="2816348"/>
                <a:ext cx="397814" cy="490537"/>
              </a:xfrm>
              <a:custGeom>
                <a:avLst/>
                <a:gdLst>
                  <a:gd name="T0" fmla="*/ 18 w 158"/>
                  <a:gd name="T1" fmla="*/ 0 h 194"/>
                  <a:gd name="T2" fmla="*/ 1 w 158"/>
                  <a:gd name="T3" fmla="*/ 98 h 194"/>
                  <a:gd name="T4" fmla="*/ 1 w 158"/>
                  <a:gd name="T5" fmla="*/ 99 h 194"/>
                  <a:gd name="T6" fmla="*/ 0 w 158"/>
                  <a:gd name="T7" fmla="*/ 113 h 194"/>
                  <a:gd name="T8" fmla="*/ 25 w 158"/>
                  <a:gd name="T9" fmla="*/ 109 h 194"/>
                  <a:gd name="T10" fmla="*/ 38 w 158"/>
                  <a:gd name="T11" fmla="*/ 151 h 194"/>
                  <a:gd name="T12" fmla="*/ 128 w 158"/>
                  <a:gd name="T13" fmla="*/ 194 h 194"/>
                  <a:gd name="T14" fmla="*/ 134 w 158"/>
                  <a:gd name="T15" fmla="*/ 156 h 194"/>
                  <a:gd name="T16" fmla="*/ 147 w 158"/>
                  <a:gd name="T17" fmla="*/ 86 h 194"/>
                  <a:gd name="T18" fmla="*/ 158 w 158"/>
                  <a:gd name="T19" fmla="*/ 25 h 194"/>
                  <a:gd name="T20" fmla="*/ 18 w 158"/>
                  <a:gd name="T21"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94">
                    <a:moveTo>
                      <a:pt x="18" y="0"/>
                    </a:moveTo>
                    <a:cubicBezTo>
                      <a:pt x="1" y="98"/>
                      <a:pt x="1" y="98"/>
                      <a:pt x="1" y="98"/>
                    </a:cubicBezTo>
                    <a:cubicBezTo>
                      <a:pt x="1" y="99"/>
                      <a:pt x="1" y="99"/>
                      <a:pt x="1" y="99"/>
                    </a:cubicBezTo>
                    <a:cubicBezTo>
                      <a:pt x="0" y="104"/>
                      <a:pt x="0" y="109"/>
                      <a:pt x="0" y="113"/>
                    </a:cubicBezTo>
                    <a:cubicBezTo>
                      <a:pt x="25" y="109"/>
                      <a:pt x="25" y="109"/>
                      <a:pt x="25" y="109"/>
                    </a:cubicBezTo>
                    <a:cubicBezTo>
                      <a:pt x="27" y="125"/>
                      <a:pt x="32" y="139"/>
                      <a:pt x="38" y="151"/>
                    </a:cubicBezTo>
                    <a:cubicBezTo>
                      <a:pt x="51" y="171"/>
                      <a:pt x="76" y="191"/>
                      <a:pt x="128" y="194"/>
                    </a:cubicBezTo>
                    <a:cubicBezTo>
                      <a:pt x="134" y="156"/>
                      <a:pt x="134" y="156"/>
                      <a:pt x="134" y="156"/>
                    </a:cubicBezTo>
                    <a:cubicBezTo>
                      <a:pt x="147" y="86"/>
                      <a:pt x="147" y="86"/>
                      <a:pt x="147" y="86"/>
                    </a:cubicBezTo>
                    <a:cubicBezTo>
                      <a:pt x="158" y="25"/>
                      <a:pt x="158" y="25"/>
                      <a:pt x="158" y="25"/>
                    </a:cubicBezTo>
                    <a:cubicBezTo>
                      <a:pt x="18" y="0"/>
                      <a:pt x="18" y="0"/>
                      <a:pt x="18"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4" name="Freeform 247"/>
              <p:cNvSpPr>
                <a:spLocks/>
              </p:cNvSpPr>
              <p:nvPr/>
            </p:nvSpPr>
            <p:spPr bwMode="auto">
              <a:xfrm>
                <a:off x="1820271" y="2876170"/>
                <a:ext cx="0" cy="29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5" name="Rectangle 248"/>
              <p:cNvSpPr>
                <a:spLocks noChangeArrowheads="1"/>
              </p:cNvSpPr>
              <p:nvPr/>
            </p:nvSpPr>
            <p:spPr bwMode="auto">
              <a:xfrm>
                <a:off x="1820271" y="2876170"/>
                <a:ext cx="2992" cy="299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6" name="Freeform 249"/>
              <p:cNvSpPr>
                <a:spLocks/>
              </p:cNvSpPr>
              <p:nvPr/>
            </p:nvSpPr>
            <p:spPr bwMode="auto">
              <a:xfrm>
                <a:off x="1817281" y="2879160"/>
                <a:ext cx="2992" cy="2992"/>
              </a:xfrm>
              <a:custGeom>
                <a:avLst/>
                <a:gdLst>
                  <a:gd name="T0" fmla="*/ 1 w 1"/>
                  <a:gd name="T1" fmla="*/ 1 h 1"/>
                  <a:gd name="T2" fmla="*/ 1 w 1"/>
                  <a:gd name="T3" fmla="*/ 0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0"/>
                    </a:lnTo>
                    <a:lnTo>
                      <a:pt x="0" y="0"/>
                    </a:lnTo>
                    <a:lnTo>
                      <a:pt x="1" y="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7" name="Freeform 250"/>
              <p:cNvSpPr>
                <a:spLocks/>
              </p:cNvSpPr>
              <p:nvPr/>
            </p:nvSpPr>
            <p:spPr bwMode="auto">
              <a:xfrm>
                <a:off x="1240002" y="2696705"/>
                <a:ext cx="598215" cy="508483"/>
              </a:xfrm>
              <a:custGeom>
                <a:avLst/>
                <a:gdLst>
                  <a:gd name="T0" fmla="*/ 162 w 237"/>
                  <a:gd name="T1" fmla="*/ 12 h 201"/>
                  <a:gd name="T2" fmla="*/ 134 w 237"/>
                  <a:gd name="T3" fmla="*/ 14 h 201"/>
                  <a:gd name="T4" fmla="*/ 110 w 237"/>
                  <a:gd name="T5" fmla="*/ 15 h 201"/>
                  <a:gd name="T6" fmla="*/ 93 w 237"/>
                  <a:gd name="T7" fmla="*/ 41 h 201"/>
                  <a:gd name="T8" fmla="*/ 17 w 237"/>
                  <a:gd name="T9" fmla="*/ 68 h 201"/>
                  <a:gd name="T10" fmla="*/ 39 w 237"/>
                  <a:gd name="T11" fmla="*/ 136 h 201"/>
                  <a:gd name="T12" fmla="*/ 88 w 237"/>
                  <a:gd name="T13" fmla="*/ 199 h 201"/>
                  <a:gd name="T14" fmla="*/ 109 w 237"/>
                  <a:gd name="T15" fmla="*/ 195 h 201"/>
                  <a:gd name="T16" fmla="*/ 98 w 237"/>
                  <a:gd name="T17" fmla="*/ 160 h 201"/>
                  <a:gd name="T18" fmla="*/ 121 w 237"/>
                  <a:gd name="T19" fmla="*/ 103 h 201"/>
                  <a:gd name="T20" fmla="*/ 127 w 237"/>
                  <a:gd name="T21" fmla="*/ 99 h 201"/>
                  <a:gd name="T22" fmla="*/ 133 w 237"/>
                  <a:gd name="T23" fmla="*/ 96 h 201"/>
                  <a:gd name="T24" fmla="*/ 166 w 237"/>
                  <a:gd name="T25" fmla="*/ 97 h 201"/>
                  <a:gd name="T26" fmla="*/ 230 w 237"/>
                  <a:gd name="T27" fmla="*/ 73 h 201"/>
                  <a:gd name="T28" fmla="*/ 229 w 237"/>
                  <a:gd name="T29" fmla="*/ 72 h 201"/>
                  <a:gd name="T30" fmla="*/ 230 w 237"/>
                  <a:gd name="T31" fmla="*/ 72 h 201"/>
                  <a:gd name="T32" fmla="*/ 230 w 237"/>
                  <a:gd name="T33" fmla="*/ 71 h 201"/>
                  <a:gd name="T34" fmla="*/ 230 w 237"/>
                  <a:gd name="T35" fmla="*/ 71 h 201"/>
                  <a:gd name="T36" fmla="*/ 162 w 237"/>
                  <a:gd name="T37" fmla="*/ 1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201">
                    <a:moveTo>
                      <a:pt x="162" y="12"/>
                    </a:moveTo>
                    <a:cubicBezTo>
                      <a:pt x="152" y="15"/>
                      <a:pt x="145" y="16"/>
                      <a:pt x="134" y="14"/>
                    </a:cubicBezTo>
                    <a:cubicBezTo>
                      <a:pt x="125" y="12"/>
                      <a:pt x="118" y="12"/>
                      <a:pt x="110" y="15"/>
                    </a:cubicBezTo>
                    <a:cubicBezTo>
                      <a:pt x="102" y="18"/>
                      <a:pt x="95" y="30"/>
                      <a:pt x="93" y="41"/>
                    </a:cubicBezTo>
                    <a:cubicBezTo>
                      <a:pt x="64" y="41"/>
                      <a:pt x="33" y="39"/>
                      <a:pt x="17" y="68"/>
                    </a:cubicBezTo>
                    <a:cubicBezTo>
                      <a:pt x="0" y="100"/>
                      <a:pt x="20" y="115"/>
                      <a:pt x="39" y="136"/>
                    </a:cubicBezTo>
                    <a:cubicBezTo>
                      <a:pt x="57" y="155"/>
                      <a:pt x="57" y="194"/>
                      <a:pt x="88" y="199"/>
                    </a:cubicBezTo>
                    <a:cubicBezTo>
                      <a:pt x="97" y="201"/>
                      <a:pt x="104" y="199"/>
                      <a:pt x="109" y="195"/>
                    </a:cubicBezTo>
                    <a:cubicBezTo>
                      <a:pt x="105" y="185"/>
                      <a:pt x="101" y="173"/>
                      <a:pt x="98" y="160"/>
                    </a:cubicBezTo>
                    <a:cubicBezTo>
                      <a:pt x="114" y="139"/>
                      <a:pt x="119" y="112"/>
                      <a:pt x="121" y="103"/>
                    </a:cubicBezTo>
                    <a:cubicBezTo>
                      <a:pt x="123" y="102"/>
                      <a:pt x="125" y="101"/>
                      <a:pt x="127" y="99"/>
                    </a:cubicBezTo>
                    <a:cubicBezTo>
                      <a:pt x="129" y="98"/>
                      <a:pt x="131" y="97"/>
                      <a:pt x="133" y="96"/>
                    </a:cubicBezTo>
                    <a:cubicBezTo>
                      <a:pt x="144" y="91"/>
                      <a:pt x="152" y="95"/>
                      <a:pt x="166" y="97"/>
                    </a:cubicBezTo>
                    <a:cubicBezTo>
                      <a:pt x="185" y="99"/>
                      <a:pt x="219" y="92"/>
                      <a:pt x="230" y="73"/>
                    </a:cubicBezTo>
                    <a:cubicBezTo>
                      <a:pt x="229" y="72"/>
                      <a:pt x="229" y="72"/>
                      <a:pt x="229" y="72"/>
                    </a:cubicBezTo>
                    <a:cubicBezTo>
                      <a:pt x="230" y="72"/>
                      <a:pt x="230" y="72"/>
                      <a:pt x="230" y="72"/>
                    </a:cubicBezTo>
                    <a:cubicBezTo>
                      <a:pt x="230" y="72"/>
                      <a:pt x="230" y="72"/>
                      <a:pt x="230" y="71"/>
                    </a:cubicBezTo>
                    <a:cubicBezTo>
                      <a:pt x="230" y="71"/>
                      <a:pt x="230" y="71"/>
                      <a:pt x="230" y="71"/>
                    </a:cubicBezTo>
                    <a:cubicBezTo>
                      <a:pt x="237" y="35"/>
                      <a:pt x="194" y="0"/>
                      <a:pt x="162" y="1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8" name="Freeform 251"/>
              <p:cNvSpPr>
                <a:spLocks/>
              </p:cNvSpPr>
              <p:nvPr/>
            </p:nvSpPr>
            <p:spPr bwMode="auto">
              <a:xfrm>
                <a:off x="1461342" y="2944964"/>
                <a:ext cx="92724" cy="149554"/>
              </a:xfrm>
              <a:custGeom>
                <a:avLst/>
                <a:gdLst>
                  <a:gd name="T0" fmla="*/ 36 w 36"/>
                  <a:gd name="T1" fmla="*/ 3 h 59"/>
                  <a:gd name="T2" fmla="*/ 3 w 36"/>
                  <a:gd name="T3" fmla="*/ 26 h 59"/>
                  <a:gd name="T4" fmla="*/ 26 w 36"/>
                  <a:gd name="T5" fmla="*/ 59 h 59"/>
                  <a:gd name="T6" fmla="*/ 36 w 36"/>
                  <a:gd name="T7" fmla="*/ 3 h 59"/>
                </a:gdLst>
                <a:ahLst/>
                <a:cxnLst>
                  <a:cxn ang="0">
                    <a:pos x="T0" y="T1"/>
                  </a:cxn>
                  <a:cxn ang="0">
                    <a:pos x="T2" y="T3"/>
                  </a:cxn>
                  <a:cxn ang="0">
                    <a:pos x="T4" y="T5"/>
                  </a:cxn>
                  <a:cxn ang="0">
                    <a:pos x="T6" y="T7"/>
                  </a:cxn>
                </a:cxnLst>
                <a:rect l="0" t="0" r="r" b="b"/>
                <a:pathLst>
                  <a:path w="36" h="59">
                    <a:moveTo>
                      <a:pt x="36" y="3"/>
                    </a:moveTo>
                    <a:cubicBezTo>
                      <a:pt x="20" y="0"/>
                      <a:pt x="5" y="10"/>
                      <a:pt x="3" y="26"/>
                    </a:cubicBezTo>
                    <a:cubicBezTo>
                      <a:pt x="0" y="42"/>
                      <a:pt x="10" y="56"/>
                      <a:pt x="26" y="59"/>
                    </a:cubicBezTo>
                    <a:cubicBezTo>
                      <a:pt x="36" y="3"/>
                      <a:pt x="36" y="3"/>
                      <a:pt x="36" y="3"/>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9" name="Freeform 252"/>
              <p:cNvSpPr>
                <a:spLocks/>
              </p:cNvSpPr>
              <p:nvPr/>
            </p:nvSpPr>
            <p:spPr bwMode="auto">
              <a:xfrm>
                <a:off x="1533128" y="2989831"/>
                <a:ext cx="11964" cy="68796"/>
              </a:xfrm>
              <a:custGeom>
                <a:avLst/>
                <a:gdLst>
                  <a:gd name="T0" fmla="*/ 5 w 5"/>
                  <a:gd name="T1" fmla="*/ 0 h 28"/>
                  <a:gd name="T2" fmla="*/ 0 w 5"/>
                  <a:gd name="T3" fmla="*/ 28 h 28"/>
                  <a:gd name="T4" fmla="*/ 0 w 5"/>
                  <a:gd name="T5" fmla="*/ 28 h 28"/>
                  <a:gd name="T6" fmla="*/ 5 w 5"/>
                  <a:gd name="T7" fmla="*/ 0 h 28"/>
                  <a:gd name="T8" fmla="*/ 5 w 5"/>
                  <a:gd name="T9" fmla="*/ 0 h 28"/>
                </a:gdLst>
                <a:ahLst/>
                <a:cxnLst>
                  <a:cxn ang="0">
                    <a:pos x="T0" y="T1"/>
                  </a:cxn>
                  <a:cxn ang="0">
                    <a:pos x="T2" y="T3"/>
                  </a:cxn>
                  <a:cxn ang="0">
                    <a:pos x="T4" y="T5"/>
                  </a:cxn>
                  <a:cxn ang="0">
                    <a:pos x="T6" y="T7"/>
                  </a:cxn>
                  <a:cxn ang="0">
                    <a:pos x="T8" y="T9"/>
                  </a:cxn>
                </a:cxnLst>
                <a:rect l="0" t="0" r="r" b="b"/>
                <a:pathLst>
                  <a:path w="5" h="28">
                    <a:moveTo>
                      <a:pt x="5" y="0"/>
                    </a:moveTo>
                    <a:cubicBezTo>
                      <a:pt x="0" y="28"/>
                      <a:pt x="0" y="28"/>
                      <a:pt x="0" y="28"/>
                    </a:cubicBezTo>
                    <a:cubicBezTo>
                      <a:pt x="0" y="28"/>
                      <a:pt x="0" y="28"/>
                      <a:pt x="0" y="28"/>
                    </a:cubicBezTo>
                    <a:cubicBezTo>
                      <a:pt x="5" y="0"/>
                      <a:pt x="5" y="0"/>
                      <a:pt x="5" y="0"/>
                    </a:cubicBezTo>
                    <a:cubicBezTo>
                      <a:pt x="5" y="0"/>
                      <a:pt x="5" y="0"/>
                      <a:pt x="5"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0" name="Freeform 253"/>
              <p:cNvSpPr>
                <a:spLocks/>
              </p:cNvSpPr>
              <p:nvPr/>
            </p:nvSpPr>
            <p:spPr bwMode="auto">
              <a:xfrm>
                <a:off x="1500227" y="2989831"/>
                <a:ext cx="44867" cy="68796"/>
              </a:xfrm>
              <a:custGeom>
                <a:avLst/>
                <a:gdLst>
                  <a:gd name="T0" fmla="*/ 16 w 18"/>
                  <a:gd name="T1" fmla="*/ 0 h 28"/>
                  <a:gd name="T2" fmla="*/ 2 w 18"/>
                  <a:gd name="T3" fmla="*/ 11 h 28"/>
                  <a:gd name="T4" fmla="*/ 13 w 18"/>
                  <a:gd name="T5" fmla="*/ 28 h 28"/>
                  <a:gd name="T6" fmla="*/ 18 w 18"/>
                  <a:gd name="T7" fmla="*/ 0 h 28"/>
                  <a:gd name="T8" fmla="*/ 16 w 18"/>
                  <a:gd name="T9" fmla="*/ 0 h 28"/>
                </a:gdLst>
                <a:ahLst/>
                <a:cxnLst>
                  <a:cxn ang="0">
                    <a:pos x="T0" y="T1"/>
                  </a:cxn>
                  <a:cxn ang="0">
                    <a:pos x="T2" y="T3"/>
                  </a:cxn>
                  <a:cxn ang="0">
                    <a:pos x="T4" y="T5"/>
                  </a:cxn>
                  <a:cxn ang="0">
                    <a:pos x="T6" y="T7"/>
                  </a:cxn>
                  <a:cxn ang="0">
                    <a:pos x="T8" y="T9"/>
                  </a:cxn>
                </a:cxnLst>
                <a:rect l="0" t="0" r="r" b="b"/>
                <a:pathLst>
                  <a:path w="18" h="28">
                    <a:moveTo>
                      <a:pt x="16" y="0"/>
                    </a:moveTo>
                    <a:cubicBezTo>
                      <a:pt x="9" y="0"/>
                      <a:pt x="3" y="4"/>
                      <a:pt x="2" y="11"/>
                    </a:cubicBezTo>
                    <a:cubicBezTo>
                      <a:pt x="0" y="19"/>
                      <a:pt x="6" y="27"/>
                      <a:pt x="13" y="28"/>
                    </a:cubicBezTo>
                    <a:cubicBezTo>
                      <a:pt x="18" y="0"/>
                      <a:pt x="18" y="0"/>
                      <a:pt x="18" y="0"/>
                    </a:cubicBezTo>
                    <a:cubicBezTo>
                      <a:pt x="18" y="0"/>
                      <a:pt x="17" y="0"/>
                      <a:pt x="16"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1" name="Freeform 254"/>
              <p:cNvSpPr>
                <a:spLocks/>
              </p:cNvSpPr>
              <p:nvPr/>
            </p:nvSpPr>
            <p:spPr bwMode="auto">
              <a:xfrm>
                <a:off x="1679692" y="3034696"/>
                <a:ext cx="29911" cy="29911"/>
              </a:xfrm>
              <a:custGeom>
                <a:avLst/>
                <a:gdLst>
                  <a:gd name="T0" fmla="*/ 12 w 12"/>
                  <a:gd name="T1" fmla="*/ 7 h 12"/>
                  <a:gd name="T2" fmla="*/ 5 w 12"/>
                  <a:gd name="T3" fmla="*/ 11 h 12"/>
                  <a:gd name="T4" fmla="*/ 1 w 12"/>
                  <a:gd name="T5" fmla="*/ 5 h 12"/>
                  <a:gd name="T6" fmla="*/ 7 w 12"/>
                  <a:gd name="T7" fmla="*/ 0 h 12"/>
                  <a:gd name="T8" fmla="*/ 12 w 12"/>
                  <a:gd name="T9" fmla="*/ 7 h 12"/>
                </a:gdLst>
                <a:ahLst/>
                <a:cxnLst>
                  <a:cxn ang="0">
                    <a:pos x="T0" y="T1"/>
                  </a:cxn>
                  <a:cxn ang="0">
                    <a:pos x="T2" y="T3"/>
                  </a:cxn>
                  <a:cxn ang="0">
                    <a:pos x="T4" y="T5"/>
                  </a:cxn>
                  <a:cxn ang="0">
                    <a:pos x="T6" y="T7"/>
                  </a:cxn>
                  <a:cxn ang="0">
                    <a:pos x="T8" y="T9"/>
                  </a:cxn>
                </a:cxnLst>
                <a:rect l="0" t="0" r="r" b="b"/>
                <a:pathLst>
                  <a:path w="12" h="12">
                    <a:moveTo>
                      <a:pt x="12" y="7"/>
                    </a:moveTo>
                    <a:cubicBezTo>
                      <a:pt x="11" y="10"/>
                      <a:pt x="8" y="12"/>
                      <a:pt x="5" y="11"/>
                    </a:cubicBezTo>
                    <a:cubicBezTo>
                      <a:pt x="2" y="11"/>
                      <a:pt x="0" y="8"/>
                      <a:pt x="1" y="5"/>
                    </a:cubicBezTo>
                    <a:cubicBezTo>
                      <a:pt x="1" y="2"/>
                      <a:pt x="4" y="0"/>
                      <a:pt x="7" y="0"/>
                    </a:cubicBezTo>
                    <a:cubicBezTo>
                      <a:pt x="10" y="1"/>
                      <a:pt x="12" y="4"/>
                      <a:pt x="12" y="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2" name="Freeform 255"/>
              <p:cNvSpPr>
                <a:spLocks/>
              </p:cNvSpPr>
              <p:nvPr/>
            </p:nvSpPr>
            <p:spPr bwMode="auto">
              <a:xfrm>
                <a:off x="4446437" y="3372689"/>
                <a:ext cx="251250" cy="104689"/>
              </a:xfrm>
              <a:custGeom>
                <a:avLst/>
                <a:gdLst>
                  <a:gd name="T0" fmla="*/ 31 w 99"/>
                  <a:gd name="T1" fmla="*/ 41 h 41"/>
                  <a:gd name="T2" fmla="*/ 0 w 99"/>
                  <a:gd name="T3" fmla="*/ 2 h 41"/>
                  <a:gd name="T4" fmla="*/ 0 w 99"/>
                  <a:gd name="T5" fmla="*/ 0 h 41"/>
                  <a:gd name="T6" fmla="*/ 1 w 99"/>
                  <a:gd name="T7" fmla="*/ 0 h 41"/>
                  <a:gd name="T8" fmla="*/ 32 w 99"/>
                  <a:gd name="T9" fmla="*/ 38 h 41"/>
                  <a:gd name="T10" fmla="*/ 44 w 99"/>
                  <a:gd name="T11" fmla="*/ 30 h 41"/>
                  <a:gd name="T12" fmla="*/ 57 w 99"/>
                  <a:gd name="T13" fmla="*/ 39 h 41"/>
                  <a:gd name="T14" fmla="*/ 97 w 99"/>
                  <a:gd name="T15" fmla="*/ 0 h 41"/>
                  <a:gd name="T16" fmla="*/ 99 w 99"/>
                  <a:gd name="T17" fmla="*/ 0 h 41"/>
                  <a:gd name="T18" fmla="*/ 99 w 99"/>
                  <a:gd name="T19" fmla="*/ 2 h 41"/>
                  <a:gd name="T20" fmla="*/ 58 w 99"/>
                  <a:gd name="T21" fmla="*/ 41 h 41"/>
                  <a:gd name="T22" fmla="*/ 44 w 99"/>
                  <a:gd name="T23" fmla="*/ 32 h 41"/>
                  <a:gd name="T24" fmla="*/ 31 w 99"/>
                  <a:gd name="T2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41">
                    <a:moveTo>
                      <a:pt x="31" y="41"/>
                    </a:moveTo>
                    <a:cubicBezTo>
                      <a:pt x="0" y="2"/>
                      <a:pt x="0" y="2"/>
                      <a:pt x="0" y="2"/>
                    </a:cubicBezTo>
                    <a:cubicBezTo>
                      <a:pt x="0" y="1"/>
                      <a:pt x="0" y="0"/>
                      <a:pt x="0" y="0"/>
                    </a:cubicBezTo>
                    <a:cubicBezTo>
                      <a:pt x="0" y="0"/>
                      <a:pt x="1" y="0"/>
                      <a:pt x="1" y="0"/>
                    </a:cubicBezTo>
                    <a:cubicBezTo>
                      <a:pt x="32" y="38"/>
                      <a:pt x="32" y="38"/>
                      <a:pt x="32" y="38"/>
                    </a:cubicBezTo>
                    <a:cubicBezTo>
                      <a:pt x="44" y="30"/>
                      <a:pt x="44" y="30"/>
                      <a:pt x="44" y="30"/>
                    </a:cubicBezTo>
                    <a:cubicBezTo>
                      <a:pt x="57" y="39"/>
                      <a:pt x="57" y="39"/>
                      <a:pt x="57" y="39"/>
                    </a:cubicBezTo>
                    <a:cubicBezTo>
                      <a:pt x="97" y="0"/>
                      <a:pt x="97" y="0"/>
                      <a:pt x="97" y="0"/>
                    </a:cubicBezTo>
                    <a:cubicBezTo>
                      <a:pt x="98" y="0"/>
                      <a:pt x="98" y="0"/>
                      <a:pt x="99" y="0"/>
                    </a:cubicBezTo>
                    <a:cubicBezTo>
                      <a:pt x="99" y="1"/>
                      <a:pt x="99" y="1"/>
                      <a:pt x="99" y="2"/>
                    </a:cubicBezTo>
                    <a:cubicBezTo>
                      <a:pt x="58" y="41"/>
                      <a:pt x="58" y="41"/>
                      <a:pt x="58" y="41"/>
                    </a:cubicBezTo>
                    <a:cubicBezTo>
                      <a:pt x="44" y="32"/>
                      <a:pt x="44" y="32"/>
                      <a:pt x="44" y="32"/>
                    </a:cubicBezTo>
                    <a:lnTo>
                      <a:pt x="31" y="4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3" name="Freeform 256"/>
              <p:cNvSpPr>
                <a:spLocks/>
              </p:cNvSpPr>
              <p:nvPr/>
            </p:nvSpPr>
            <p:spPr bwMode="auto">
              <a:xfrm>
                <a:off x="4554116" y="3450457"/>
                <a:ext cx="38885" cy="146564"/>
              </a:xfrm>
              <a:custGeom>
                <a:avLst/>
                <a:gdLst>
                  <a:gd name="T0" fmla="*/ 14 w 15"/>
                  <a:gd name="T1" fmla="*/ 59 h 59"/>
                  <a:gd name="T2" fmla="*/ 0 w 15"/>
                  <a:gd name="T3" fmla="*/ 59 h 59"/>
                  <a:gd name="T4" fmla="*/ 0 w 15"/>
                  <a:gd name="T5" fmla="*/ 1 h 59"/>
                  <a:gd name="T6" fmla="*/ 1 w 15"/>
                  <a:gd name="T7" fmla="*/ 0 h 59"/>
                  <a:gd name="T8" fmla="*/ 2 w 15"/>
                  <a:gd name="T9" fmla="*/ 1 h 59"/>
                  <a:gd name="T10" fmla="*/ 2 w 15"/>
                  <a:gd name="T11" fmla="*/ 57 h 59"/>
                  <a:gd name="T12" fmla="*/ 14 w 15"/>
                  <a:gd name="T13" fmla="*/ 57 h 59"/>
                  <a:gd name="T14" fmla="*/ 15 w 15"/>
                  <a:gd name="T15" fmla="*/ 58 h 59"/>
                  <a:gd name="T16" fmla="*/ 14 w 15"/>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59">
                    <a:moveTo>
                      <a:pt x="14" y="59"/>
                    </a:moveTo>
                    <a:cubicBezTo>
                      <a:pt x="0" y="59"/>
                      <a:pt x="0" y="59"/>
                      <a:pt x="0" y="59"/>
                    </a:cubicBezTo>
                    <a:cubicBezTo>
                      <a:pt x="0" y="1"/>
                      <a:pt x="0" y="1"/>
                      <a:pt x="0" y="1"/>
                    </a:cubicBezTo>
                    <a:cubicBezTo>
                      <a:pt x="0" y="0"/>
                      <a:pt x="0" y="0"/>
                      <a:pt x="1" y="0"/>
                    </a:cubicBezTo>
                    <a:cubicBezTo>
                      <a:pt x="2" y="0"/>
                      <a:pt x="2" y="0"/>
                      <a:pt x="2" y="1"/>
                    </a:cubicBezTo>
                    <a:cubicBezTo>
                      <a:pt x="2" y="57"/>
                      <a:pt x="2" y="57"/>
                      <a:pt x="2" y="57"/>
                    </a:cubicBezTo>
                    <a:cubicBezTo>
                      <a:pt x="14" y="57"/>
                      <a:pt x="14" y="57"/>
                      <a:pt x="14" y="57"/>
                    </a:cubicBezTo>
                    <a:cubicBezTo>
                      <a:pt x="15" y="57"/>
                      <a:pt x="15" y="58"/>
                      <a:pt x="15" y="58"/>
                    </a:cubicBezTo>
                    <a:cubicBezTo>
                      <a:pt x="15" y="59"/>
                      <a:pt x="15" y="59"/>
                      <a:pt x="14" y="5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4" name="Freeform 257"/>
              <p:cNvSpPr>
                <a:spLocks/>
              </p:cNvSpPr>
              <p:nvPr/>
            </p:nvSpPr>
            <p:spPr bwMode="auto">
              <a:xfrm>
                <a:off x="1362637" y="3360724"/>
                <a:ext cx="275179" cy="122635"/>
              </a:xfrm>
              <a:custGeom>
                <a:avLst/>
                <a:gdLst>
                  <a:gd name="T0" fmla="*/ 74 w 108"/>
                  <a:gd name="T1" fmla="*/ 48 h 48"/>
                  <a:gd name="T2" fmla="*/ 60 w 108"/>
                  <a:gd name="T3" fmla="*/ 34 h 48"/>
                  <a:gd name="T4" fmla="*/ 45 w 108"/>
                  <a:gd name="T5" fmla="*/ 48 h 48"/>
                  <a:gd name="T6" fmla="*/ 1 w 108"/>
                  <a:gd name="T7" fmla="*/ 1 h 48"/>
                  <a:gd name="T8" fmla="*/ 1 w 108"/>
                  <a:gd name="T9" fmla="*/ 0 h 48"/>
                  <a:gd name="T10" fmla="*/ 2 w 108"/>
                  <a:gd name="T11" fmla="*/ 0 h 48"/>
                  <a:gd name="T12" fmla="*/ 45 w 108"/>
                  <a:gd name="T13" fmla="*/ 45 h 48"/>
                  <a:gd name="T14" fmla="*/ 60 w 108"/>
                  <a:gd name="T15" fmla="*/ 31 h 48"/>
                  <a:gd name="T16" fmla="*/ 73 w 108"/>
                  <a:gd name="T17" fmla="*/ 45 h 48"/>
                  <a:gd name="T18" fmla="*/ 106 w 108"/>
                  <a:gd name="T19" fmla="*/ 0 h 48"/>
                  <a:gd name="T20" fmla="*/ 107 w 108"/>
                  <a:gd name="T21" fmla="*/ 0 h 48"/>
                  <a:gd name="T22" fmla="*/ 107 w 108"/>
                  <a:gd name="T23" fmla="*/ 1 h 48"/>
                  <a:gd name="T24" fmla="*/ 74 w 108"/>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48">
                    <a:moveTo>
                      <a:pt x="74" y="48"/>
                    </a:moveTo>
                    <a:cubicBezTo>
                      <a:pt x="60" y="34"/>
                      <a:pt x="60" y="34"/>
                      <a:pt x="60" y="34"/>
                    </a:cubicBezTo>
                    <a:cubicBezTo>
                      <a:pt x="45" y="48"/>
                      <a:pt x="45" y="48"/>
                      <a:pt x="45" y="48"/>
                    </a:cubicBezTo>
                    <a:cubicBezTo>
                      <a:pt x="1" y="1"/>
                      <a:pt x="1" y="1"/>
                      <a:pt x="1" y="1"/>
                    </a:cubicBezTo>
                    <a:cubicBezTo>
                      <a:pt x="0" y="1"/>
                      <a:pt x="0" y="0"/>
                      <a:pt x="1" y="0"/>
                    </a:cubicBezTo>
                    <a:cubicBezTo>
                      <a:pt x="1" y="0"/>
                      <a:pt x="2" y="0"/>
                      <a:pt x="2" y="0"/>
                    </a:cubicBezTo>
                    <a:cubicBezTo>
                      <a:pt x="45" y="45"/>
                      <a:pt x="45" y="45"/>
                      <a:pt x="45" y="45"/>
                    </a:cubicBezTo>
                    <a:cubicBezTo>
                      <a:pt x="60" y="31"/>
                      <a:pt x="60" y="31"/>
                      <a:pt x="60" y="31"/>
                    </a:cubicBezTo>
                    <a:cubicBezTo>
                      <a:pt x="73" y="45"/>
                      <a:pt x="73" y="45"/>
                      <a:pt x="73" y="45"/>
                    </a:cubicBezTo>
                    <a:cubicBezTo>
                      <a:pt x="106" y="0"/>
                      <a:pt x="106" y="0"/>
                      <a:pt x="106" y="0"/>
                    </a:cubicBezTo>
                    <a:cubicBezTo>
                      <a:pt x="106" y="0"/>
                      <a:pt x="107" y="0"/>
                      <a:pt x="107" y="0"/>
                    </a:cubicBezTo>
                    <a:cubicBezTo>
                      <a:pt x="108" y="0"/>
                      <a:pt x="108" y="1"/>
                      <a:pt x="107" y="1"/>
                    </a:cubicBezTo>
                    <a:lnTo>
                      <a:pt x="74" y="4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5" name="Freeform 258"/>
              <p:cNvSpPr>
                <a:spLocks/>
              </p:cNvSpPr>
              <p:nvPr/>
            </p:nvSpPr>
            <p:spPr bwMode="auto">
              <a:xfrm>
                <a:off x="1135316" y="3187242"/>
                <a:ext cx="367903" cy="364911"/>
              </a:xfrm>
              <a:custGeom>
                <a:avLst/>
                <a:gdLst>
                  <a:gd name="T0" fmla="*/ 134 w 146"/>
                  <a:gd name="T1" fmla="*/ 0 h 145"/>
                  <a:gd name="T2" fmla="*/ 12 w 146"/>
                  <a:gd name="T3" fmla="*/ 145 h 145"/>
                  <a:gd name="T4" fmla="*/ 134 w 146"/>
                  <a:gd name="T5" fmla="*/ 0 h 145"/>
                </a:gdLst>
                <a:ahLst/>
                <a:cxnLst>
                  <a:cxn ang="0">
                    <a:pos x="T0" y="T1"/>
                  </a:cxn>
                  <a:cxn ang="0">
                    <a:pos x="T2" y="T3"/>
                  </a:cxn>
                  <a:cxn ang="0">
                    <a:pos x="T4" y="T5"/>
                  </a:cxn>
                </a:cxnLst>
                <a:rect l="0" t="0" r="r" b="b"/>
                <a:pathLst>
                  <a:path w="146" h="145">
                    <a:moveTo>
                      <a:pt x="134" y="0"/>
                    </a:moveTo>
                    <a:cubicBezTo>
                      <a:pt x="134" y="0"/>
                      <a:pt x="0" y="11"/>
                      <a:pt x="12" y="145"/>
                    </a:cubicBezTo>
                    <a:cubicBezTo>
                      <a:pt x="12" y="145"/>
                      <a:pt x="146" y="134"/>
                      <a:pt x="134"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Tree>
    <p:extLst>
      <p:ext uri="{BB962C8B-B14F-4D97-AF65-F5344CB8AC3E}">
        <p14:creationId xmlns:p14="http://schemas.microsoft.com/office/powerpoint/2010/main" val="16144031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250"/>
                                        <p:tgtEl>
                                          <p:spTgt spid="11"/>
                                        </p:tgtEl>
                                      </p:cBhvr>
                                    </p:animEffect>
                                  </p:childTnLst>
                                </p:cTn>
                              </p:par>
                            </p:childTnLst>
                          </p:cTn>
                        </p:par>
                        <p:par>
                          <p:cTn id="8" fill="hold">
                            <p:stCondLst>
                              <p:cond delay="1250"/>
                            </p:stCondLst>
                            <p:childTnLst>
                              <p:par>
                                <p:cTn id="9" presetID="10" presetClass="entr" presetSubtype="0" fill="hold" nodeType="afterEffect">
                                  <p:stCondLst>
                                    <p:cond delay="0"/>
                                  </p:stCondLst>
                                  <p:childTnLst>
                                    <p:set>
                                      <p:cBhvr>
                                        <p:cTn id="10" dur="1" fill="hold">
                                          <p:stCondLst>
                                            <p:cond delay="0"/>
                                          </p:stCondLst>
                                        </p:cTn>
                                        <p:tgtEl>
                                          <p:spTgt spid="364"/>
                                        </p:tgtEl>
                                        <p:attrNameLst>
                                          <p:attrName>style.visibility</p:attrName>
                                        </p:attrNameLst>
                                      </p:cBhvr>
                                      <p:to>
                                        <p:strVal val="visible"/>
                                      </p:to>
                                    </p:set>
                                    <p:animEffect transition="in" filter="fade">
                                      <p:cBhvr>
                                        <p:cTn id="11" dur="1250"/>
                                        <p:tgtEl>
                                          <p:spTgt spid="364"/>
                                        </p:tgtEl>
                                      </p:cBhvr>
                                    </p:animEffect>
                                  </p:childTnLst>
                                </p:cTn>
                              </p:par>
                            </p:childTnLst>
                          </p:cTn>
                        </p:par>
                        <p:par>
                          <p:cTn id="12" fill="hold">
                            <p:stCondLst>
                              <p:cond delay="2500"/>
                            </p:stCondLst>
                            <p:childTnLst>
                              <p:par>
                                <p:cTn id="13" presetID="10" presetClass="entr" presetSubtype="0" fill="hold" nodeType="afterEffect">
                                  <p:stCondLst>
                                    <p:cond delay="0"/>
                                  </p:stCondLst>
                                  <p:childTnLst>
                                    <p:set>
                                      <p:cBhvr>
                                        <p:cTn id="14" dur="1" fill="hold">
                                          <p:stCondLst>
                                            <p:cond delay="0"/>
                                          </p:stCondLst>
                                        </p:cTn>
                                        <p:tgtEl>
                                          <p:spTgt spid="254"/>
                                        </p:tgtEl>
                                        <p:attrNameLst>
                                          <p:attrName>style.visibility</p:attrName>
                                        </p:attrNameLst>
                                      </p:cBhvr>
                                      <p:to>
                                        <p:strVal val="visible"/>
                                      </p:to>
                                    </p:set>
                                    <p:animEffect transition="in" filter="fade">
                                      <p:cBhvr>
                                        <p:cTn id="15" dur="1250"/>
                                        <p:tgtEl>
                                          <p:spTgt spid="254"/>
                                        </p:tgtEl>
                                      </p:cBhvr>
                                    </p:animEffect>
                                  </p:childTnLst>
                                </p:cTn>
                              </p:par>
                            </p:childTnLst>
                          </p:cTn>
                        </p:par>
                        <p:par>
                          <p:cTn id="16" fill="hold">
                            <p:stCondLst>
                              <p:cond delay="3750"/>
                            </p:stCondLst>
                            <p:childTnLst>
                              <p:par>
                                <p:cTn id="17" presetID="10" presetClass="entr" presetSubtype="0" fill="hold" nodeType="afterEffect">
                                  <p:stCondLst>
                                    <p:cond delay="0"/>
                                  </p:stCondLst>
                                  <p:childTnLst>
                                    <p:set>
                                      <p:cBhvr>
                                        <p:cTn id="18" dur="1" fill="hold">
                                          <p:stCondLst>
                                            <p:cond delay="0"/>
                                          </p:stCondLst>
                                        </p:cTn>
                                        <p:tgtEl>
                                          <p:spTgt spid="81"/>
                                        </p:tgtEl>
                                        <p:attrNameLst>
                                          <p:attrName>style.visibility</p:attrName>
                                        </p:attrNameLst>
                                      </p:cBhvr>
                                      <p:to>
                                        <p:strVal val="visible"/>
                                      </p:to>
                                    </p:set>
                                    <p:animEffect transition="in" filter="fade">
                                      <p:cBhvr>
                                        <p:cTn id="19" dur="1250"/>
                                        <p:tgtEl>
                                          <p:spTgt spid="81"/>
                                        </p:tgtEl>
                                      </p:cBhvr>
                                    </p:animEffect>
                                  </p:childTnLst>
                                </p:cTn>
                              </p:par>
                            </p:childTnLst>
                          </p:cTn>
                        </p:par>
                        <p:par>
                          <p:cTn id="20" fill="hold">
                            <p:stCondLst>
                              <p:cond delay="5000"/>
                            </p:stCondLst>
                            <p:childTnLst>
                              <p:par>
                                <p:cTn id="21" presetID="10" presetClass="entr" presetSubtype="0"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1250"/>
                                        <p:tgtEl>
                                          <p:spTgt spid="37"/>
                                        </p:tgtEl>
                                      </p:cBhvr>
                                    </p:animEffect>
                                  </p:childTnLst>
                                </p:cTn>
                              </p:par>
                            </p:childTnLst>
                          </p:cTn>
                        </p:par>
                        <p:par>
                          <p:cTn id="24" fill="hold">
                            <p:stCondLst>
                              <p:cond delay="6250"/>
                            </p:stCondLst>
                            <p:childTnLst>
                              <p:par>
                                <p:cTn id="25" presetID="10" presetClass="entr" presetSubtype="0" fill="hold" nodeType="afterEffect">
                                  <p:stCondLst>
                                    <p:cond delay="0"/>
                                  </p:stCondLst>
                                  <p:childTnLst>
                                    <p:set>
                                      <p:cBhvr>
                                        <p:cTn id="26" dur="1" fill="hold">
                                          <p:stCondLst>
                                            <p:cond delay="0"/>
                                          </p:stCondLst>
                                        </p:cTn>
                                        <p:tgtEl>
                                          <p:spTgt spid="74"/>
                                        </p:tgtEl>
                                        <p:attrNameLst>
                                          <p:attrName>style.visibility</p:attrName>
                                        </p:attrNameLst>
                                      </p:cBhvr>
                                      <p:to>
                                        <p:strVal val="visible"/>
                                      </p:to>
                                    </p:set>
                                    <p:animEffect transition="in" filter="fade">
                                      <p:cBhvr>
                                        <p:cTn id="27" dur="1250"/>
                                        <p:tgtEl>
                                          <p:spTgt spid="74"/>
                                        </p:tgtEl>
                                      </p:cBhvr>
                                    </p:animEffect>
                                  </p:childTnLst>
                                </p:cTn>
                              </p:par>
                            </p:childTnLst>
                          </p:cTn>
                        </p:par>
                        <p:par>
                          <p:cTn id="28" fill="hold">
                            <p:stCondLst>
                              <p:cond delay="7500"/>
                            </p:stCondLst>
                            <p:childTnLst>
                              <p:par>
                                <p:cTn id="29" presetID="10" presetClass="entr" presetSubtype="0" fill="hold"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250"/>
                                        <p:tgtEl>
                                          <p:spTgt spid="19"/>
                                        </p:tgtEl>
                                      </p:cBhvr>
                                    </p:animEffect>
                                  </p:childTnLst>
                                </p:cTn>
                              </p:par>
                            </p:childTnLst>
                          </p:cTn>
                        </p:par>
                        <p:par>
                          <p:cTn id="32" fill="hold">
                            <p:stCondLst>
                              <p:cond delay="8750"/>
                            </p:stCondLst>
                            <p:childTnLst>
                              <p:par>
                                <p:cTn id="33" presetID="10" presetClass="entr" presetSubtype="0" fill="hold" nodeType="afterEffect">
                                  <p:stCondLst>
                                    <p:cond delay="0"/>
                                  </p:stCondLst>
                                  <p:childTnLst>
                                    <p:set>
                                      <p:cBhvr>
                                        <p:cTn id="34" dur="1" fill="hold">
                                          <p:stCondLst>
                                            <p:cond delay="0"/>
                                          </p:stCondLst>
                                        </p:cTn>
                                        <p:tgtEl>
                                          <p:spTgt spid="386"/>
                                        </p:tgtEl>
                                        <p:attrNameLst>
                                          <p:attrName>style.visibility</p:attrName>
                                        </p:attrNameLst>
                                      </p:cBhvr>
                                      <p:to>
                                        <p:strVal val="visible"/>
                                      </p:to>
                                    </p:set>
                                    <p:animEffect transition="in" filter="fade">
                                      <p:cBhvr>
                                        <p:cTn id="35" dur="1250"/>
                                        <p:tgtEl>
                                          <p:spTgt spid="386"/>
                                        </p:tgtEl>
                                      </p:cBhvr>
                                    </p:animEffect>
                                  </p:childTnLst>
                                </p:cTn>
                              </p:par>
                            </p:childTnLst>
                          </p:cTn>
                        </p:par>
                        <p:par>
                          <p:cTn id="36" fill="hold">
                            <p:stCondLst>
                              <p:cond delay="10000"/>
                            </p:stCondLst>
                            <p:childTnLst>
                              <p:par>
                                <p:cTn id="37" presetID="10" presetClass="entr" presetSubtype="0" fill="hold" nodeType="afterEffect">
                                  <p:stCondLst>
                                    <p:cond delay="0"/>
                                  </p:stCondLst>
                                  <p:childTnLst>
                                    <p:set>
                                      <p:cBhvr>
                                        <p:cTn id="38" dur="1" fill="hold">
                                          <p:stCondLst>
                                            <p:cond delay="0"/>
                                          </p:stCondLst>
                                        </p:cTn>
                                        <p:tgtEl>
                                          <p:spTgt spid="56"/>
                                        </p:tgtEl>
                                        <p:attrNameLst>
                                          <p:attrName>style.visibility</p:attrName>
                                        </p:attrNameLst>
                                      </p:cBhvr>
                                      <p:to>
                                        <p:strVal val="visible"/>
                                      </p:to>
                                    </p:set>
                                    <p:animEffect transition="in" filter="fade">
                                      <p:cBhvr>
                                        <p:cTn id="39" dur="125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0941" y="422497"/>
            <a:ext cx="10668000" cy="1325563"/>
          </a:xfrm>
        </p:spPr>
        <p:txBody>
          <a:bodyPr>
            <a:noAutofit/>
          </a:bodyPr>
          <a:lstStyle/>
          <a:p>
            <a:r>
              <a:rPr lang="en-US" sz="4000" dirty="0">
                <a:solidFill>
                  <a:srgbClr val="0070C0"/>
                </a:solidFill>
                <a:latin typeface="Segoe UI Light" panose="020B0502040204020203" pitchFamily="34" charset="0"/>
                <a:cs typeface="Segoe UI Light" panose="020B0502040204020203" pitchFamily="34" charset="0"/>
              </a:rPr>
              <a:t>An ADL Store </a:t>
            </a:r>
            <a:br>
              <a:rPr lang="en-US" sz="4000" dirty="0">
                <a:solidFill>
                  <a:srgbClr val="00B0F0"/>
                </a:solidFill>
                <a:latin typeface="Segoe UI Light" panose="020B0502040204020203" pitchFamily="34" charset="0"/>
                <a:cs typeface="Segoe UI Light" panose="020B0502040204020203" pitchFamily="34" charset="0"/>
              </a:rPr>
            </a:br>
            <a:r>
              <a:rPr lang="en-US" sz="3200" dirty="0">
                <a:cs typeface="Segoe UI" panose="020B0502040204020203" pitchFamily="34" charset="0"/>
              </a:rPr>
              <a:t>No limits to </a:t>
            </a:r>
            <a:r>
              <a:rPr lang="en-US" sz="3200" b="1" dirty="0">
                <a:cs typeface="Segoe UI" panose="020B0502040204020203" pitchFamily="34" charset="0"/>
              </a:rPr>
              <a:t>SCALE</a:t>
            </a:r>
            <a:br>
              <a:rPr lang="en-US" sz="4000" b="1" dirty="0">
                <a:cs typeface="Segoe UI" panose="020B0502040204020203" pitchFamily="34" charset="0"/>
              </a:rPr>
            </a:br>
            <a:endParaRPr lang="en-US" sz="4000" dirty="0">
              <a:solidFill>
                <a:srgbClr val="00B0F0"/>
              </a:solidFill>
              <a:latin typeface="Segoe UI Light" panose="020B0502040204020203" pitchFamily="34" charset="0"/>
              <a:cs typeface="Segoe UI Light" panose="020B0502040204020203" pitchFamily="34" charset="0"/>
            </a:endParaRPr>
          </a:p>
        </p:txBody>
      </p:sp>
      <p:grpSp>
        <p:nvGrpSpPr>
          <p:cNvPr id="17" name="Group 16"/>
          <p:cNvGrpSpPr/>
          <p:nvPr/>
        </p:nvGrpSpPr>
        <p:grpSpPr>
          <a:xfrm>
            <a:off x="352013" y="1295400"/>
            <a:ext cx="11382787" cy="5094579"/>
            <a:chOff x="3692437" y="924202"/>
            <a:chExt cx="6291601" cy="5121995"/>
          </a:xfrm>
        </p:grpSpPr>
        <p:sp>
          <p:nvSpPr>
            <p:cNvPr id="19" name="Rectangle 18"/>
            <p:cNvSpPr>
              <a:spLocks/>
            </p:cNvSpPr>
            <p:nvPr/>
          </p:nvSpPr>
          <p:spPr>
            <a:xfrm>
              <a:off x="3692437" y="1289194"/>
              <a:ext cx="6291601" cy="2129126"/>
            </a:xfrm>
            <a:prstGeom prst="rect">
              <a:avLst/>
            </a:prstGeom>
            <a:solidFill>
              <a:srgbClr val="0070C0"/>
            </a:solidFill>
            <a:ln w="9525" cap="flat" cmpd="sng" algn="ctr">
              <a:noFill/>
              <a:prstDash val="solid"/>
            </a:ln>
            <a:effectLst/>
          </p:spPr>
          <p:txBody>
            <a:bodyPr lIns="95236" tIns="0" rIns="95236" bIns="76189" rtlCol="0" anchor="b"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r>
                <a:rPr lang="en-US" sz="2000" b="1" dirty="0">
                  <a:solidFill>
                    <a:schemeClr val="bg1"/>
                  </a:solidFill>
                  <a:latin typeface="+mj-lt"/>
                  <a:cs typeface="Arial"/>
                </a:rPr>
                <a:t>YARN</a:t>
              </a:r>
              <a:endParaRPr lang="en-US" sz="2333" b="1" dirty="0">
                <a:solidFill>
                  <a:schemeClr val="bg1"/>
                </a:solidFill>
                <a:latin typeface="+mj-lt"/>
                <a:cs typeface="Arial"/>
              </a:endParaRPr>
            </a:p>
          </p:txBody>
        </p:sp>
        <p:sp>
          <p:nvSpPr>
            <p:cNvPr id="22" name="Rectangle 21"/>
            <p:cNvSpPr>
              <a:spLocks/>
            </p:cNvSpPr>
            <p:nvPr/>
          </p:nvSpPr>
          <p:spPr>
            <a:xfrm>
              <a:off x="3692437" y="3576479"/>
              <a:ext cx="6291601" cy="1190590"/>
            </a:xfrm>
            <a:prstGeom prst="rect">
              <a:avLst/>
            </a:prstGeom>
            <a:solidFill>
              <a:srgbClr val="5DDFFD"/>
            </a:solidFill>
            <a:ln w="9525" cap="flat" cmpd="sng" algn="ctr">
              <a:noFill/>
              <a:prstDash val="solid"/>
            </a:ln>
            <a:effectLst/>
          </p:spPr>
          <p:txBody>
            <a:bodyPr lIns="95236" tIns="76189" rIns="95236" bIns="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r>
                <a:rPr lang="en-US" sz="2000" b="1" dirty="0" err="1">
                  <a:solidFill>
                    <a:schemeClr val="bg1"/>
                  </a:solidFill>
                  <a:latin typeface="+mj-lt"/>
                  <a:cs typeface="Arial"/>
                </a:rPr>
                <a:t>WebHDFS</a:t>
              </a:r>
              <a:endParaRPr lang="en-US" sz="2333" b="1" dirty="0">
                <a:solidFill>
                  <a:schemeClr val="bg1"/>
                </a:solidFill>
                <a:latin typeface="+mj-lt"/>
                <a:cs typeface="Arial"/>
              </a:endParaRPr>
            </a:p>
          </p:txBody>
        </p:sp>
        <p:grpSp>
          <p:nvGrpSpPr>
            <p:cNvPr id="23" name="Group 22"/>
            <p:cNvGrpSpPr/>
            <p:nvPr/>
          </p:nvGrpSpPr>
          <p:grpSpPr>
            <a:xfrm>
              <a:off x="3692437" y="924202"/>
              <a:ext cx="6291601" cy="5121995"/>
              <a:chOff x="5856244" y="1087395"/>
              <a:chExt cx="7402556" cy="6026423"/>
            </a:xfrm>
            <a:solidFill>
              <a:srgbClr val="808B8D"/>
            </a:solidFill>
          </p:grpSpPr>
          <p:sp>
            <p:nvSpPr>
              <p:cNvPr id="86" name="Rounded Rectangle 85"/>
              <p:cNvSpPr/>
              <p:nvPr/>
            </p:nvSpPr>
            <p:spPr>
              <a:xfrm>
                <a:off x="5856244" y="1087395"/>
                <a:ext cx="7402556" cy="20574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87" name="Rounded Rectangle 86"/>
              <p:cNvSpPr/>
              <p:nvPr/>
            </p:nvSpPr>
            <p:spPr>
              <a:xfrm>
                <a:off x="5856244" y="5056418"/>
                <a:ext cx="7402556" cy="2057400"/>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88" name="Hexagon 87"/>
              <p:cNvSpPr/>
              <p:nvPr/>
            </p:nvSpPr>
            <p:spPr>
              <a:xfrm>
                <a:off x="8531803" y="2843132"/>
                <a:ext cx="2051438" cy="622080"/>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89" name="Hexagon 88"/>
              <p:cNvSpPr/>
              <p:nvPr/>
            </p:nvSpPr>
            <p:spPr>
              <a:xfrm>
                <a:off x="8531803" y="4774380"/>
                <a:ext cx="2051438" cy="622080"/>
              </a:xfrm>
              <a:prstGeom prst="hexagon">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grpSp>
        <p:sp>
          <p:nvSpPr>
            <p:cNvPr id="24" name="Rounded Rectangle 23"/>
            <p:cNvSpPr/>
            <p:nvPr/>
          </p:nvSpPr>
          <p:spPr>
            <a:xfrm>
              <a:off x="3822495" y="1075935"/>
              <a:ext cx="2720093" cy="1410562"/>
            </a:xfrm>
            <a:prstGeom prst="roundRect">
              <a:avLst>
                <a:gd name="adj" fmla="val 12531"/>
              </a:avLst>
            </a:prstGeom>
            <a:solidFill>
              <a:srgbClr val="2D0CB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25" name="Rounded Rectangle 24"/>
            <p:cNvSpPr/>
            <p:nvPr/>
          </p:nvSpPr>
          <p:spPr>
            <a:xfrm>
              <a:off x="7107115" y="1063654"/>
              <a:ext cx="2720093" cy="1410562"/>
            </a:xfrm>
            <a:prstGeom prst="roundRect">
              <a:avLst>
                <a:gd name="adj" fmla="val 10178"/>
              </a:avLst>
            </a:prstGeom>
            <a:solidFill>
              <a:srgbClr val="00B0F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grpSp>
          <p:nvGrpSpPr>
            <p:cNvPr id="30" name="Group 29"/>
            <p:cNvGrpSpPr/>
            <p:nvPr/>
          </p:nvGrpSpPr>
          <p:grpSpPr>
            <a:xfrm>
              <a:off x="4238191" y="4535758"/>
              <a:ext cx="5186743" cy="1338955"/>
              <a:chOff x="5643352" y="6249485"/>
              <a:chExt cx="6102604" cy="1575384"/>
            </a:xfrm>
            <a:solidFill>
              <a:srgbClr val="95A5A5"/>
            </a:solidFill>
          </p:grpSpPr>
          <p:grpSp>
            <p:nvGrpSpPr>
              <p:cNvPr id="68" name="Group 67"/>
              <p:cNvGrpSpPr/>
              <p:nvPr/>
            </p:nvGrpSpPr>
            <p:grpSpPr>
              <a:xfrm>
                <a:off x="5643352" y="6249485"/>
                <a:ext cx="974009" cy="1575384"/>
                <a:chOff x="5643352" y="6249485"/>
                <a:chExt cx="974009" cy="1575384"/>
              </a:xfrm>
              <a:grpFill/>
            </p:grpSpPr>
            <p:sp>
              <p:nvSpPr>
                <p:cNvPr id="84" name="Rounded Rectangle 83"/>
                <p:cNvSpPr>
                  <a:spLocks/>
                </p:cNvSpPr>
                <p:nvPr/>
              </p:nvSpPr>
              <p:spPr>
                <a:xfrm>
                  <a:off x="5643352" y="6249485"/>
                  <a:ext cx="974009" cy="756465"/>
                </a:xfrm>
                <a:prstGeom prst="roundRect">
                  <a:avLst>
                    <a:gd name="adj" fmla="val 5758"/>
                  </a:avLst>
                </a:prstGeom>
                <a:solidFill>
                  <a:schemeClr val="accent5">
                    <a:lumMod val="5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r>
                    <a:rPr lang="en-US" sz="750" dirty="0">
                      <a:noFill/>
                      <a:cs typeface="Arial"/>
                    </a:rPr>
                    <a:t>1</a:t>
                  </a:r>
                </a:p>
              </p:txBody>
            </p:sp>
            <p:sp>
              <p:nvSpPr>
                <p:cNvPr id="85" name="Rounded Rectangle 84"/>
                <p:cNvSpPr>
                  <a:spLocks/>
                </p:cNvSpPr>
                <p:nvPr/>
              </p:nvSpPr>
              <p:spPr>
                <a:xfrm>
                  <a:off x="5643352" y="7068404"/>
                  <a:ext cx="974009" cy="756465"/>
                </a:xfrm>
                <a:prstGeom prst="roundRect">
                  <a:avLst>
                    <a:gd name="adj" fmla="val 5758"/>
                  </a:avLst>
                </a:prstGeom>
                <a:solidFill>
                  <a:schemeClr val="accent5">
                    <a:lumMod val="5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r>
                    <a:rPr lang="en-US" sz="750" dirty="0">
                      <a:noFill/>
                      <a:cs typeface="Arial"/>
                    </a:rPr>
                    <a:t>1</a:t>
                  </a:r>
                </a:p>
              </p:txBody>
            </p:sp>
          </p:grpSp>
          <p:grpSp>
            <p:nvGrpSpPr>
              <p:cNvPr id="69" name="Group 68"/>
              <p:cNvGrpSpPr/>
              <p:nvPr/>
            </p:nvGrpSpPr>
            <p:grpSpPr>
              <a:xfrm>
                <a:off x="6669071" y="6249485"/>
                <a:ext cx="974009" cy="1575384"/>
                <a:chOff x="6669540" y="6249485"/>
                <a:chExt cx="974009" cy="1575384"/>
              </a:xfrm>
              <a:grpFill/>
            </p:grpSpPr>
            <p:sp>
              <p:nvSpPr>
                <p:cNvPr id="82" name="Rounded Rectangle 81"/>
                <p:cNvSpPr>
                  <a:spLocks/>
                </p:cNvSpPr>
                <p:nvPr/>
              </p:nvSpPr>
              <p:spPr>
                <a:xfrm>
                  <a:off x="6669540" y="6249485"/>
                  <a:ext cx="974009" cy="756465"/>
                </a:xfrm>
                <a:prstGeom prst="roundRect">
                  <a:avLst>
                    <a:gd name="adj" fmla="val 5758"/>
                  </a:avLst>
                </a:prstGeom>
                <a:solidFill>
                  <a:schemeClr val="accent5">
                    <a:lumMod val="5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r>
                    <a:rPr lang="en-US" sz="750" dirty="0">
                      <a:noFill/>
                      <a:cs typeface="Arial"/>
                    </a:rPr>
                    <a:t>1</a:t>
                  </a:r>
                </a:p>
              </p:txBody>
            </p:sp>
            <p:sp>
              <p:nvSpPr>
                <p:cNvPr id="83" name="Rounded Rectangle 82"/>
                <p:cNvSpPr>
                  <a:spLocks/>
                </p:cNvSpPr>
                <p:nvPr/>
              </p:nvSpPr>
              <p:spPr>
                <a:xfrm>
                  <a:off x="6669540" y="7068404"/>
                  <a:ext cx="974009" cy="756465"/>
                </a:xfrm>
                <a:prstGeom prst="roundRect">
                  <a:avLst>
                    <a:gd name="adj" fmla="val 5758"/>
                  </a:avLst>
                </a:prstGeom>
                <a:solidFill>
                  <a:schemeClr val="accent5">
                    <a:lumMod val="5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r>
                    <a:rPr lang="en-US" sz="750" dirty="0">
                      <a:noFill/>
                      <a:cs typeface="Arial"/>
                    </a:rPr>
                    <a:t>1</a:t>
                  </a:r>
                </a:p>
              </p:txBody>
            </p:sp>
          </p:grpSp>
          <p:grpSp>
            <p:nvGrpSpPr>
              <p:cNvPr id="70" name="Group 69"/>
              <p:cNvGrpSpPr/>
              <p:nvPr/>
            </p:nvGrpSpPr>
            <p:grpSpPr>
              <a:xfrm>
                <a:off x="7694790" y="6249485"/>
                <a:ext cx="974009" cy="1575384"/>
                <a:chOff x="7699832" y="6249485"/>
                <a:chExt cx="974009" cy="1575384"/>
              </a:xfrm>
              <a:grpFill/>
            </p:grpSpPr>
            <p:sp>
              <p:nvSpPr>
                <p:cNvPr id="80" name="Rounded Rectangle 79"/>
                <p:cNvSpPr>
                  <a:spLocks/>
                </p:cNvSpPr>
                <p:nvPr/>
              </p:nvSpPr>
              <p:spPr>
                <a:xfrm>
                  <a:off x="7699832" y="6249485"/>
                  <a:ext cx="974009" cy="756465"/>
                </a:xfrm>
                <a:prstGeom prst="roundRect">
                  <a:avLst>
                    <a:gd name="adj" fmla="val 5758"/>
                  </a:avLst>
                </a:prstGeom>
                <a:solidFill>
                  <a:schemeClr val="accent5">
                    <a:lumMod val="5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r>
                    <a:rPr lang="en-US" sz="750" dirty="0">
                      <a:noFill/>
                      <a:cs typeface="Arial"/>
                    </a:rPr>
                    <a:t>1</a:t>
                  </a:r>
                </a:p>
              </p:txBody>
            </p:sp>
            <p:sp>
              <p:nvSpPr>
                <p:cNvPr id="81" name="Rounded Rectangle 80"/>
                <p:cNvSpPr>
                  <a:spLocks/>
                </p:cNvSpPr>
                <p:nvPr/>
              </p:nvSpPr>
              <p:spPr>
                <a:xfrm>
                  <a:off x="7699832" y="7068404"/>
                  <a:ext cx="974009" cy="756465"/>
                </a:xfrm>
                <a:prstGeom prst="roundRect">
                  <a:avLst>
                    <a:gd name="adj" fmla="val 5758"/>
                  </a:avLst>
                </a:prstGeom>
                <a:solidFill>
                  <a:schemeClr val="accent5">
                    <a:lumMod val="5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r>
                    <a:rPr lang="en-US" sz="750" dirty="0">
                      <a:noFill/>
                      <a:cs typeface="Arial"/>
                    </a:rPr>
                    <a:t>1</a:t>
                  </a:r>
                </a:p>
              </p:txBody>
            </p:sp>
          </p:grpSp>
          <p:grpSp>
            <p:nvGrpSpPr>
              <p:cNvPr id="71" name="Group 70"/>
              <p:cNvGrpSpPr/>
              <p:nvPr/>
            </p:nvGrpSpPr>
            <p:grpSpPr>
              <a:xfrm>
                <a:off x="9746228" y="6249485"/>
                <a:ext cx="974009" cy="1575384"/>
                <a:chOff x="9745759" y="6249485"/>
                <a:chExt cx="974009" cy="1575384"/>
              </a:xfrm>
              <a:grpFill/>
            </p:grpSpPr>
            <p:sp>
              <p:nvSpPr>
                <p:cNvPr id="78" name="Rounded Rectangle 77"/>
                <p:cNvSpPr>
                  <a:spLocks/>
                </p:cNvSpPr>
                <p:nvPr/>
              </p:nvSpPr>
              <p:spPr>
                <a:xfrm>
                  <a:off x="9745759" y="6249485"/>
                  <a:ext cx="974009" cy="756465"/>
                </a:xfrm>
                <a:prstGeom prst="roundRect">
                  <a:avLst>
                    <a:gd name="adj" fmla="val 5758"/>
                  </a:avLst>
                </a:prstGeom>
                <a:solidFill>
                  <a:schemeClr val="accent5">
                    <a:lumMod val="5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r>
                    <a:rPr lang="en-US" sz="750" dirty="0">
                      <a:noFill/>
                      <a:cs typeface="Arial"/>
                    </a:rPr>
                    <a:t>1</a:t>
                  </a:r>
                </a:p>
              </p:txBody>
            </p:sp>
            <p:sp>
              <p:nvSpPr>
                <p:cNvPr id="79" name="Rounded Rectangle 78"/>
                <p:cNvSpPr>
                  <a:spLocks/>
                </p:cNvSpPr>
                <p:nvPr/>
              </p:nvSpPr>
              <p:spPr>
                <a:xfrm>
                  <a:off x="9745759" y="7068404"/>
                  <a:ext cx="974009" cy="756465"/>
                </a:xfrm>
                <a:prstGeom prst="roundRect">
                  <a:avLst>
                    <a:gd name="adj" fmla="val 5758"/>
                  </a:avLst>
                </a:prstGeom>
                <a:solidFill>
                  <a:schemeClr val="accent5">
                    <a:lumMod val="5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r>
                    <a:rPr lang="en-US" sz="750" dirty="0">
                      <a:noFill/>
                      <a:cs typeface="Arial"/>
                    </a:rPr>
                    <a:t>1</a:t>
                  </a:r>
                </a:p>
              </p:txBody>
            </p:sp>
          </p:grpSp>
          <p:grpSp>
            <p:nvGrpSpPr>
              <p:cNvPr id="72" name="Group 71"/>
              <p:cNvGrpSpPr/>
              <p:nvPr/>
            </p:nvGrpSpPr>
            <p:grpSpPr>
              <a:xfrm>
                <a:off x="10771947" y="6249485"/>
                <a:ext cx="974009" cy="1575384"/>
                <a:chOff x="10771947" y="6249485"/>
                <a:chExt cx="974009" cy="1575384"/>
              </a:xfrm>
              <a:grpFill/>
            </p:grpSpPr>
            <p:sp>
              <p:nvSpPr>
                <p:cNvPr id="76" name="Rounded Rectangle 75"/>
                <p:cNvSpPr>
                  <a:spLocks/>
                </p:cNvSpPr>
                <p:nvPr/>
              </p:nvSpPr>
              <p:spPr>
                <a:xfrm>
                  <a:off x="10771947" y="6249485"/>
                  <a:ext cx="974009" cy="756465"/>
                </a:xfrm>
                <a:prstGeom prst="roundRect">
                  <a:avLst>
                    <a:gd name="adj" fmla="val 5758"/>
                  </a:avLst>
                </a:prstGeom>
                <a:solidFill>
                  <a:schemeClr val="accent5">
                    <a:lumMod val="5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r>
                    <a:rPr lang="en-US" sz="750" dirty="0">
                      <a:noFill/>
                      <a:cs typeface="Arial"/>
                    </a:rPr>
                    <a:t>1</a:t>
                  </a:r>
                </a:p>
              </p:txBody>
            </p:sp>
            <p:sp>
              <p:nvSpPr>
                <p:cNvPr id="77" name="Rounded Rectangle 76"/>
                <p:cNvSpPr>
                  <a:spLocks/>
                </p:cNvSpPr>
                <p:nvPr/>
              </p:nvSpPr>
              <p:spPr>
                <a:xfrm>
                  <a:off x="10771947" y="7068404"/>
                  <a:ext cx="974009" cy="756465"/>
                </a:xfrm>
                <a:prstGeom prst="roundRect">
                  <a:avLst>
                    <a:gd name="adj" fmla="val 5758"/>
                  </a:avLst>
                </a:prstGeom>
                <a:solidFill>
                  <a:schemeClr val="accent5">
                    <a:lumMod val="5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r>
                    <a:rPr lang="en-US" sz="750" dirty="0">
                      <a:noFill/>
                      <a:cs typeface="Arial"/>
                    </a:rPr>
                    <a:t>1</a:t>
                  </a:r>
                </a:p>
              </p:txBody>
            </p:sp>
          </p:grpSp>
          <p:grpSp>
            <p:nvGrpSpPr>
              <p:cNvPr id="73" name="Group 72"/>
              <p:cNvGrpSpPr/>
              <p:nvPr/>
            </p:nvGrpSpPr>
            <p:grpSpPr>
              <a:xfrm>
                <a:off x="8720509" y="6249485"/>
                <a:ext cx="974009" cy="1575384"/>
                <a:chOff x="8733139" y="6249485"/>
                <a:chExt cx="974009" cy="1575384"/>
              </a:xfrm>
              <a:grpFill/>
            </p:grpSpPr>
            <p:sp>
              <p:nvSpPr>
                <p:cNvPr id="74" name="Rounded Rectangle 73"/>
                <p:cNvSpPr>
                  <a:spLocks/>
                </p:cNvSpPr>
                <p:nvPr/>
              </p:nvSpPr>
              <p:spPr>
                <a:xfrm>
                  <a:off x="8733139" y="7068404"/>
                  <a:ext cx="974009" cy="756465"/>
                </a:xfrm>
                <a:prstGeom prst="roundRect">
                  <a:avLst>
                    <a:gd name="adj" fmla="val 5758"/>
                  </a:avLst>
                </a:prstGeom>
                <a:solidFill>
                  <a:schemeClr val="accent5">
                    <a:lumMod val="5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r>
                    <a:rPr lang="en-US" sz="750" dirty="0">
                      <a:noFill/>
                      <a:cs typeface="Arial"/>
                    </a:rPr>
                    <a:t>1</a:t>
                  </a:r>
                </a:p>
              </p:txBody>
            </p:sp>
            <p:sp>
              <p:nvSpPr>
                <p:cNvPr id="75" name="Rounded Rectangle 74"/>
                <p:cNvSpPr>
                  <a:spLocks/>
                </p:cNvSpPr>
                <p:nvPr/>
              </p:nvSpPr>
              <p:spPr>
                <a:xfrm>
                  <a:off x="8733139" y="6249485"/>
                  <a:ext cx="974009" cy="756465"/>
                </a:xfrm>
                <a:prstGeom prst="roundRect">
                  <a:avLst>
                    <a:gd name="adj" fmla="val 5758"/>
                  </a:avLst>
                </a:prstGeom>
                <a:solidFill>
                  <a:schemeClr val="accent5">
                    <a:lumMod val="5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r>
                    <a:rPr lang="en-US" sz="750" dirty="0">
                      <a:noFill/>
                      <a:cs typeface="Arial"/>
                    </a:rPr>
                    <a:t>1</a:t>
                  </a:r>
                </a:p>
              </p:txBody>
            </p:sp>
          </p:grpSp>
        </p:grpSp>
        <p:sp>
          <p:nvSpPr>
            <p:cNvPr id="31" name="TextBox 30"/>
            <p:cNvSpPr txBox="1"/>
            <p:nvPr/>
          </p:nvSpPr>
          <p:spPr>
            <a:xfrm>
              <a:off x="3822496" y="1942923"/>
              <a:ext cx="2720093" cy="388795"/>
            </a:xfrm>
            <a:prstGeom prst="rect">
              <a:avLst/>
            </a:prstGeom>
            <a:noFill/>
            <a:ln>
              <a:noFill/>
            </a:ln>
          </p:spPr>
          <p:txBody>
            <a:bodyPr wrap="square" rtlCol="0">
              <a:spAutoFit/>
            </a:bodyPr>
            <a:lstStyle/>
            <a:p>
              <a:pPr algn="ctr" defTabSz="476149">
                <a:defRPr/>
              </a:pPr>
              <a:r>
                <a:rPr lang="en-US" sz="2000" b="1" kern="0" dirty="0">
                  <a:solidFill>
                    <a:prstClr val="white"/>
                  </a:solidFill>
                  <a:latin typeface="+mj-lt"/>
                </a:rPr>
                <a:t>U-SQL | Hive*</a:t>
              </a:r>
            </a:p>
          </p:txBody>
        </p:sp>
        <p:sp>
          <p:nvSpPr>
            <p:cNvPr id="32" name="TextBox 31"/>
            <p:cNvSpPr txBox="1"/>
            <p:nvPr/>
          </p:nvSpPr>
          <p:spPr>
            <a:xfrm>
              <a:off x="3822495" y="1172827"/>
              <a:ext cx="2720093" cy="458587"/>
            </a:xfrm>
            <a:prstGeom prst="rect">
              <a:avLst/>
            </a:prstGeom>
            <a:noFill/>
            <a:ln>
              <a:noFill/>
            </a:ln>
          </p:spPr>
          <p:txBody>
            <a:bodyPr wrap="square" rtlCol="0">
              <a:spAutoFit/>
            </a:bodyPr>
            <a:lstStyle/>
            <a:p>
              <a:pPr algn="ctr" defTabSz="476149">
                <a:defRPr/>
              </a:pPr>
              <a:r>
                <a:rPr lang="en-US" sz="2333" kern="0" dirty="0">
                  <a:solidFill>
                    <a:prstClr val="white"/>
                  </a:solidFill>
                  <a:latin typeface="Segoe UI Semibold" panose="020B0702040204020203" pitchFamily="34" charset="0"/>
                  <a:cs typeface="Segoe UI Semibold" panose="020B0702040204020203" pitchFamily="34" charset="0"/>
                </a:rPr>
                <a:t>ADL Analytics</a:t>
              </a:r>
            </a:p>
          </p:txBody>
        </p:sp>
        <p:sp>
          <p:nvSpPr>
            <p:cNvPr id="33" name="TextBox 32"/>
            <p:cNvSpPr txBox="1"/>
            <p:nvPr/>
          </p:nvSpPr>
          <p:spPr>
            <a:xfrm>
              <a:off x="7100784" y="1167102"/>
              <a:ext cx="2720093" cy="458587"/>
            </a:xfrm>
            <a:prstGeom prst="rect">
              <a:avLst/>
            </a:prstGeom>
            <a:noFill/>
            <a:ln>
              <a:noFill/>
            </a:ln>
          </p:spPr>
          <p:txBody>
            <a:bodyPr wrap="square" rtlCol="0">
              <a:spAutoFit/>
            </a:bodyPr>
            <a:lstStyle/>
            <a:p>
              <a:pPr marL="0" lvl="1" algn="ctr" defTabSz="476149">
                <a:defRPr/>
              </a:pPr>
              <a:r>
                <a:rPr lang="en-US" sz="2333" kern="0" dirty="0">
                  <a:solidFill>
                    <a:prstClr val="white"/>
                  </a:solidFill>
                  <a:latin typeface="Segoe UI Semibold" panose="020B0702040204020203" pitchFamily="34" charset="0"/>
                  <a:cs typeface="Segoe UI Semibold" panose="020B0702040204020203" pitchFamily="34" charset="0"/>
                </a:rPr>
                <a:t>ADL HDInsight</a:t>
              </a:r>
            </a:p>
          </p:txBody>
        </p:sp>
        <p:sp>
          <p:nvSpPr>
            <p:cNvPr id="34" name="Freeform 5"/>
            <p:cNvSpPr>
              <a:spLocks noEditPoints="1"/>
            </p:cNvSpPr>
            <p:nvPr/>
          </p:nvSpPr>
          <p:spPr bwMode="auto">
            <a:xfrm>
              <a:off x="4450992" y="4686826"/>
              <a:ext cx="396565" cy="374974"/>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bg1"/>
            </a:solidFill>
            <a:ln>
              <a:noFill/>
            </a:ln>
          </p:spPr>
          <p:txBody>
            <a:bodyPr vert="horz" wrap="square" lIns="23341" tIns="23341" rIns="0" bIns="23341" numCol="1" anchor="t" anchorCtr="0" compatLnSpc="1">
              <a:prstTxWarp prst="textNoShape">
                <a:avLst/>
              </a:prstTxWarp>
            </a:bodyPr>
            <a:lstStyle/>
            <a:p>
              <a:pPr defTabSz="476149">
                <a:defRPr/>
              </a:pPr>
              <a:endParaRPr lang="en-US" sz="667" kern="0">
                <a:solidFill>
                  <a:prstClr val="black"/>
                </a:solidFill>
              </a:endParaRPr>
            </a:p>
          </p:txBody>
        </p:sp>
        <p:grpSp>
          <p:nvGrpSpPr>
            <p:cNvPr id="35" name="Group 34"/>
            <p:cNvGrpSpPr/>
            <p:nvPr/>
          </p:nvGrpSpPr>
          <p:grpSpPr>
            <a:xfrm>
              <a:off x="5219564" y="4677874"/>
              <a:ext cx="661153" cy="416058"/>
              <a:chOff x="2769908" y="1409697"/>
              <a:chExt cx="1965320" cy="1055586"/>
            </a:xfrm>
            <a:solidFill>
              <a:schemeClr val="bg1"/>
            </a:solidFill>
          </p:grpSpPr>
          <p:sp>
            <p:nvSpPr>
              <p:cNvPr id="65"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23341" rIns="0" rtlCol="0" anchor="ctr"/>
              <a:lstStyle/>
              <a:p>
                <a:pPr defTabSz="466769">
                  <a:defRPr/>
                </a:pPr>
                <a:endParaRPr lang="en-US" sz="667" kern="0">
                  <a:solidFill>
                    <a:srgbClr val="008272"/>
                  </a:solidFill>
                </a:endParaRPr>
              </a:p>
            </p:txBody>
          </p:sp>
          <p:sp>
            <p:nvSpPr>
              <p:cNvPr id="66"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23341" tIns="23341" rIns="0" bIns="46682" numCol="1" spcCol="0" rtlCol="0" fromWordArt="0" anchor="b" anchorCtr="0" forceAA="0" compatLnSpc="1">
                <a:prstTxWarp prst="textNoShape">
                  <a:avLst/>
                </a:prstTxWarp>
                <a:noAutofit/>
              </a:bodyPr>
              <a:lstStyle/>
              <a:p>
                <a:pPr defTabSz="466615">
                  <a:defRPr/>
                </a:pPr>
                <a:endParaRPr lang="en-US" sz="667" kern="0" spc="-25"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w="10795" cap="flat" cmpd="sng" algn="ctr">
                <a:noFill/>
                <a:prstDash val="solid"/>
                <a:headEnd type="none" w="med" len="med"/>
                <a:tailEnd type="none" w="med" len="med"/>
              </a:ln>
              <a:effectLst/>
            </p:spPr>
            <p:txBody>
              <a:bodyPr vert="horz" wrap="square" lIns="23341" tIns="23340" rIns="0" bIns="23340" numCol="1" rtlCol="0" anchor="ctr" anchorCtr="0" compatLnSpc="1">
                <a:prstTxWarp prst="textNoShape">
                  <a:avLst/>
                </a:prstTxWarp>
              </a:bodyPr>
              <a:lstStyle/>
              <a:p>
                <a:pPr defTabSz="420089">
                  <a:defRPr/>
                </a:pPr>
                <a:endParaRPr lang="en-US" sz="667" kern="0" spc="-70" dirty="0">
                  <a:gradFill>
                    <a:gsLst>
                      <a:gs pos="0">
                        <a:srgbClr val="FFFFFF"/>
                      </a:gs>
                      <a:gs pos="100000">
                        <a:srgbClr val="FFFFFF"/>
                      </a:gs>
                    </a:gsLst>
                    <a:lin ang="5400000" scaled="0"/>
                  </a:gradFill>
                </a:endParaRPr>
              </a:p>
            </p:txBody>
          </p:sp>
        </p:grpSp>
        <p:sp>
          <p:nvSpPr>
            <p:cNvPr id="36" name="Rounded Rectangle 18"/>
            <p:cNvSpPr/>
            <p:nvPr/>
          </p:nvSpPr>
          <p:spPr bwMode="auto">
            <a:xfrm>
              <a:off x="6174925" y="4664577"/>
              <a:ext cx="432445" cy="449561"/>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23341" tIns="23341" rIns="0" bIns="46682" numCol="1" spcCol="0" rtlCol="0" fromWordArt="0" anchor="b" anchorCtr="0" forceAA="0" compatLnSpc="1">
              <a:prstTxWarp prst="textNoShape">
                <a:avLst/>
              </a:prstTxWarp>
              <a:noAutofit/>
            </a:bodyPr>
            <a:lstStyle/>
            <a:p>
              <a:pPr defTabSz="466615">
                <a:defRPr/>
              </a:pPr>
              <a:endParaRPr lang="en-US" sz="667" kern="0" spc="-25"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Freeform 36"/>
            <p:cNvSpPr>
              <a:spLocks noChangeAspect="1"/>
            </p:cNvSpPr>
            <p:nvPr/>
          </p:nvSpPr>
          <p:spPr bwMode="auto">
            <a:xfrm>
              <a:off x="7079691" y="4659585"/>
              <a:ext cx="387895" cy="382066"/>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23341" tIns="74692" rIns="0" bIns="74692" numCol="1" spcCol="0" rtlCol="0" fromWordArt="0" anchor="t" anchorCtr="0" forceAA="0" compatLnSpc="1">
              <a:prstTxWarp prst="textNoShape">
                <a:avLst/>
              </a:prstTxWarp>
              <a:noAutofit/>
            </a:bodyPr>
            <a:lstStyle/>
            <a:p>
              <a:pPr defTabSz="475994">
                <a:lnSpc>
                  <a:spcPct val="90000"/>
                </a:lnSpc>
                <a:defRPr/>
              </a:pPr>
              <a:endParaRPr lang="en-US" sz="66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Freeform 37"/>
            <p:cNvSpPr/>
            <p:nvPr/>
          </p:nvSpPr>
          <p:spPr>
            <a:xfrm>
              <a:off x="7990738" y="4706634"/>
              <a:ext cx="251826" cy="312422"/>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chemeClr val="bg1"/>
            </a:solidFill>
            <a:ln w="12700" cap="flat" cmpd="sng" algn="ctr">
              <a:noFill/>
              <a:prstDash val="solid"/>
              <a:miter lim="800000"/>
            </a:ln>
            <a:effectLst/>
          </p:spPr>
          <p:txBody>
            <a:bodyPr wrap="square" lIns="23341" rIns="0" rtlCol="0" anchor="ctr">
              <a:noAutofit/>
            </a:bodyPr>
            <a:lstStyle/>
            <a:p>
              <a:pPr defTabSz="475922">
                <a:defRPr/>
              </a:pPr>
              <a:endParaRPr lang="en-US" sz="667" kern="0">
                <a:solidFill>
                  <a:srgbClr val="505050"/>
                </a:solidFill>
              </a:endParaRPr>
            </a:p>
          </p:txBody>
        </p:sp>
        <p:sp>
          <p:nvSpPr>
            <p:cNvPr id="39" name="Freeform 7"/>
            <p:cNvSpPr>
              <a:spLocks noEditPoints="1"/>
            </p:cNvSpPr>
            <p:nvPr/>
          </p:nvSpPr>
          <p:spPr bwMode="auto">
            <a:xfrm>
              <a:off x="5384433" y="5350879"/>
              <a:ext cx="292171" cy="353825"/>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1"/>
            </a:solidFill>
            <a:ln w="10795" cap="flat" cmpd="sng" algn="ctr">
              <a:noFill/>
              <a:prstDash val="solid"/>
              <a:headEnd type="none" w="med" len="med"/>
              <a:tailEnd type="none" w="med" len="med"/>
            </a:ln>
            <a:effectLst/>
          </p:spPr>
          <p:txBody>
            <a:bodyPr vert="horz" wrap="square" lIns="23341" tIns="23340" rIns="0" bIns="23340" numCol="1" rtlCol="0" anchor="ctr" anchorCtr="0" compatLnSpc="1">
              <a:prstTxWarp prst="textNoShape">
                <a:avLst/>
              </a:prstTxWarp>
            </a:bodyPr>
            <a:lstStyle/>
            <a:p>
              <a:pPr defTabSz="420089">
                <a:defRPr/>
              </a:pPr>
              <a:endParaRPr lang="en-US" sz="667" kern="0" spc="-70" dirty="0">
                <a:solidFill>
                  <a:srgbClr val="008272"/>
                </a:solidFill>
              </a:endParaRPr>
            </a:p>
          </p:txBody>
        </p:sp>
        <p:sp>
          <p:nvSpPr>
            <p:cNvPr id="40" name="Frame 5"/>
            <p:cNvSpPr>
              <a:spLocks noChangeAspect="1"/>
            </p:cNvSpPr>
            <p:nvPr/>
          </p:nvSpPr>
          <p:spPr bwMode="auto">
            <a:xfrm>
              <a:off x="7163292" y="5355171"/>
              <a:ext cx="284889" cy="32102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23341" tIns="27455" rIns="0" bIns="54910" numCol="1" spcCol="0" rtlCol="0" fromWordArt="0" anchor="b" anchorCtr="0" forceAA="0" compatLnSpc="1">
              <a:prstTxWarp prst="textNoShape">
                <a:avLst/>
              </a:prstTxWarp>
              <a:noAutofit/>
            </a:bodyPr>
            <a:lstStyle/>
            <a:p>
              <a:pPr defTabSz="548802">
                <a:defRPr/>
              </a:pPr>
              <a:endParaRPr lang="en-US" sz="667" kern="0" spc="-3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34"/>
            <p:cNvSpPr>
              <a:spLocks noEditPoints="1"/>
            </p:cNvSpPr>
            <p:nvPr/>
          </p:nvSpPr>
          <p:spPr bwMode="auto">
            <a:xfrm>
              <a:off x="4380156" y="5329763"/>
              <a:ext cx="467402" cy="453636"/>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bg1"/>
            </a:solidFill>
            <a:ln>
              <a:noFill/>
            </a:ln>
          </p:spPr>
          <p:txBody>
            <a:bodyPr vert="horz" wrap="square" lIns="47604" tIns="23802" rIns="47604" bIns="23802" numCol="1" anchor="t" anchorCtr="0" compatLnSpc="1">
              <a:prstTxWarp prst="textNoShape">
                <a:avLst/>
              </a:prstTxWarp>
            </a:bodyPr>
            <a:lstStyle/>
            <a:p>
              <a:pPr defTabSz="485514">
                <a:defRPr/>
              </a:pPr>
              <a:endParaRPr lang="en-US" sz="1667" kern="0">
                <a:solidFill>
                  <a:srgbClr val="333333"/>
                </a:solidFill>
                <a:ea typeface="MS PGothic" panose="020B0600070205080204" pitchFamily="34" charset="-128"/>
              </a:endParaRPr>
            </a:p>
          </p:txBody>
        </p:sp>
        <p:sp>
          <p:nvSpPr>
            <p:cNvPr id="42" name="Freeform 53"/>
            <p:cNvSpPr>
              <a:spLocks noEditPoints="1"/>
            </p:cNvSpPr>
            <p:nvPr/>
          </p:nvSpPr>
          <p:spPr bwMode="auto">
            <a:xfrm>
              <a:off x="6243275" y="5273346"/>
              <a:ext cx="377072" cy="531989"/>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bg1"/>
            </a:solidFill>
            <a:ln>
              <a:noFill/>
            </a:ln>
          </p:spPr>
          <p:txBody>
            <a:bodyPr vert="horz" wrap="square" lIns="47604" tIns="23802" rIns="47604" bIns="23802" numCol="1" anchor="t" anchorCtr="0" compatLnSpc="1">
              <a:prstTxWarp prst="textNoShape">
                <a:avLst/>
              </a:prstTxWarp>
            </a:bodyPr>
            <a:lstStyle/>
            <a:p>
              <a:pPr defTabSz="485514">
                <a:defRPr/>
              </a:pPr>
              <a:endParaRPr lang="en-US" sz="1667" kern="0">
                <a:solidFill>
                  <a:srgbClr val="333333"/>
                </a:solidFill>
                <a:ea typeface="MS PGothic" panose="020B0600070205080204" pitchFamily="34" charset="-128"/>
              </a:endParaRPr>
            </a:p>
          </p:txBody>
        </p:sp>
        <p:sp>
          <p:nvSpPr>
            <p:cNvPr id="43" name="Freeform 16"/>
            <p:cNvSpPr>
              <a:spLocks noChangeAspect="1" noEditPoints="1"/>
            </p:cNvSpPr>
            <p:nvPr/>
          </p:nvSpPr>
          <p:spPr bwMode="auto">
            <a:xfrm>
              <a:off x="8784841" y="4694062"/>
              <a:ext cx="452354" cy="437895"/>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bg1"/>
            </a:solidFill>
            <a:ln>
              <a:noFill/>
            </a:ln>
            <a:extLst/>
          </p:spPr>
          <p:txBody>
            <a:bodyPr vert="horz" wrap="square" lIns="47604" tIns="23802" rIns="47604" bIns="23802" numCol="1" anchor="t" anchorCtr="0" compatLnSpc="1">
              <a:prstTxWarp prst="textNoShape">
                <a:avLst/>
              </a:prstTxWarp>
            </a:bodyPr>
            <a:lstStyle/>
            <a:p>
              <a:pPr defTabSz="485514">
                <a:defRPr/>
              </a:pPr>
              <a:endParaRPr lang="en-US" sz="1667" kern="0">
                <a:solidFill>
                  <a:srgbClr val="333333"/>
                </a:solidFill>
                <a:ea typeface="MS PGothic" panose="020B0600070205080204" pitchFamily="34" charset="-128"/>
              </a:endParaRPr>
            </a:p>
          </p:txBody>
        </p:sp>
        <p:grpSp>
          <p:nvGrpSpPr>
            <p:cNvPr id="44" name="Group 43"/>
            <p:cNvGrpSpPr/>
            <p:nvPr/>
          </p:nvGrpSpPr>
          <p:grpSpPr>
            <a:xfrm>
              <a:off x="7970606" y="5303904"/>
              <a:ext cx="291332" cy="475031"/>
              <a:chOff x="8597110" y="4718972"/>
              <a:chExt cx="361215" cy="561776"/>
            </a:xfrm>
            <a:solidFill>
              <a:schemeClr val="bg1"/>
            </a:solidFill>
          </p:grpSpPr>
          <p:sp>
            <p:nvSpPr>
              <p:cNvPr id="62"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grpFill/>
              <a:ln>
                <a:noFill/>
              </a:ln>
              <a:extLst/>
            </p:spPr>
            <p:txBody>
              <a:bodyPr vert="horz" wrap="square" lIns="47604" tIns="23802" rIns="47604" bIns="23802" numCol="1" anchor="t" anchorCtr="0" compatLnSpc="1">
                <a:prstTxWarp prst="textNoShape">
                  <a:avLst/>
                </a:prstTxWarp>
              </a:bodyPr>
              <a:lstStyle/>
              <a:p>
                <a:pPr defTabSz="485514">
                  <a:defRPr/>
                </a:pPr>
                <a:endParaRPr lang="en-US" sz="1667" kern="0">
                  <a:solidFill>
                    <a:srgbClr val="333333"/>
                  </a:solidFill>
                  <a:ea typeface="MS PGothic" panose="020B0600070205080204" pitchFamily="34" charset="-128"/>
                </a:endParaRPr>
              </a:p>
            </p:txBody>
          </p:sp>
          <p:sp>
            <p:nvSpPr>
              <p:cNvPr id="63"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grpFill/>
              <a:ln>
                <a:noFill/>
              </a:ln>
              <a:extLst/>
            </p:spPr>
            <p:txBody>
              <a:bodyPr vert="horz" wrap="square" lIns="47604" tIns="23802" rIns="47604" bIns="23802" numCol="1" anchor="t" anchorCtr="0" compatLnSpc="1">
                <a:prstTxWarp prst="textNoShape">
                  <a:avLst/>
                </a:prstTxWarp>
              </a:bodyPr>
              <a:lstStyle/>
              <a:p>
                <a:pPr defTabSz="485514">
                  <a:defRPr/>
                </a:pPr>
                <a:endParaRPr lang="en-US" sz="1667" kern="0">
                  <a:solidFill>
                    <a:srgbClr val="333333"/>
                  </a:solidFill>
                  <a:ea typeface="MS PGothic" panose="020B0600070205080204" pitchFamily="34" charset="-128"/>
                </a:endParaRPr>
              </a:p>
            </p:txBody>
          </p:sp>
          <p:sp>
            <p:nvSpPr>
              <p:cNvPr id="64"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grpFill/>
              <a:ln>
                <a:noFill/>
              </a:ln>
              <a:extLst/>
            </p:spPr>
            <p:txBody>
              <a:bodyPr vert="horz" wrap="square" lIns="47604" tIns="23802" rIns="47604" bIns="23802" numCol="1" anchor="t" anchorCtr="0" compatLnSpc="1">
                <a:prstTxWarp prst="textNoShape">
                  <a:avLst/>
                </a:prstTxWarp>
              </a:bodyPr>
              <a:lstStyle/>
              <a:p>
                <a:pPr defTabSz="485514">
                  <a:defRPr/>
                </a:pPr>
                <a:endParaRPr lang="en-US" sz="1667" kern="0">
                  <a:solidFill>
                    <a:srgbClr val="333333"/>
                  </a:solidFill>
                  <a:ea typeface="MS PGothic" panose="020B0600070205080204" pitchFamily="34" charset="-128"/>
                </a:endParaRPr>
              </a:p>
            </p:txBody>
          </p:sp>
        </p:grpSp>
        <p:grpSp>
          <p:nvGrpSpPr>
            <p:cNvPr id="45" name="Group 44"/>
            <p:cNvGrpSpPr/>
            <p:nvPr/>
          </p:nvGrpSpPr>
          <p:grpSpPr>
            <a:xfrm>
              <a:off x="8759551" y="5325018"/>
              <a:ext cx="571753" cy="426165"/>
              <a:chOff x="4746174" y="1443592"/>
              <a:chExt cx="4626425" cy="3905619"/>
            </a:xfrm>
            <a:solidFill>
              <a:schemeClr val="bg1"/>
            </a:solidFill>
          </p:grpSpPr>
          <p:grpSp>
            <p:nvGrpSpPr>
              <p:cNvPr id="48" name="Group 386"/>
              <p:cNvGrpSpPr>
                <a:grpSpLocks noChangeAspect="1"/>
              </p:cNvGrpSpPr>
              <p:nvPr/>
            </p:nvGrpSpPr>
            <p:grpSpPr bwMode="auto">
              <a:xfrm>
                <a:off x="4746174" y="2973316"/>
                <a:ext cx="1414644" cy="2318435"/>
                <a:chOff x="-1261" y="1888"/>
                <a:chExt cx="576" cy="944"/>
              </a:xfrm>
              <a:grpFill/>
            </p:grpSpPr>
            <p:sp>
              <p:nvSpPr>
                <p:cNvPr id="59"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w="9525">
                  <a:noFill/>
                  <a:round/>
                  <a:headEnd/>
                  <a:tailEnd/>
                </a:ln>
                <a:extLst/>
              </p:spPr>
              <p:txBody>
                <a:bodyPr vert="horz" wrap="square" lIns="47611" tIns="23806" rIns="47611" bIns="23806" numCol="1" anchor="t" anchorCtr="0" compatLnSpc="1">
                  <a:prstTxWarp prst="textNoShape">
                    <a:avLst/>
                  </a:prstTxWarp>
                </a:bodyPr>
                <a:lstStyle/>
                <a:p>
                  <a:pPr defTabSz="476039">
                    <a:defRPr/>
                  </a:pPr>
                  <a:endParaRPr lang="en-US" sz="1500" kern="0">
                    <a:solidFill>
                      <a:srgbClr val="FFFFFF"/>
                    </a:solidFill>
                    <a:ea typeface="MS PGothic" panose="020B0600070205080204" pitchFamily="34" charset="-128"/>
                  </a:endParaRPr>
                </a:p>
              </p:txBody>
            </p:sp>
            <p:sp>
              <p:nvSpPr>
                <p:cNvPr id="60"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w="9525">
                  <a:noFill/>
                  <a:round/>
                  <a:headEnd/>
                  <a:tailEnd/>
                </a:ln>
                <a:extLst/>
              </p:spPr>
              <p:txBody>
                <a:bodyPr vert="horz" wrap="square" lIns="47611" tIns="23806" rIns="47611" bIns="23806" numCol="1" anchor="t" anchorCtr="0" compatLnSpc="1">
                  <a:prstTxWarp prst="textNoShape">
                    <a:avLst/>
                  </a:prstTxWarp>
                </a:bodyPr>
                <a:lstStyle/>
                <a:p>
                  <a:pPr defTabSz="476039">
                    <a:defRPr/>
                  </a:pPr>
                  <a:endParaRPr lang="en-US" sz="1500" kern="0">
                    <a:solidFill>
                      <a:srgbClr val="FFFFFF"/>
                    </a:solidFill>
                    <a:ea typeface="MS PGothic" panose="020B0600070205080204" pitchFamily="34" charset="-128"/>
                  </a:endParaRPr>
                </a:p>
              </p:txBody>
            </p:sp>
            <p:sp>
              <p:nvSpPr>
                <p:cNvPr id="61"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rgbClr val="000000"/>
                  </a:solidFill>
                  <a:round/>
                  <a:headEnd/>
                  <a:tailEnd/>
                </a:ln>
                <a:extLst/>
              </p:spPr>
              <p:txBody>
                <a:bodyPr vert="horz" wrap="square" lIns="47611" tIns="23806" rIns="47611" bIns="23806" numCol="1" anchor="t" anchorCtr="0" compatLnSpc="1">
                  <a:prstTxWarp prst="textNoShape">
                    <a:avLst/>
                  </a:prstTxWarp>
                </a:bodyPr>
                <a:lstStyle/>
                <a:p>
                  <a:pPr defTabSz="476039">
                    <a:defRPr/>
                  </a:pPr>
                  <a:endParaRPr lang="en-US" sz="1500" kern="0">
                    <a:solidFill>
                      <a:srgbClr val="FFFFFF"/>
                    </a:solidFill>
                    <a:ea typeface="MS PGothic" panose="020B0600070205080204" pitchFamily="34" charset="-128"/>
                  </a:endParaRPr>
                </a:p>
              </p:txBody>
            </p:sp>
          </p:grpSp>
          <p:grpSp>
            <p:nvGrpSpPr>
              <p:cNvPr id="49" name="Group 48"/>
              <p:cNvGrpSpPr/>
              <p:nvPr/>
            </p:nvGrpSpPr>
            <p:grpSpPr>
              <a:xfrm>
                <a:off x="5345484" y="1443592"/>
                <a:ext cx="1381398" cy="1269128"/>
                <a:chOff x="5345480" y="1443592"/>
                <a:chExt cx="1381394" cy="1269128"/>
              </a:xfrm>
              <a:grpFill/>
            </p:grpSpPr>
            <p:sp>
              <p:nvSpPr>
                <p:cNvPr id="57" name="Bent Arrow 56"/>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95224" tIns="76178" rIns="95224" bIns="76178" numCol="1" spcCol="0" rtlCol="0" fromWordArt="0" anchor="t" anchorCtr="0" forceAA="0" compatLnSpc="1">
                  <a:prstTxWarp prst="textNoShape">
                    <a:avLst/>
                  </a:prstTxWarp>
                  <a:noAutofit/>
                </a:bodyPr>
                <a:lstStyle/>
                <a:p>
                  <a:pPr algn="ctr" defTabSz="485466">
                    <a:lnSpc>
                      <a:spcPct val="90000"/>
                    </a:lnSpc>
                    <a:defRPr/>
                  </a:pPr>
                  <a:endParaRPr lang="en-US" sz="233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Isosceles Triangle 57"/>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95224" tIns="76178" rIns="95224" bIns="76178" numCol="1" spcCol="0" rtlCol="0" fromWordArt="0" anchor="t" anchorCtr="0" forceAA="0" compatLnSpc="1">
                  <a:prstTxWarp prst="textNoShape">
                    <a:avLst/>
                  </a:prstTxWarp>
                  <a:noAutofit/>
                </a:bodyPr>
                <a:lstStyle/>
                <a:p>
                  <a:pPr algn="ctr" defTabSz="485466">
                    <a:lnSpc>
                      <a:spcPct val="90000"/>
                    </a:lnSpc>
                    <a:defRPr/>
                  </a:pPr>
                  <a:endParaRPr lang="en-US" sz="233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0" name="Group 49"/>
              <p:cNvGrpSpPr/>
              <p:nvPr/>
            </p:nvGrpSpPr>
            <p:grpSpPr>
              <a:xfrm rot="10800000">
                <a:off x="7049746" y="4080083"/>
                <a:ext cx="1381398" cy="1269128"/>
                <a:chOff x="5345480" y="1443592"/>
                <a:chExt cx="1381394" cy="1269128"/>
              </a:xfrm>
              <a:grpFill/>
            </p:grpSpPr>
            <p:sp>
              <p:nvSpPr>
                <p:cNvPr id="55" name="Bent Arrow 54"/>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95224" tIns="76178" rIns="95224" bIns="76178" numCol="1" spcCol="0" rtlCol="0" fromWordArt="0" anchor="t" anchorCtr="0" forceAA="0" compatLnSpc="1">
                  <a:prstTxWarp prst="textNoShape">
                    <a:avLst/>
                  </a:prstTxWarp>
                  <a:noAutofit/>
                </a:bodyPr>
                <a:lstStyle/>
                <a:p>
                  <a:pPr algn="ctr" defTabSz="485466">
                    <a:lnSpc>
                      <a:spcPct val="90000"/>
                    </a:lnSpc>
                    <a:defRPr/>
                  </a:pPr>
                  <a:endParaRPr lang="en-US" sz="233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Isosceles Triangle 55"/>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95224" tIns="76178" rIns="95224" bIns="76178" numCol="1" spcCol="0" rtlCol="0" fromWordArt="0" anchor="t" anchorCtr="0" forceAA="0" compatLnSpc="1">
                  <a:prstTxWarp prst="textNoShape">
                    <a:avLst/>
                  </a:prstTxWarp>
                  <a:noAutofit/>
                </a:bodyPr>
                <a:lstStyle/>
                <a:p>
                  <a:pPr algn="ctr" defTabSz="485466">
                    <a:lnSpc>
                      <a:spcPct val="90000"/>
                    </a:lnSpc>
                    <a:defRPr/>
                  </a:pPr>
                  <a:endParaRPr lang="en-US" sz="2333"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1" name="Freeform 50"/>
              <p:cNvSpPr/>
              <p:nvPr/>
            </p:nvSpPr>
            <p:spPr bwMode="auto">
              <a:xfrm>
                <a:off x="7275185" y="1443592"/>
                <a:ext cx="2097414" cy="2549285"/>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5224" tIns="76178" rIns="95224" bIns="76178" numCol="1" spcCol="0" rtlCol="0" fromWordArt="0" anchor="t" anchorCtr="0" forceAA="0" compatLnSpc="1">
                <a:prstTxWarp prst="textNoShape">
                  <a:avLst/>
                </a:prstTxWarp>
                <a:noAutofit/>
              </a:bodyPr>
              <a:lstStyle/>
              <a:p>
                <a:pPr algn="ctr" defTabSz="485466">
                  <a:lnSpc>
                    <a:spcPct val="90000"/>
                  </a:lnSpc>
                  <a:defRPr/>
                </a:pPr>
                <a:endParaRPr lang="en-US" sz="233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7711440" y="1981203"/>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5224" tIns="76178" rIns="95224" bIns="76178" numCol="1" spcCol="0" rtlCol="0" fromWordArt="0" anchor="t" anchorCtr="0" forceAA="0" compatLnSpc="1">
                <a:prstTxWarp prst="textNoShape">
                  <a:avLst/>
                </a:prstTxWarp>
                <a:noAutofit/>
              </a:bodyPr>
              <a:lstStyle/>
              <a:p>
                <a:pPr algn="ctr" defTabSz="485466">
                  <a:lnSpc>
                    <a:spcPct val="90000"/>
                  </a:lnSpc>
                  <a:defRPr/>
                </a:pPr>
                <a:endParaRPr lang="en-US" sz="233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7711440" y="2518225"/>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5224" tIns="76178" rIns="95224" bIns="76178" numCol="1" spcCol="0" rtlCol="0" fromWordArt="0" anchor="t" anchorCtr="0" forceAA="0" compatLnSpc="1">
                <a:prstTxWarp prst="textNoShape">
                  <a:avLst/>
                </a:prstTxWarp>
                <a:noAutofit/>
              </a:bodyPr>
              <a:lstStyle/>
              <a:p>
                <a:pPr algn="ctr" defTabSz="485466">
                  <a:lnSpc>
                    <a:spcPct val="90000"/>
                  </a:lnSpc>
                  <a:defRPr/>
                </a:pPr>
                <a:endParaRPr lang="en-US" sz="233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7711440" y="3055247"/>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5224" tIns="76178" rIns="95224" bIns="76178" numCol="1" spcCol="0" rtlCol="0" fromWordArt="0" anchor="t" anchorCtr="0" forceAA="0" compatLnSpc="1">
                <a:prstTxWarp prst="textNoShape">
                  <a:avLst/>
                </a:prstTxWarp>
                <a:noAutofit/>
              </a:bodyPr>
              <a:lstStyle/>
              <a:p>
                <a:pPr algn="ctr" defTabSz="485466">
                  <a:lnSpc>
                    <a:spcPct val="90000"/>
                  </a:lnSpc>
                  <a:defRPr/>
                </a:pPr>
                <a:endParaRPr lang="en-US" sz="2333"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6" name="TextBox 45"/>
            <p:cNvSpPr txBox="1"/>
            <p:nvPr/>
          </p:nvSpPr>
          <p:spPr>
            <a:xfrm>
              <a:off x="6068519" y="4046060"/>
              <a:ext cx="1732433" cy="458587"/>
            </a:xfrm>
            <a:prstGeom prst="rect">
              <a:avLst/>
            </a:prstGeom>
            <a:noFill/>
            <a:ln>
              <a:noFill/>
            </a:ln>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kern="0" cap="none" spc="0" normalizeH="0" baseline="0">
                  <a:ln>
                    <a:noFill/>
                  </a:ln>
                  <a:solidFill>
                    <a:prstClr val="white"/>
                  </a:solidFill>
                  <a:effectLst/>
                  <a:uLnTx/>
                  <a:uFillTx/>
                  <a:latin typeface="Segoe UI Semibold" panose="020B0702040204020203" pitchFamily="34" charset="0"/>
                  <a:cs typeface="Segoe UI Semibold" panose="020B0702040204020203" pitchFamily="34" charset="0"/>
                </a:defRPr>
              </a:lvl1pPr>
            </a:lstStyle>
            <a:p>
              <a:r>
                <a:rPr lang="en-US" sz="2333" dirty="0"/>
                <a:t>ADL Store</a:t>
              </a:r>
              <a:endParaRPr lang="en-US" sz="2666" dirty="0"/>
            </a:p>
          </p:txBody>
        </p:sp>
        <p:sp>
          <p:nvSpPr>
            <p:cNvPr id="47" name="TextBox 46"/>
            <p:cNvSpPr txBox="1"/>
            <p:nvPr/>
          </p:nvSpPr>
          <p:spPr>
            <a:xfrm>
              <a:off x="7079691" y="1942923"/>
              <a:ext cx="2741186" cy="388795"/>
            </a:xfrm>
            <a:prstGeom prst="rect">
              <a:avLst/>
            </a:prstGeom>
            <a:noFill/>
            <a:ln>
              <a:noFill/>
            </a:ln>
          </p:spPr>
          <p:txBody>
            <a:bodyPr wrap="square" rtlCol="0">
              <a:spAutoFit/>
            </a:bodyPr>
            <a:lstStyle/>
            <a:p>
              <a:pPr algn="ctr" defTabSz="476149">
                <a:defRPr/>
              </a:pPr>
              <a:r>
                <a:rPr lang="en-US" sz="2000" b="1" kern="0" dirty="0">
                  <a:solidFill>
                    <a:prstClr val="white"/>
                  </a:solidFill>
                  <a:latin typeface="+mj-lt"/>
                </a:rPr>
                <a:t>Hive | Spark | Storm</a:t>
              </a:r>
            </a:p>
          </p:txBody>
        </p:sp>
      </p:grpSp>
      <p:sp>
        <p:nvSpPr>
          <p:cNvPr id="90" name="Rectangle 89"/>
          <p:cNvSpPr/>
          <p:nvPr/>
        </p:nvSpPr>
        <p:spPr>
          <a:xfrm>
            <a:off x="340941" y="3407644"/>
            <a:ext cx="1177630" cy="369332"/>
          </a:xfrm>
          <a:prstGeom prst="rect">
            <a:avLst/>
          </a:prstGeom>
        </p:spPr>
        <p:txBody>
          <a:bodyPr wrap="none">
            <a:spAutoFit/>
          </a:bodyPr>
          <a:lstStyle/>
          <a:p>
            <a:pPr algn="r">
              <a:defRPr/>
            </a:pPr>
            <a:r>
              <a:rPr lang="en-US" b="1" dirty="0">
                <a:solidFill>
                  <a:schemeClr val="bg1"/>
                </a:solidFill>
              </a:rPr>
              <a:t>Compute</a:t>
            </a:r>
          </a:p>
        </p:txBody>
      </p:sp>
      <p:sp>
        <p:nvSpPr>
          <p:cNvPr id="91" name="Rectangle 90"/>
          <p:cNvSpPr/>
          <p:nvPr/>
        </p:nvSpPr>
        <p:spPr>
          <a:xfrm>
            <a:off x="397588" y="4109987"/>
            <a:ext cx="691215" cy="369332"/>
          </a:xfrm>
          <a:prstGeom prst="rect">
            <a:avLst/>
          </a:prstGeom>
        </p:spPr>
        <p:txBody>
          <a:bodyPr wrap="none">
            <a:spAutoFit/>
          </a:bodyPr>
          <a:lstStyle/>
          <a:p>
            <a:pPr algn="r"/>
            <a:r>
              <a:rPr lang="en-US" b="1" dirty="0">
                <a:solidFill>
                  <a:schemeClr val="bg1"/>
                </a:solidFill>
              </a:rPr>
              <a:t>Data</a:t>
            </a:r>
          </a:p>
        </p:txBody>
      </p:sp>
    </p:spTree>
    <p:extLst>
      <p:ext uri="{BB962C8B-B14F-4D97-AF65-F5344CB8AC3E}">
        <p14:creationId xmlns:p14="http://schemas.microsoft.com/office/powerpoint/2010/main" val="13334077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1000" y="79214"/>
            <a:ext cx="10962861" cy="1325563"/>
          </a:xfrm>
        </p:spPr>
        <p:txBody>
          <a:bodyPr/>
          <a:lstStyle/>
          <a:p>
            <a:r>
              <a:rPr lang="en-US" dirty="0">
                <a:solidFill>
                  <a:srgbClr val="0070C0"/>
                </a:solidFill>
              </a:rPr>
              <a:t>ADL Store offers massive throughput</a:t>
            </a:r>
          </a:p>
        </p:txBody>
      </p:sp>
      <p:sp>
        <p:nvSpPr>
          <p:cNvPr id="12" name="Rectangle 11"/>
          <p:cNvSpPr/>
          <p:nvPr/>
        </p:nvSpPr>
        <p:spPr bwMode="auto">
          <a:xfrm>
            <a:off x="0" y="1282063"/>
            <a:ext cx="12192000" cy="4858855"/>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0" rIns="5760720" bIns="91440" numCol="1" spcCol="0" rtlCol="0" fromWordArt="0" anchor="t" anchorCtr="0" forceAA="0" compatLnSpc="1">
            <a:prstTxWarp prst="textNoShape">
              <a:avLst/>
            </a:prstTxWarp>
            <a:noAutofit/>
          </a:bodyPr>
          <a:lstStyle/>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3"/>
              </a:buBlip>
              <a:tabLst>
                <a:tab pos="658368" algn="l"/>
              </a:tabLst>
              <a:defRPr/>
            </a:pPr>
            <a:endParaRPr kumimoji="0" lang="en-GB" sz="2200" b="0" i="0" u="none" strike="noStrike" kern="0" cap="none" spc="0" normalizeH="0" baseline="0" noProof="0" dirty="0">
              <a:ln>
                <a:noFill/>
              </a:ln>
              <a:solidFill>
                <a:srgbClr val="505050"/>
              </a:solidFill>
              <a:effectLst/>
              <a:uLnTx/>
              <a:uFillTx/>
              <a:ea typeface="Segoe UI" pitchFamily="34" charset="0"/>
              <a:cs typeface="Segoe UI" pitchFamily="34" charset="0"/>
            </a:endParaRPr>
          </a:p>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3"/>
              </a:buBlip>
              <a:tabLst>
                <a:tab pos="658368" algn="l"/>
              </a:tabLst>
              <a:defRPr/>
            </a:pPr>
            <a:r>
              <a:rPr kumimoji="0" lang="en-GB" sz="2200" b="0" i="0" u="none" strike="noStrike" kern="0" cap="none" spc="0" normalizeH="0" baseline="0" noProof="0" dirty="0">
                <a:ln>
                  <a:noFill/>
                </a:ln>
                <a:solidFill>
                  <a:srgbClr val="505050"/>
                </a:solidFill>
                <a:effectLst/>
                <a:uLnTx/>
                <a:uFillTx/>
                <a:ea typeface="Segoe UI" pitchFamily="34" charset="0"/>
                <a:cs typeface="Segoe UI" pitchFamily="34" charset="0"/>
              </a:rPr>
              <a:t>Through read parallelism ADL Store provides massive throughput</a:t>
            </a:r>
          </a:p>
          <a:p>
            <a:pPr marL="347472" marR="0" lvl="0" indent="-292608" defTabSz="914400" eaLnBrk="1" fontAlgn="base" latinLnBrk="0" hangingPunct="1">
              <a:lnSpc>
                <a:spcPct val="100000"/>
              </a:lnSpc>
              <a:spcBef>
                <a:spcPts val="600"/>
              </a:spcBef>
              <a:spcAft>
                <a:spcPts val="600"/>
              </a:spcAft>
              <a:buClr>
                <a:srgbClr val="50B347"/>
              </a:buClr>
              <a:buSzPct val="100000"/>
              <a:buFontTx/>
              <a:buBlip>
                <a:blip r:embed="rId3"/>
              </a:buBlip>
              <a:tabLst>
                <a:tab pos="658368" algn="l"/>
              </a:tabLst>
              <a:defRPr/>
            </a:pPr>
            <a:r>
              <a:rPr kumimoji="0" lang="en-GB" sz="2200" b="0" i="0" u="none" strike="noStrike" kern="0" cap="none" spc="0" normalizeH="0" baseline="0" noProof="0" dirty="0">
                <a:ln>
                  <a:noFill/>
                </a:ln>
                <a:solidFill>
                  <a:srgbClr val="505050"/>
                </a:solidFill>
                <a:effectLst/>
                <a:uLnTx/>
                <a:uFillTx/>
                <a:ea typeface="Segoe UI" pitchFamily="34" charset="0"/>
                <a:cs typeface="Segoe UI" pitchFamily="34" charset="0"/>
              </a:rPr>
              <a:t>Each read operation on a ADL Store file results in multiple read operations executed in parallel against the backend storage data nodes</a:t>
            </a:r>
          </a:p>
          <a:p>
            <a:pPr marL="54864" marR="0" lvl="0" indent="0" defTabSz="914400" eaLnBrk="1" fontAlgn="base" latinLnBrk="0" hangingPunct="1">
              <a:lnSpc>
                <a:spcPct val="100000"/>
              </a:lnSpc>
              <a:spcBef>
                <a:spcPts val="600"/>
              </a:spcBef>
              <a:spcAft>
                <a:spcPts val="600"/>
              </a:spcAft>
              <a:buClr>
                <a:srgbClr val="50B347"/>
              </a:buClr>
              <a:buSzPct val="100000"/>
              <a:buFontTx/>
              <a:buNone/>
              <a:tabLst>
                <a:tab pos="658368" algn="l"/>
              </a:tabLst>
              <a:defRPr/>
            </a:pPr>
            <a:endParaRPr kumimoji="0" lang="en-GB" sz="2200" b="0" i="0" u="none" strike="noStrike" kern="0" cap="none" spc="0" normalizeH="0" baseline="0" noProof="0" dirty="0">
              <a:ln>
                <a:noFill/>
              </a:ln>
              <a:solidFill>
                <a:srgbClr val="505050"/>
              </a:solidFill>
              <a:effectLst/>
              <a:uLnTx/>
              <a:uFillTx/>
              <a:ea typeface="Segoe UI" pitchFamily="34" charset="0"/>
              <a:cs typeface="Segoe UI" pitchFamily="34" charset="0"/>
            </a:endParaRPr>
          </a:p>
        </p:txBody>
      </p:sp>
      <p:cxnSp>
        <p:nvCxnSpPr>
          <p:cNvPr id="52" name="Straight Connector 51"/>
          <p:cNvCxnSpPr>
            <a:endCxn id="69" idx="0"/>
          </p:cNvCxnSpPr>
          <p:nvPr/>
        </p:nvCxnSpPr>
        <p:spPr>
          <a:xfrm>
            <a:off x="8946082" y="1879391"/>
            <a:ext cx="0" cy="372196"/>
          </a:xfrm>
          <a:prstGeom prst="line">
            <a:avLst/>
          </a:prstGeom>
          <a:ln w="19050">
            <a:solidFill>
              <a:schemeClr val="bg1">
                <a:lumMod val="50000"/>
              </a:schemeClr>
            </a:solidFill>
            <a:headEnd type="none"/>
            <a:tailEnd type="triangle" w="lg" len="med"/>
          </a:ln>
        </p:spPr>
        <p:style>
          <a:lnRef idx="3">
            <a:schemeClr val="dk1"/>
          </a:lnRef>
          <a:fillRef idx="0">
            <a:schemeClr val="dk1"/>
          </a:fillRef>
          <a:effectRef idx="2">
            <a:schemeClr val="dk1"/>
          </a:effectRef>
          <a:fontRef idx="minor">
            <a:schemeClr val="tx1"/>
          </a:fontRef>
        </p:style>
      </p:cxnSp>
      <p:sp>
        <p:nvSpPr>
          <p:cNvPr id="68" name="TextBox 67"/>
          <p:cNvSpPr txBox="1"/>
          <p:nvPr/>
        </p:nvSpPr>
        <p:spPr>
          <a:xfrm>
            <a:off x="7984417" y="1527491"/>
            <a:ext cx="1923330" cy="2769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tx2"/>
                </a:solidFill>
                <a:effectLst/>
                <a:uLnTx/>
                <a:uFillTx/>
              </a:rPr>
              <a:t>Read operation</a:t>
            </a:r>
          </a:p>
        </p:txBody>
      </p:sp>
      <p:grpSp>
        <p:nvGrpSpPr>
          <p:cNvPr id="74" name="Group 73"/>
          <p:cNvGrpSpPr/>
          <p:nvPr/>
        </p:nvGrpSpPr>
        <p:grpSpPr>
          <a:xfrm>
            <a:off x="7176390" y="2251587"/>
            <a:ext cx="3539384" cy="1071716"/>
            <a:chOff x="7176390" y="2251587"/>
            <a:chExt cx="3539384" cy="1071716"/>
          </a:xfrm>
        </p:grpSpPr>
        <p:sp>
          <p:nvSpPr>
            <p:cNvPr id="76" name="Rectangle 75"/>
            <p:cNvSpPr/>
            <p:nvPr/>
          </p:nvSpPr>
          <p:spPr bwMode="auto">
            <a:xfrm>
              <a:off x="7176390" y="2251587"/>
              <a:ext cx="3539384" cy="1071716"/>
            </a:xfrm>
            <a:prstGeom prst="rect">
              <a:avLst/>
            </a:prstGeom>
            <a:solidFill>
              <a:schemeClr val="accent1"/>
            </a:solidFill>
            <a:ln w="3175" cap="flat" cmpd="sng" algn="ctr">
              <a:noFill/>
              <a:prstDash val="soli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1"/>
                  </a:solidFill>
                  <a:effectLst/>
                  <a:uLnTx/>
                  <a:uFillTx/>
                </a:rPr>
                <a:t>Azure Data Lake Store file</a:t>
              </a:r>
            </a:p>
          </p:txBody>
        </p:sp>
        <p:sp>
          <p:nvSpPr>
            <p:cNvPr id="78" name="TextBox 77"/>
            <p:cNvSpPr txBox="1"/>
            <p:nvPr/>
          </p:nvSpPr>
          <p:spPr>
            <a:xfrm>
              <a:off x="9433326" y="2894176"/>
              <a:ext cx="94578" cy="153964"/>
            </a:xfrm>
            <a:prstGeom prst="rect">
              <a:avLst/>
            </a:prstGeom>
            <a:noFill/>
            <a:ln>
              <a:noFill/>
            </a:ln>
          </p:spPr>
          <p:txBody>
            <a:bodyPr wrap="none" lIns="0" tIns="0" rIns="0" bIns="0" rtlCol="0">
              <a:noAutofit/>
            </a:bodyPr>
            <a:lstStyle/>
            <a:p>
              <a:pPr marL="0" marR="0" lvl="0" indent="0" defTabSz="932742"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solidFill>
                    <a:srgbClr val="FFFFFF"/>
                  </a:solidFill>
                  <a:effectLst/>
                  <a:uLnTx/>
                  <a:uFillTx/>
                </a:rPr>
                <a:t>…</a:t>
              </a:r>
            </a:p>
          </p:txBody>
        </p:sp>
        <p:grpSp>
          <p:nvGrpSpPr>
            <p:cNvPr id="79" name="Group 78"/>
            <p:cNvGrpSpPr/>
            <p:nvPr/>
          </p:nvGrpSpPr>
          <p:grpSpPr>
            <a:xfrm>
              <a:off x="7323223" y="2668529"/>
              <a:ext cx="813348" cy="585287"/>
              <a:chOff x="7230343" y="2865889"/>
              <a:chExt cx="565425" cy="406881"/>
            </a:xfrm>
          </p:grpSpPr>
          <p:pic>
            <p:nvPicPr>
              <p:cNvPr id="93" name="Picture 2" descr="\\MAGNUM\Projects\Microsoft\Cloud Power FY12\Design\ICONS_PNG\Server.png"/>
              <p:cNvPicPr>
                <a:picLocks noChangeAspect="1" noChangeArrowheads="1"/>
              </p:cNvPicPr>
              <p:nvPr/>
            </p:nvPicPr>
            <p:blipFill rotWithShape="1">
              <a:blip r:embed="rId4" cstate="print">
                <a:lum bright="100000"/>
              </a:blip>
              <a:srcRect l="19080" t="53857" r="18421" b="10243"/>
              <a:stretch/>
            </p:blipFill>
            <p:spPr bwMode="auto">
              <a:xfrm>
                <a:off x="7230343" y="2947987"/>
                <a:ext cx="565425" cy="324783"/>
              </a:xfrm>
              <a:prstGeom prst="rect">
                <a:avLst/>
              </a:prstGeom>
              <a:noFill/>
            </p:spPr>
          </p:pic>
          <p:sp>
            <p:nvSpPr>
              <p:cNvPr id="94" name="Rectangle 93"/>
              <p:cNvSpPr/>
              <p:nvPr/>
            </p:nvSpPr>
            <p:spPr>
              <a:xfrm>
                <a:off x="7261486" y="3017337"/>
                <a:ext cx="425309" cy="137348"/>
              </a:xfrm>
              <a:prstGeom prst="rect">
                <a:avLst/>
              </a:prstGeom>
              <a:solidFill>
                <a:schemeClr val="bg1"/>
              </a:solidFill>
            </p:spPr>
            <p:txBody>
              <a:bodyPr wrap="square" lIns="0" tIns="0" rIns="0" bIns="0">
                <a:noAutofit/>
              </a:bodyPr>
              <a:lstStyle/>
              <a:p>
                <a:pPr marL="0" marR="0" lvl="0" indent="0" algn="ctr" defTabSz="932742" eaLnBrk="1" fontAlgn="auto" latinLnBrk="0" hangingPunct="1">
                  <a:lnSpc>
                    <a:spcPct val="90000"/>
                  </a:lnSpc>
                  <a:spcBef>
                    <a:spcPts val="0"/>
                  </a:spcBef>
                  <a:spcAft>
                    <a:spcPts val="600"/>
                  </a:spcAft>
                  <a:buClrTx/>
                  <a:buSzTx/>
                  <a:buFontTx/>
                  <a:buNone/>
                  <a:tabLst/>
                  <a:defRPr/>
                </a:pPr>
                <a:r>
                  <a:rPr kumimoji="0" lang="en-US" sz="900" b="0" i="0" u="none" strike="noStrike" kern="0" cap="none" spc="0" normalizeH="0" baseline="0" noProof="0" dirty="0">
                    <a:ln>
                      <a:noFill/>
                    </a:ln>
                    <a:solidFill>
                      <a:schemeClr val="tx2"/>
                    </a:solidFill>
                    <a:effectLst/>
                    <a:uLnTx/>
                    <a:uFillTx/>
                    <a:ea typeface="Arial Unicode MS" panose="020B0604020202020204" pitchFamily="34" charset="-128"/>
                    <a:cs typeface="Arial Unicode MS" panose="020B0604020202020204" pitchFamily="34" charset="-128"/>
                  </a:rPr>
                  <a:t>Block 1 </a:t>
                </a:r>
              </a:p>
            </p:txBody>
          </p:sp>
          <p:pic>
            <p:nvPicPr>
              <p:cNvPr id="95" name="Picture 2" descr="\\MAGNUM\Projects\Microsoft\Cloud Power FY12\Design\ICONS_PNG\Server.png"/>
              <p:cNvPicPr>
                <a:picLocks noChangeArrowheads="1"/>
              </p:cNvPicPr>
              <p:nvPr/>
            </p:nvPicPr>
            <p:blipFill rotWithShape="1">
              <a:blip r:embed="rId4" cstate="print">
                <a:lum bright="100000"/>
              </a:blip>
              <a:srcRect l="19080" t="11111" r="18421" b="73453"/>
              <a:stretch/>
            </p:blipFill>
            <p:spPr bwMode="auto">
              <a:xfrm>
                <a:off x="7235105" y="2865889"/>
                <a:ext cx="557784" cy="135502"/>
              </a:xfrm>
              <a:prstGeom prst="rect">
                <a:avLst/>
              </a:prstGeom>
              <a:noFill/>
            </p:spPr>
          </p:pic>
        </p:grpSp>
        <p:grpSp>
          <p:nvGrpSpPr>
            <p:cNvPr id="81" name="Group 80"/>
            <p:cNvGrpSpPr/>
            <p:nvPr/>
          </p:nvGrpSpPr>
          <p:grpSpPr>
            <a:xfrm>
              <a:off x="8368499" y="2668529"/>
              <a:ext cx="813348" cy="585287"/>
              <a:chOff x="7230343" y="2865889"/>
              <a:chExt cx="565425" cy="406881"/>
            </a:xfrm>
          </p:grpSpPr>
          <p:pic>
            <p:nvPicPr>
              <p:cNvPr id="86" name="Picture 2" descr="\\MAGNUM\Projects\Microsoft\Cloud Power FY12\Design\ICONS_PNG\Server.png"/>
              <p:cNvPicPr>
                <a:picLocks noChangeAspect="1" noChangeArrowheads="1"/>
              </p:cNvPicPr>
              <p:nvPr/>
            </p:nvPicPr>
            <p:blipFill rotWithShape="1">
              <a:blip r:embed="rId4" cstate="print">
                <a:lum bright="100000"/>
              </a:blip>
              <a:srcRect l="19080" t="53857" r="18421" b="10243"/>
              <a:stretch/>
            </p:blipFill>
            <p:spPr bwMode="auto">
              <a:xfrm>
                <a:off x="7230343" y="2947987"/>
                <a:ext cx="565425" cy="324783"/>
              </a:xfrm>
              <a:prstGeom prst="rect">
                <a:avLst/>
              </a:prstGeom>
              <a:noFill/>
            </p:spPr>
          </p:pic>
          <p:sp>
            <p:nvSpPr>
              <p:cNvPr id="90" name="Rectangle 89"/>
              <p:cNvSpPr/>
              <p:nvPr/>
            </p:nvSpPr>
            <p:spPr>
              <a:xfrm>
                <a:off x="7261486" y="3017338"/>
                <a:ext cx="425309" cy="137348"/>
              </a:xfrm>
              <a:prstGeom prst="rect">
                <a:avLst/>
              </a:prstGeom>
              <a:solidFill>
                <a:schemeClr val="bg1"/>
              </a:solidFill>
            </p:spPr>
            <p:txBody>
              <a:bodyPr wrap="square" lIns="0" tIns="0" rIns="0" bIns="0">
                <a:noAutofit/>
              </a:bodyPr>
              <a:lstStyle/>
              <a:p>
                <a:pPr marL="0" marR="0" lvl="0" indent="0" algn="ctr" defTabSz="932742" eaLnBrk="1" fontAlgn="auto" latinLnBrk="0" hangingPunct="1">
                  <a:lnSpc>
                    <a:spcPct val="90000"/>
                  </a:lnSpc>
                  <a:spcBef>
                    <a:spcPts val="0"/>
                  </a:spcBef>
                  <a:spcAft>
                    <a:spcPts val="600"/>
                  </a:spcAft>
                  <a:buClrTx/>
                  <a:buSzTx/>
                  <a:buFontTx/>
                  <a:buNone/>
                  <a:tabLst/>
                  <a:defRPr/>
                </a:pPr>
                <a:r>
                  <a:rPr kumimoji="0" lang="en-US" sz="900" b="0" i="0" u="none" strike="noStrike" kern="0" cap="none" spc="0" normalizeH="0" baseline="0" noProof="0" dirty="0">
                    <a:ln>
                      <a:noFill/>
                    </a:ln>
                    <a:solidFill>
                      <a:schemeClr val="tx2"/>
                    </a:solidFill>
                    <a:effectLst/>
                    <a:uLnTx/>
                    <a:uFillTx/>
                    <a:ea typeface="Arial Unicode MS" panose="020B0604020202020204" pitchFamily="34" charset="-128"/>
                    <a:cs typeface="Arial Unicode MS" panose="020B0604020202020204" pitchFamily="34" charset="-128"/>
                  </a:rPr>
                  <a:t>Block 2 </a:t>
                </a:r>
              </a:p>
            </p:txBody>
          </p:sp>
          <p:pic>
            <p:nvPicPr>
              <p:cNvPr id="91" name="Picture 2" descr="\\MAGNUM\Projects\Microsoft\Cloud Power FY12\Design\ICONS_PNG\Server.png"/>
              <p:cNvPicPr>
                <a:picLocks noChangeArrowheads="1"/>
              </p:cNvPicPr>
              <p:nvPr/>
            </p:nvPicPr>
            <p:blipFill rotWithShape="1">
              <a:blip r:embed="rId4" cstate="print">
                <a:lum bright="100000"/>
              </a:blip>
              <a:srcRect l="19080" t="11111" r="18421" b="73453"/>
              <a:stretch/>
            </p:blipFill>
            <p:spPr bwMode="auto">
              <a:xfrm>
                <a:off x="7235107" y="2865889"/>
                <a:ext cx="557784" cy="135502"/>
              </a:xfrm>
              <a:prstGeom prst="rect">
                <a:avLst/>
              </a:prstGeom>
              <a:noFill/>
            </p:spPr>
          </p:pic>
        </p:grpSp>
        <p:grpSp>
          <p:nvGrpSpPr>
            <p:cNvPr id="82" name="Group 81"/>
            <p:cNvGrpSpPr/>
            <p:nvPr/>
          </p:nvGrpSpPr>
          <p:grpSpPr>
            <a:xfrm>
              <a:off x="9715165" y="2668529"/>
              <a:ext cx="813348" cy="585287"/>
              <a:chOff x="7230343" y="2865889"/>
              <a:chExt cx="565425" cy="406881"/>
            </a:xfrm>
          </p:grpSpPr>
          <p:pic>
            <p:nvPicPr>
              <p:cNvPr id="83" name="Picture 2" descr="\\MAGNUM\Projects\Microsoft\Cloud Power FY12\Design\ICONS_PNG\Server.png"/>
              <p:cNvPicPr>
                <a:picLocks noChangeAspect="1" noChangeArrowheads="1"/>
              </p:cNvPicPr>
              <p:nvPr/>
            </p:nvPicPr>
            <p:blipFill rotWithShape="1">
              <a:blip r:embed="rId4" cstate="print">
                <a:lum bright="100000"/>
              </a:blip>
              <a:srcRect l="19080" t="53857" r="18421" b="10243"/>
              <a:stretch/>
            </p:blipFill>
            <p:spPr bwMode="auto">
              <a:xfrm>
                <a:off x="7230343" y="2947987"/>
                <a:ext cx="565425" cy="324783"/>
              </a:xfrm>
              <a:prstGeom prst="rect">
                <a:avLst/>
              </a:prstGeom>
              <a:noFill/>
            </p:spPr>
          </p:pic>
          <p:sp>
            <p:nvSpPr>
              <p:cNvPr id="84" name="Rectangle 83"/>
              <p:cNvSpPr/>
              <p:nvPr/>
            </p:nvSpPr>
            <p:spPr>
              <a:xfrm>
                <a:off x="7261486" y="3017338"/>
                <a:ext cx="425309" cy="137348"/>
              </a:xfrm>
              <a:prstGeom prst="rect">
                <a:avLst/>
              </a:prstGeom>
              <a:solidFill>
                <a:schemeClr val="bg1"/>
              </a:solidFill>
            </p:spPr>
            <p:txBody>
              <a:bodyPr wrap="square" lIns="0" tIns="0" rIns="0" bIns="0">
                <a:noAutofit/>
              </a:bodyPr>
              <a:lstStyle/>
              <a:p>
                <a:pPr marL="0" marR="0" lvl="0" indent="0" algn="ctr" defTabSz="932742" eaLnBrk="1" fontAlgn="auto" latinLnBrk="0" hangingPunct="1">
                  <a:lnSpc>
                    <a:spcPct val="90000"/>
                  </a:lnSpc>
                  <a:spcBef>
                    <a:spcPts val="0"/>
                  </a:spcBef>
                  <a:spcAft>
                    <a:spcPts val="600"/>
                  </a:spcAft>
                  <a:buClrTx/>
                  <a:buSzTx/>
                  <a:buFontTx/>
                  <a:buNone/>
                  <a:tabLst/>
                  <a:defRPr/>
                </a:pPr>
                <a:r>
                  <a:rPr kumimoji="0" lang="en-US" sz="900" b="0" i="0" u="none" strike="noStrike" kern="0" cap="none" spc="0" normalizeH="0" baseline="0" noProof="0" dirty="0">
                    <a:ln>
                      <a:noFill/>
                    </a:ln>
                    <a:solidFill>
                      <a:schemeClr val="tx2"/>
                    </a:solidFill>
                    <a:effectLst/>
                    <a:uLnTx/>
                    <a:uFillTx/>
                    <a:ea typeface="Arial Unicode MS" panose="020B0604020202020204" pitchFamily="34" charset="-128"/>
                    <a:cs typeface="Arial Unicode MS" panose="020B0604020202020204" pitchFamily="34" charset="-128"/>
                  </a:rPr>
                  <a:t>Block 2 </a:t>
                </a:r>
              </a:p>
            </p:txBody>
          </p:sp>
          <p:pic>
            <p:nvPicPr>
              <p:cNvPr id="85" name="Picture 2" descr="\\MAGNUM\Projects\Microsoft\Cloud Power FY12\Design\ICONS_PNG\Server.png"/>
              <p:cNvPicPr>
                <a:picLocks noChangeArrowheads="1"/>
              </p:cNvPicPr>
              <p:nvPr/>
            </p:nvPicPr>
            <p:blipFill rotWithShape="1">
              <a:blip r:embed="rId4" cstate="print">
                <a:lum bright="100000"/>
              </a:blip>
              <a:srcRect l="19080" t="11111" r="18421" b="73453"/>
              <a:stretch/>
            </p:blipFill>
            <p:spPr bwMode="auto">
              <a:xfrm>
                <a:off x="7235105" y="2865889"/>
                <a:ext cx="557784" cy="135502"/>
              </a:xfrm>
              <a:prstGeom prst="rect">
                <a:avLst/>
              </a:prstGeom>
              <a:noFill/>
            </p:spPr>
          </p:pic>
        </p:grpSp>
      </p:grpSp>
      <p:grpSp>
        <p:nvGrpSpPr>
          <p:cNvPr id="96" name="Group 95"/>
          <p:cNvGrpSpPr/>
          <p:nvPr/>
        </p:nvGrpSpPr>
        <p:grpSpPr>
          <a:xfrm>
            <a:off x="6243858" y="3755923"/>
            <a:ext cx="5404449" cy="1605912"/>
            <a:chOff x="6243858" y="3755923"/>
            <a:chExt cx="5404449" cy="1605912"/>
          </a:xfrm>
        </p:grpSpPr>
        <p:sp>
          <p:nvSpPr>
            <p:cNvPr id="97" name="Rectangle 96"/>
            <p:cNvSpPr/>
            <p:nvPr/>
          </p:nvSpPr>
          <p:spPr bwMode="auto">
            <a:xfrm>
              <a:off x="6243858" y="3755923"/>
              <a:ext cx="5404449" cy="1605912"/>
            </a:xfrm>
            <a:prstGeom prst="rect">
              <a:avLst/>
            </a:prstGeom>
            <a:solidFill>
              <a:schemeClr val="bg1">
                <a:lumMod val="95000"/>
              </a:schemeClr>
            </a:solidFill>
            <a:ln w="3175" cap="flat" cmpd="sng" algn="ctr">
              <a:noFill/>
              <a:prstDash val="solid"/>
              <a:headEnd type="none" w="med" len="med"/>
              <a:tailEnd type="none" w="med" len="med"/>
            </a:ln>
            <a:effectLst/>
          </p:spPr>
          <p:txBody>
            <a:bodyPr vert="horz" wrap="square" lIns="0" tIns="46637" rIns="0" bIns="46637" numCol="1" rtlCol="0" anchor="b" anchorCtr="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tx2"/>
                  </a:solidFill>
                  <a:effectLst/>
                  <a:uLnTx/>
                  <a:uFillTx/>
                </a:rPr>
                <a:t>Backend storage</a:t>
              </a:r>
            </a:p>
          </p:txBody>
        </p:sp>
        <p:sp>
          <p:nvSpPr>
            <p:cNvPr id="98" name="Rectangle 97"/>
            <p:cNvSpPr/>
            <p:nvPr/>
          </p:nvSpPr>
          <p:spPr bwMode="auto">
            <a:xfrm>
              <a:off x="6335951" y="3874409"/>
              <a:ext cx="831416" cy="1123171"/>
            </a:xfrm>
            <a:prstGeom prst="rect">
              <a:avLst/>
            </a:prstGeom>
            <a:solidFill>
              <a:schemeClr val="accent1"/>
            </a:solidFill>
            <a:ln w="3175" cap="flat" cmpd="sng" algn="ctr">
              <a:noFill/>
              <a:prstDash val="soli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marL="0" marR="0" lvl="0" indent="0" algn="ctr" defTabSz="932742" eaLnBrk="1" fontAlgn="auto" latinLnBrk="0" hangingPunct="1">
                <a:lnSpc>
                  <a:spcPct val="90000"/>
                </a:lnSpc>
                <a:spcBef>
                  <a:spcPts val="0"/>
                </a:spcBef>
                <a:spcAft>
                  <a:spcPts val="600"/>
                </a:spcAft>
                <a:buClrTx/>
                <a:buSzTx/>
                <a:buFontTx/>
                <a:buNone/>
                <a:tabLst/>
                <a:defRPr/>
              </a:pPr>
              <a:r>
                <a:rPr kumimoji="0" lang="en-US" sz="800" b="0" i="0" u="none" strike="noStrike" kern="0" cap="none" spc="0" normalizeH="0" baseline="0" noProof="0" dirty="0">
                  <a:ln>
                    <a:noFill/>
                  </a:ln>
                  <a:solidFill>
                    <a:schemeClr val="bg1"/>
                  </a:solidFill>
                  <a:effectLst/>
                  <a:uLnTx/>
                  <a:uFillTx/>
                </a:rPr>
                <a:t>Data node</a:t>
              </a:r>
            </a:p>
          </p:txBody>
        </p:sp>
        <p:sp>
          <p:nvSpPr>
            <p:cNvPr id="99" name="Rectangle 98"/>
            <p:cNvSpPr/>
            <p:nvPr/>
          </p:nvSpPr>
          <p:spPr bwMode="auto">
            <a:xfrm>
              <a:off x="8076982" y="3869995"/>
              <a:ext cx="831416" cy="1127584"/>
            </a:xfrm>
            <a:prstGeom prst="rect">
              <a:avLst/>
            </a:prstGeom>
            <a:solidFill>
              <a:schemeClr val="accent1"/>
            </a:solidFill>
            <a:ln w="3175" cap="flat" cmpd="sng" algn="ctr">
              <a:noFill/>
              <a:prstDash val="soli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marL="0" marR="0" lvl="0" indent="0" algn="ctr" defTabSz="932742" eaLnBrk="1" fontAlgn="auto" latinLnBrk="0" hangingPunct="1">
                <a:lnSpc>
                  <a:spcPct val="90000"/>
                </a:lnSpc>
                <a:spcBef>
                  <a:spcPts val="0"/>
                </a:spcBef>
                <a:spcAft>
                  <a:spcPts val="600"/>
                </a:spcAft>
                <a:buClrTx/>
                <a:buSzTx/>
                <a:buFontTx/>
                <a:buNone/>
                <a:tabLst/>
                <a:defRPr/>
              </a:pPr>
              <a:r>
                <a:rPr kumimoji="0" lang="en-US" sz="800" b="0" i="0" u="none" strike="noStrike" kern="0" cap="none" spc="0" normalizeH="0" baseline="0" noProof="0" dirty="0">
                  <a:ln>
                    <a:noFill/>
                  </a:ln>
                  <a:solidFill>
                    <a:schemeClr val="bg1"/>
                  </a:solidFill>
                  <a:effectLst/>
                  <a:uLnTx/>
                  <a:uFillTx/>
                </a:rPr>
                <a:t>Data node</a:t>
              </a:r>
            </a:p>
          </p:txBody>
        </p:sp>
        <p:sp>
          <p:nvSpPr>
            <p:cNvPr id="100" name="Rectangle 99"/>
            <p:cNvSpPr/>
            <p:nvPr/>
          </p:nvSpPr>
          <p:spPr bwMode="auto">
            <a:xfrm>
              <a:off x="8983769" y="3869995"/>
              <a:ext cx="831416" cy="1127583"/>
            </a:xfrm>
            <a:prstGeom prst="rect">
              <a:avLst/>
            </a:prstGeom>
            <a:solidFill>
              <a:schemeClr val="accent1"/>
            </a:solidFill>
            <a:ln w="3175" cap="flat" cmpd="sng" algn="ctr">
              <a:noFill/>
              <a:prstDash val="soli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marL="0" marR="0" lvl="0" indent="0" algn="ctr" defTabSz="932742" eaLnBrk="1" fontAlgn="auto" latinLnBrk="0" hangingPunct="1">
                <a:lnSpc>
                  <a:spcPct val="90000"/>
                </a:lnSpc>
                <a:spcBef>
                  <a:spcPts val="0"/>
                </a:spcBef>
                <a:spcAft>
                  <a:spcPts val="600"/>
                </a:spcAft>
                <a:buClrTx/>
                <a:buSzTx/>
                <a:buFontTx/>
                <a:buNone/>
                <a:tabLst/>
                <a:defRPr/>
              </a:pPr>
              <a:r>
                <a:rPr kumimoji="0" lang="en-US" sz="800" b="0" i="0" u="none" strike="noStrike" kern="0" cap="none" spc="0" normalizeH="0" baseline="0" noProof="0" dirty="0">
                  <a:ln>
                    <a:noFill/>
                  </a:ln>
                  <a:solidFill>
                    <a:schemeClr val="bg1"/>
                  </a:solidFill>
                  <a:effectLst/>
                  <a:uLnTx/>
                  <a:uFillTx/>
                </a:rPr>
                <a:t>Data node</a:t>
              </a:r>
            </a:p>
          </p:txBody>
        </p:sp>
        <p:sp>
          <p:nvSpPr>
            <p:cNvPr id="101" name="Rectangle 100"/>
            <p:cNvSpPr/>
            <p:nvPr/>
          </p:nvSpPr>
          <p:spPr bwMode="auto">
            <a:xfrm>
              <a:off x="9854284" y="3869995"/>
              <a:ext cx="831416" cy="1127581"/>
            </a:xfrm>
            <a:prstGeom prst="rect">
              <a:avLst/>
            </a:prstGeom>
            <a:solidFill>
              <a:schemeClr val="accent1"/>
            </a:solidFill>
            <a:ln w="3175" cap="flat" cmpd="sng" algn="ctr">
              <a:noFill/>
              <a:prstDash val="soli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marL="0" marR="0" lvl="0" indent="0" algn="ctr" defTabSz="932742" eaLnBrk="1" fontAlgn="auto" latinLnBrk="0" hangingPunct="1">
                <a:lnSpc>
                  <a:spcPct val="90000"/>
                </a:lnSpc>
                <a:spcBef>
                  <a:spcPts val="0"/>
                </a:spcBef>
                <a:spcAft>
                  <a:spcPts val="600"/>
                </a:spcAft>
                <a:buClrTx/>
                <a:buSzTx/>
                <a:buFontTx/>
                <a:buNone/>
                <a:tabLst/>
                <a:defRPr/>
              </a:pPr>
              <a:r>
                <a:rPr kumimoji="0" lang="en-US" sz="800" b="0" i="0" u="none" strike="noStrike" kern="0" cap="none" spc="0" normalizeH="0" baseline="0" noProof="0" dirty="0">
                  <a:ln>
                    <a:noFill/>
                  </a:ln>
                  <a:solidFill>
                    <a:schemeClr val="bg1"/>
                  </a:solidFill>
                  <a:effectLst/>
                  <a:uLnTx/>
                  <a:uFillTx/>
                </a:rPr>
                <a:t>Data node</a:t>
              </a:r>
            </a:p>
          </p:txBody>
        </p:sp>
        <p:sp>
          <p:nvSpPr>
            <p:cNvPr id="102" name="Rectangle 101"/>
            <p:cNvSpPr/>
            <p:nvPr/>
          </p:nvSpPr>
          <p:spPr bwMode="auto">
            <a:xfrm>
              <a:off x="10714365" y="3869995"/>
              <a:ext cx="831416" cy="1127581"/>
            </a:xfrm>
            <a:prstGeom prst="rect">
              <a:avLst/>
            </a:prstGeom>
            <a:solidFill>
              <a:schemeClr val="accent1"/>
            </a:solidFill>
            <a:ln w="3175" cap="flat" cmpd="sng" algn="ctr">
              <a:noFill/>
              <a:prstDash val="soli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marL="0" marR="0" lvl="0" indent="0" algn="ctr" defTabSz="932742" eaLnBrk="1" fontAlgn="auto" latinLnBrk="0" hangingPunct="1">
                <a:lnSpc>
                  <a:spcPct val="90000"/>
                </a:lnSpc>
                <a:spcBef>
                  <a:spcPts val="0"/>
                </a:spcBef>
                <a:spcAft>
                  <a:spcPts val="600"/>
                </a:spcAft>
                <a:buClrTx/>
                <a:buSzTx/>
                <a:buFontTx/>
                <a:buNone/>
                <a:tabLst/>
                <a:defRPr/>
              </a:pPr>
              <a:r>
                <a:rPr kumimoji="0" lang="en-US" sz="800" b="0" i="0" u="none" strike="noStrike" kern="0" cap="none" spc="0" normalizeH="0" baseline="0" noProof="0" dirty="0">
                  <a:ln>
                    <a:noFill/>
                  </a:ln>
                  <a:solidFill>
                    <a:schemeClr val="bg1"/>
                  </a:solidFill>
                  <a:effectLst/>
                  <a:uLnTx/>
                  <a:uFillTx/>
                </a:rPr>
                <a:t>Data node</a:t>
              </a:r>
            </a:p>
          </p:txBody>
        </p:sp>
        <p:sp>
          <p:nvSpPr>
            <p:cNvPr id="103" name="Rectangle 102"/>
            <p:cNvSpPr/>
            <p:nvPr/>
          </p:nvSpPr>
          <p:spPr bwMode="auto">
            <a:xfrm>
              <a:off x="7206466" y="3869995"/>
              <a:ext cx="831416" cy="1127585"/>
            </a:xfrm>
            <a:prstGeom prst="rect">
              <a:avLst/>
            </a:prstGeom>
            <a:solidFill>
              <a:schemeClr val="accent1"/>
            </a:solidFill>
            <a:ln w="3175" cap="flat" cmpd="sng" algn="ctr">
              <a:noFill/>
              <a:prstDash val="soli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marL="0" marR="0" lvl="0" indent="0" algn="ctr" defTabSz="932742" eaLnBrk="1" fontAlgn="auto" latinLnBrk="0" hangingPunct="1">
                <a:lnSpc>
                  <a:spcPct val="90000"/>
                </a:lnSpc>
                <a:spcBef>
                  <a:spcPts val="0"/>
                </a:spcBef>
                <a:spcAft>
                  <a:spcPts val="600"/>
                </a:spcAft>
                <a:buClrTx/>
                <a:buSzTx/>
                <a:buFontTx/>
                <a:buNone/>
                <a:tabLst/>
                <a:defRPr/>
              </a:pPr>
              <a:r>
                <a:rPr kumimoji="0" lang="en-US" sz="800" b="0" i="0" u="none" strike="noStrike" kern="0" cap="none" spc="0" normalizeH="0" baseline="0" noProof="0" dirty="0">
                  <a:ln>
                    <a:noFill/>
                  </a:ln>
                  <a:solidFill>
                    <a:schemeClr val="bg1"/>
                  </a:solidFill>
                  <a:effectLst/>
                  <a:uLnTx/>
                  <a:uFillTx/>
                </a:rPr>
                <a:t>Data node</a:t>
              </a:r>
            </a:p>
          </p:txBody>
        </p:sp>
        <p:grpSp>
          <p:nvGrpSpPr>
            <p:cNvPr id="104" name="Group 103"/>
            <p:cNvGrpSpPr/>
            <p:nvPr/>
          </p:nvGrpSpPr>
          <p:grpSpPr>
            <a:xfrm>
              <a:off x="6468946" y="4012744"/>
              <a:ext cx="565425" cy="711494"/>
              <a:chOff x="7196823" y="2632752"/>
              <a:chExt cx="565425" cy="711494"/>
            </a:xfrm>
          </p:grpSpPr>
          <p:pic>
            <p:nvPicPr>
              <p:cNvPr id="120"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21" name="Rectangle 120"/>
              <p:cNvSpPr/>
              <p:nvPr/>
            </p:nvSpPr>
            <p:spPr>
              <a:xfrm>
                <a:off x="7280415" y="3097550"/>
                <a:ext cx="295938" cy="124650"/>
              </a:xfrm>
              <a:prstGeom prst="rect">
                <a:avLst/>
              </a:prstGeom>
              <a:solidFill>
                <a:schemeClr val="bg1"/>
              </a:solidFill>
            </p:spPr>
            <p:txBody>
              <a:bodyPr wrap="square" lIns="0" tIns="0" rIns="0" bIns="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r>
                  <a:rPr kumimoji="0" lang="en-US" sz="900" b="0" i="0" u="none" strike="noStrike" kern="0" cap="none" spc="0" normalizeH="0" baseline="0" noProof="0" dirty="0">
                    <a:ln>
                      <a:noFill/>
                    </a:ln>
                    <a:solidFill>
                      <a:schemeClr val="tx2"/>
                    </a:solidFill>
                    <a:effectLst/>
                    <a:uLnTx/>
                    <a:uFillTx/>
                    <a:ea typeface="Arial Unicode MS" panose="020B0604020202020204" pitchFamily="34" charset="-128"/>
                    <a:cs typeface="Arial Unicode MS" panose="020B0604020202020204" pitchFamily="34" charset="-128"/>
                  </a:rPr>
                  <a:t>Block </a:t>
                </a:r>
              </a:p>
            </p:txBody>
          </p:sp>
        </p:grpSp>
        <p:grpSp>
          <p:nvGrpSpPr>
            <p:cNvPr id="105" name="Group 104"/>
            <p:cNvGrpSpPr/>
            <p:nvPr/>
          </p:nvGrpSpPr>
          <p:grpSpPr>
            <a:xfrm>
              <a:off x="7339461" y="4012744"/>
              <a:ext cx="565425" cy="711494"/>
              <a:chOff x="7196823" y="2632752"/>
              <a:chExt cx="565425" cy="711494"/>
            </a:xfrm>
          </p:grpSpPr>
          <p:pic>
            <p:nvPicPr>
              <p:cNvPr id="118"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19" name="Rectangle 118"/>
              <p:cNvSpPr/>
              <p:nvPr/>
            </p:nvSpPr>
            <p:spPr>
              <a:xfrm>
                <a:off x="7280415" y="3097550"/>
                <a:ext cx="295938" cy="124650"/>
              </a:xfrm>
              <a:prstGeom prst="rect">
                <a:avLst/>
              </a:prstGeom>
              <a:solidFill>
                <a:schemeClr val="bg1"/>
              </a:solidFill>
            </p:spPr>
            <p:txBody>
              <a:bodyPr wrap="square" lIns="0" tIns="0" rIns="0" bIns="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r>
                  <a:rPr kumimoji="0" lang="en-US" sz="900" b="0" i="0" u="none" strike="noStrike" kern="0" cap="none" spc="0" normalizeH="0" baseline="0" noProof="0" dirty="0">
                    <a:ln>
                      <a:noFill/>
                    </a:ln>
                    <a:solidFill>
                      <a:schemeClr val="tx2"/>
                    </a:solidFill>
                    <a:effectLst/>
                    <a:uLnTx/>
                    <a:uFillTx/>
                    <a:ea typeface="Arial Unicode MS" panose="020B0604020202020204" pitchFamily="34" charset="-128"/>
                    <a:cs typeface="Arial Unicode MS" panose="020B0604020202020204" pitchFamily="34" charset="-128"/>
                  </a:rPr>
                  <a:t>Block </a:t>
                </a:r>
              </a:p>
            </p:txBody>
          </p:sp>
        </p:grpSp>
        <p:grpSp>
          <p:nvGrpSpPr>
            <p:cNvPr id="106" name="Group 105"/>
            <p:cNvGrpSpPr/>
            <p:nvPr/>
          </p:nvGrpSpPr>
          <p:grpSpPr>
            <a:xfrm>
              <a:off x="8204759" y="4012744"/>
              <a:ext cx="565425" cy="711494"/>
              <a:chOff x="7196823" y="2632752"/>
              <a:chExt cx="565425" cy="711494"/>
            </a:xfrm>
          </p:grpSpPr>
          <p:pic>
            <p:nvPicPr>
              <p:cNvPr id="116"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17" name="Rectangle 116"/>
              <p:cNvSpPr/>
              <p:nvPr/>
            </p:nvSpPr>
            <p:spPr>
              <a:xfrm>
                <a:off x="7280415" y="3097550"/>
                <a:ext cx="295938" cy="124650"/>
              </a:xfrm>
              <a:prstGeom prst="rect">
                <a:avLst/>
              </a:prstGeom>
              <a:solidFill>
                <a:schemeClr val="bg1"/>
              </a:solidFill>
            </p:spPr>
            <p:txBody>
              <a:bodyPr wrap="square" lIns="0" tIns="0" rIns="0" bIns="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r>
                  <a:rPr kumimoji="0" lang="en-US" sz="900" b="0" i="0" u="none" strike="noStrike" kern="0" cap="none" spc="0" normalizeH="0" baseline="0" noProof="0" dirty="0">
                    <a:ln>
                      <a:noFill/>
                    </a:ln>
                    <a:solidFill>
                      <a:schemeClr val="tx2"/>
                    </a:solidFill>
                    <a:effectLst/>
                    <a:uLnTx/>
                    <a:uFillTx/>
                    <a:ea typeface="Arial Unicode MS" panose="020B0604020202020204" pitchFamily="34" charset="-128"/>
                    <a:cs typeface="Arial Unicode MS" panose="020B0604020202020204" pitchFamily="34" charset="-128"/>
                  </a:rPr>
                  <a:t>Block </a:t>
                </a:r>
              </a:p>
            </p:txBody>
          </p:sp>
        </p:grpSp>
        <p:grpSp>
          <p:nvGrpSpPr>
            <p:cNvPr id="107" name="Group 106"/>
            <p:cNvGrpSpPr/>
            <p:nvPr/>
          </p:nvGrpSpPr>
          <p:grpSpPr>
            <a:xfrm>
              <a:off x="9116764" y="4012744"/>
              <a:ext cx="565425" cy="711494"/>
              <a:chOff x="7196823" y="2632752"/>
              <a:chExt cx="565425" cy="711494"/>
            </a:xfrm>
          </p:grpSpPr>
          <p:pic>
            <p:nvPicPr>
              <p:cNvPr id="114"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15" name="Rectangle 114"/>
              <p:cNvSpPr/>
              <p:nvPr/>
            </p:nvSpPr>
            <p:spPr>
              <a:xfrm>
                <a:off x="7280415" y="3097550"/>
                <a:ext cx="295938" cy="124650"/>
              </a:xfrm>
              <a:prstGeom prst="rect">
                <a:avLst/>
              </a:prstGeom>
              <a:solidFill>
                <a:schemeClr val="bg1"/>
              </a:solidFill>
            </p:spPr>
            <p:txBody>
              <a:bodyPr wrap="square" lIns="0" tIns="0" rIns="0" bIns="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r>
                  <a:rPr kumimoji="0" lang="en-US" sz="900" b="0" i="0" u="none" strike="noStrike" kern="0" cap="none" spc="0" normalizeH="0" baseline="0" noProof="0" dirty="0">
                    <a:ln>
                      <a:noFill/>
                    </a:ln>
                    <a:solidFill>
                      <a:schemeClr val="tx2"/>
                    </a:solidFill>
                    <a:effectLst/>
                    <a:uLnTx/>
                    <a:uFillTx/>
                    <a:ea typeface="Arial Unicode MS" panose="020B0604020202020204" pitchFamily="34" charset="-128"/>
                    <a:cs typeface="Arial Unicode MS" panose="020B0604020202020204" pitchFamily="34" charset="-128"/>
                  </a:rPr>
                  <a:t>Block </a:t>
                </a:r>
              </a:p>
            </p:txBody>
          </p:sp>
        </p:grpSp>
        <p:grpSp>
          <p:nvGrpSpPr>
            <p:cNvPr id="108" name="Group 107"/>
            <p:cNvGrpSpPr/>
            <p:nvPr/>
          </p:nvGrpSpPr>
          <p:grpSpPr>
            <a:xfrm>
              <a:off x="9982062" y="4012744"/>
              <a:ext cx="565425" cy="711494"/>
              <a:chOff x="7196823" y="2632752"/>
              <a:chExt cx="565425" cy="711494"/>
            </a:xfrm>
          </p:grpSpPr>
          <p:pic>
            <p:nvPicPr>
              <p:cNvPr id="112"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13" name="Rectangle 112"/>
              <p:cNvSpPr/>
              <p:nvPr/>
            </p:nvSpPr>
            <p:spPr>
              <a:xfrm>
                <a:off x="7280415" y="3097550"/>
                <a:ext cx="295938" cy="124650"/>
              </a:xfrm>
              <a:prstGeom prst="rect">
                <a:avLst/>
              </a:prstGeom>
              <a:solidFill>
                <a:schemeClr val="bg1"/>
              </a:solidFill>
            </p:spPr>
            <p:txBody>
              <a:bodyPr wrap="square" lIns="0" tIns="0" rIns="0" bIns="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r>
                  <a:rPr kumimoji="0" lang="en-US" sz="900" b="0" i="0" u="none" strike="noStrike" kern="0" cap="none" spc="0" normalizeH="0" baseline="0" noProof="0" dirty="0">
                    <a:ln>
                      <a:noFill/>
                    </a:ln>
                    <a:solidFill>
                      <a:schemeClr val="tx2"/>
                    </a:solidFill>
                    <a:effectLst/>
                    <a:uLnTx/>
                    <a:uFillTx/>
                    <a:ea typeface="Arial Unicode MS" panose="020B0604020202020204" pitchFamily="34" charset="-128"/>
                    <a:cs typeface="Arial Unicode MS" panose="020B0604020202020204" pitchFamily="34" charset="-128"/>
                  </a:rPr>
                  <a:t>Block </a:t>
                </a:r>
              </a:p>
            </p:txBody>
          </p:sp>
        </p:grpSp>
        <p:grpSp>
          <p:nvGrpSpPr>
            <p:cNvPr id="109" name="Group 108"/>
            <p:cNvGrpSpPr/>
            <p:nvPr/>
          </p:nvGrpSpPr>
          <p:grpSpPr>
            <a:xfrm>
              <a:off x="10837855" y="4012744"/>
              <a:ext cx="565425" cy="711494"/>
              <a:chOff x="7196823" y="2632752"/>
              <a:chExt cx="565425" cy="711494"/>
            </a:xfrm>
          </p:grpSpPr>
          <p:pic>
            <p:nvPicPr>
              <p:cNvPr id="110" name="Picture 2" descr="\\MAGNUM\Projects\Microsoft\Cloud Power FY12\Design\ICONS_PNG\Server.png"/>
              <p:cNvPicPr>
                <a:picLocks noChangeAspect="1" noChangeArrowheads="1"/>
              </p:cNvPicPr>
              <p:nvPr/>
            </p:nvPicPr>
            <p:blipFill rotWithShape="1">
              <a:blip r:embed="rId4" cstate="print">
                <a:lum bright="100000"/>
              </a:blip>
              <a:srcRect l="19080" t="11111" r="18421" b="10243"/>
              <a:stretch/>
            </p:blipFill>
            <p:spPr bwMode="auto">
              <a:xfrm>
                <a:off x="7196823" y="2632752"/>
                <a:ext cx="565425" cy="711494"/>
              </a:xfrm>
              <a:prstGeom prst="rect">
                <a:avLst/>
              </a:prstGeom>
              <a:noFill/>
            </p:spPr>
          </p:pic>
          <p:sp>
            <p:nvSpPr>
              <p:cNvPr id="111" name="Rectangle 110"/>
              <p:cNvSpPr/>
              <p:nvPr/>
            </p:nvSpPr>
            <p:spPr>
              <a:xfrm>
                <a:off x="7280415" y="3097550"/>
                <a:ext cx="295938" cy="124650"/>
              </a:xfrm>
              <a:prstGeom prst="rect">
                <a:avLst/>
              </a:prstGeom>
              <a:solidFill>
                <a:schemeClr val="bg1"/>
              </a:solidFill>
            </p:spPr>
            <p:txBody>
              <a:bodyPr wrap="square" lIns="0" tIns="0" rIns="0" bIns="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r>
                  <a:rPr kumimoji="0" lang="en-US" sz="900" b="0" i="0" u="none" strike="noStrike" kern="0" cap="none" spc="0" normalizeH="0" baseline="0" noProof="0" dirty="0">
                    <a:ln>
                      <a:noFill/>
                    </a:ln>
                    <a:solidFill>
                      <a:schemeClr val="tx2"/>
                    </a:solidFill>
                    <a:effectLst/>
                    <a:uLnTx/>
                    <a:uFillTx/>
                    <a:ea typeface="Arial Unicode MS" panose="020B0604020202020204" pitchFamily="34" charset="-128"/>
                    <a:cs typeface="Arial Unicode MS" panose="020B0604020202020204" pitchFamily="34" charset="-128"/>
                  </a:rPr>
                  <a:t>Block </a:t>
                </a:r>
              </a:p>
            </p:txBody>
          </p:sp>
        </p:grpSp>
      </p:grpSp>
      <p:grpSp>
        <p:nvGrpSpPr>
          <p:cNvPr id="122" name="Group 121"/>
          <p:cNvGrpSpPr/>
          <p:nvPr/>
        </p:nvGrpSpPr>
        <p:grpSpPr>
          <a:xfrm>
            <a:off x="6751659" y="3323303"/>
            <a:ext cx="4378414" cy="551106"/>
            <a:chOff x="6751659" y="3323303"/>
            <a:chExt cx="4378414" cy="551106"/>
          </a:xfrm>
        </p:grpSpPr>
        <p:cxnSp>
          <p:nvCxnSpPr>
            <p:cNvPr id="123" name="Straight Arrow Connector 122"/>
            <p:cNvCxnSpPr>
              <a:endCxn id="103" idx="0"/>
            </p:cNvCxnSpPr>
            <p:nvPr/>
          </p:nvCxnSpPr>
          <p:spPr>
            <a:xfrm>
              <a:off x="7622174"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a:off x="8492690"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p:nvPr/>
          </p:nvCxnSpPr>
          <p:spPr>
            <a:xfrm>
              <a:off x="9399477"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a:off x="10269992" y="3581400"/>
              <a:ext cx="0" cy="288595"/>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flipH="1">
              <a:off x="8943975" y="3323303"/>
              <a:ext cx="2107" cy="258097"/>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Elbow Connector 127"/>
            <p:cNvCxnSpPr>
              <a:stCxn id="98" idx="0"/>
              <a:endCxn id="102" idx="0"/>
            </p:cNvCxnSpPr>
            <p:nvPr/>
          </p:nvCxnSpPr>
          <p:spPr>
            <a:xfrm rot="5400000" flipH="1" flipV="1">
              <a:off x="8938659" y="1682995"/>
              <a:ext cx="4414" cy="4378414"/>
            </a:xfrm>
            <a:prstGeom prst="bentConnector3">
              <a:avLst>
                <a:gd name="adj1" fmla="val 6573720"/>
              </a:avLst>
            </a:prstGeom>
            <a:ln>
              <a:solidFill>
                <a:schemeClr val="bg1">
                  <a:lumMod val="50000"/>
                </a:schemeClr>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26470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275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3250"/>
                            </p:stCondLst>
                            <p:childTnLst>
                              <p:par>
                                <p:cTn id="9" presetID="22" presetClass="entr" presetSubtype="8" fill="hold" nodeType="after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animEffect transition="in" filter="wipe(left)">
                                      <p:cBhvr>
                                        <p:cTn id="11" dur="1000"/>
                                        <p:tgtEl>
                                          <p:spTgt spid="12">
                                            <p:txEl>
                                              <p:pRg st="1" end="1"/>
                                            </p:txEl>
                                          </p:spTgt>
                                        </p:tgtEl>
                                      </p:cBhvr>
                                    </p:animEffect>
                                  </p:childTnLst>
                                </p:cTn>
                              </p:par>
                            </p:childTnLst>
                          </p:cTn>
                        </p:par>
                        <p:par>
                          <p:cTn id="12" fill="hold">
                            <p:stCondLst>
                              <p:cond delay="4250"/>
                            </p:stCondLst>
                            <p:childTnLst>
                              <p:par>
                                <p:cTn id="13" presetID="22" presetClass="entr" presetSubtype="8" fill="hold" nodeType="afterEffect">
                                  <p:stCondLst>
                                    <p:cond delay="0"/>
                                  </p:stCondLst>
                                  <p:childTnLst>
                                    <p:set>
                                      <p:cBhvr>
                                        <p:cTn id="14" dur="1" fill="hold">
                                          <p:stCondLst>
                                            <p:cond delay="0"/>
                                          </p:stCondLst>
                                        </p:cTn>
                                        <p:tgtEl>
                                          <p:spTgt spid="12">
                                            <p:txEl>
                                              <p:pRg st="2" end="2"/>
                                            </p:txEl>
                                          </p:spTgt>
                                        </p:tgtEl>
                                        <p:attrNameLst>
                                          <p:attrName>style.visibility</p:attrName>
                                        </p:attrNameLst>
                                      </p:cBhvr>
                                      <p:to>
                                        <p:strVal val="visible"/>
                                      </p:to>
                                    </p:set>
                                    <p:animEffect transition="in" filter="wipe(left)">
                                      <p:cBhvr>
                                        <p:cTn id="15" dur="1250"/>
                                        <p:tgtEl>
                                          <p:spTgt spid="12">
                                            <p:txEl>
                                              <p:pRg st="2" end="2"/>
                                            </p:txEl>
                                          </p:spTgt>
                                        </p:tgtEl>
                                      </p:cBhvr>
                                    </p:animEffect>
                                  </p:childTnLst>
                                </p:cTn>
                              </p:par>
                            </p:childTnLst>
                          </p:cTn>
                        </p:par>
                        <p:par>
                          <p:cTn id="16" fill="hold">
                            <p:stCondLst>
                              <p:cond delay="5500"/>
                            </p:stCondLst>
                            <p:childTnLst>
                              <p:par>
                                <p:cTn id="17" presetID="10" presetClass="entr" presetSubtype="0" fill="hold" grpId="0" nodeType="afterEffect">
                                  <p:stCondLst>
                                    <p:cond delay="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childTnLst>
                          </p:cTn>
                        </p:par>
                        <p:par>
                          <p:cTn id="20" fill="hold">
                            <p:stCondLst>
                              <p:cond delay="6000"/>
                            </p:stCondLst>
                            <p:childTnLst>
                              <p:par>
                                <p:cTn id="21" presetID="22" presetClass="entr" presetSubtype="1" fill="hold" nodeType="afterEffect">
                                  <p:stCondLst>
                                    <p:cond delay="0"/>
                                  </p:stCondLst>
                                  <p:childTnLst>
                                    <p:set>
                                      <p:cBhvr>
                                        <p:cTn id="22" dur="1" fill="hold">
                                          <p:stCondLst>
                                            <p:cond delay="0"/>
                                          </p:stCondLst>
                                        </p:cTn>
                                        <p:tgtEl>
                                          <p:spTgt spid="52"/>
                                        </p:tgtEl>
                                        <p:attrNameLst>
                                          <p:attrName>style.visibility</p:attrName>
                                        </p:attrNameLst>
                                      </p:cBhvr>
                                      <p:to>
                                        <p:strVal val="visible"/>
                                      </p:to>
                                    </p:set>
                                    <p:animEffect transition="in" filter="wipe(up)">
                                      <p:cBhvr>
                                        <p:cTn id="23" dur="250"/>
                                        <p:tgtEl>
                                          <p:spTgt spid="52"/>
                                        </p:tgtEl>
                                      </p:cBhvr>
                                    </p:animEffect>
                                  </p:childTnLst>
                                </p:cTn>
                              </p:par>
                            </p:childTnLst>
                          </p:cTn>
                        </p:par>
                        <p:par>
                          <p:cTn id="24" fill="hold">
                            <p:stCondLst>
                              <p:cond delay="6250"/>
                            </p:stCondLst>
                            <p:childTnLst>
                              <p:par>
                                <p:cTn id="25" presetID="10" presetClass="entr" presetSubtype="0" fill="hold" nodeType="afterEffect">
                                  <p:stCondLst>
                                    <p:cond delay="0"/>
                                  </p:stCondLst>
                                  <p:childTnLst>
                                    <p:set>
                                      <p:cBhvr>
                                        <p:cTn id="26" dur="1" fill="hold">
                                          <p:stCondLst>
                                            <p:cond delay="0"/>
                                          </p:stCondLst>
                                        </p:cTn>
                                        <p:tgtEl>
                                          <p:spTgt spid="74"/>
                                        </p:tgtEl>
                                        <p:attrNameLst>
                                          <p:attrName>style.visibility</p:attrName>
                                        </p:attrNameLst>
                                      </p:cBhvr>
                                      <p:to>
                                        <p:strVal val="visible"/>
                                      </p:to>
                                    </p:set>
                                    <p:animEffect transition="in" filter="fade">
                                      <p:cBhvr>
                                        <p:cTn id="27" dur="500"/>
                                        <p:tgtEl>
                                          <p:spTgt spid="74"/>
                                        </p:tgtEl>
                                      </p:cBhvr>
                                    </p:animEffect>
                                  </p:childTnLst>
                                </p:cTn>
                              </p:par>
                            </p:childTnLst>
                          </p:cTn>
                        </p:par>
                        <p:par>
                          <p:cTn id="28" fill="hold">
                            <p:stCondLst>
                              <p:cond delay="6750"/>
                            </p:stCondLst>
                            <p:childTnLst>
                              <p:par>
                                <p:cTn id="29" presetID="22" presetClass="entr" presetSubtype="1" fill="hold" nodeType="afterEffect">
                                  <p:stCondLst>
                                    <p:cond delay="0"/>
                                  </p:stCondLst>
                                  <p:childTnLst>
                                    <p:set>
                                      <p:cBhvr>
                                        <p:cTn id="30" dur="1" fill="hold">
                                          <p:stCondLst>
                                            <p:cond delay="0"/>
                                          </p:stCondLst>
                                        </p:cTn>
                                        <p:tgtEl>
                                          <p:spTgt spid="122"/>
                                        </p:tgtEl>
                                        <p:attrNameLst>
                                          <p:attrName>style.visibility</p:attrName>
                                        </p:attrNameLst>
                                      </p:cBhvr>
                                      <p:to>
                                        <p:strVal val="visible"/>
                                      </p:to>
                                    </p:set>
                                    <p:animEffect transition="in" filter="wipe(up)">
                                      <p:cBhvr>
                                        <p:cTn id="31" dur="500"/>
                                        <p:tgtEl>
                                          <p:spTgt spid="122"/>
                                        </p:tgtEl>
                                      </p:cBhvr>
                                    </p:animEffect>
                                  </p:childTnLst>
                                </p:cTn>
                              </p:par>
                            </p:childTnLst>
                          </p:cTn>
                        </p:par>
                        <p:par>
                          <p:cTn id="32" fill="hold">
                            <p:stCondLst>
                              <p:cond delay="7250"/>
                            </p:stCondLst>
                            <p:childTnLst>
                              <p:par>
                                <p:cTn id="33" presetID="10" presetClass="entr" presetSubtype="0" fill="hold" nodeType="afterEffect">
                                  <p:stCondLst>
                                    <p:cond delay="0"/>
                                  </p:stCondLst>
                                  <p:childTnLst>
                                    <p:set>
                                      <p:cBhvr>
                                        <p:cTn id="34" dur="1" fill="hold">
                                          <p:stCondLst>
                                            <p:cond delay="0"/>
                                          </p:stCondLst>
                                        </p:cTn>
                                        <p:tgtEl>
                                          <p:spTgt spid="96"/>
                                        </p:tgtEl>
                                        <p:attrNameLst>
                                          <p:attrName>style.visibility</p:attrName>
                                        </p:attrNameLst>
                                      </p:cBhvr>
                                      <p:to>
                                        <p:strVal val="visible"/>
                                      </p:to>
                                    </p:set>
                                    <p:animEffect transition="in" filter="fade">
                                      <p:cBhvr>
                                        <p:cTn id="35"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6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0C0"/>
                </a:solidFill>
              </a:rPr>
              <a:t>ADL Store is HDFS-compatible</a:t>
            </a:r>
          </a:p>
        </p:txBody>
      </p:sp>
      <p:sp>
        <p:nvSpPr>
          <p:cNvPr id="4" name="Rectangle 3"/>
          <p:cNvSpPr/>
          <p:nvPr/>
        </p:nvSpPr>
        <p:spPr>
          <a:xfrm>
            <a:off x="434975" y="1113848"/>
            <a:ext cx="11322050" cy="923330"/>
          </a:xfrm>
          <a:prstGeom prst="rect">
            <a:avLst/>
          </a:prstGeom>
          <a:noFill/>
        </p:spPr>
        <p:txBody>
          <a:bodyPr wrap="square" lIns="0" tIns="91440" rIns="0" bIns="9144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B0F0"/>
                </a:solidFill>
                <a:effectLst/>
                <a:uLnTx/>
                <a:uFillTx/>
                <a:latin typeface="+mj-lt"/>
              </a:rPr>
              <a:t>With a WebHDFS endpoint Azure Data Lake Store is a Hadoop-compatible file system that integrates seamlessly with Azure HDInsight</a:t>
            </a:r>
          </a:p>
        </p:txBody>
      </p:sp>
      <p:grpSp>
        <p:nvGrpSpPr>
          <p:cNvPr id="3" name="Group 2"/>
          <p:cNvGrpSpPr/>
          <p:nvPr/>
        </p:nvGrpSpPr>
        <p:grpSpPr>
          <a:xfrm>
            <a:off x="452117" y="2142779"/>
            <a:ext cx="11304908" cy="694945"/>
            <a:chOff x="452117" y="2142779"/>
            <a:chExt cx="11304908" cy="694945"/>
          </a:xfrm>
        </p:grpSpPr>
        <p:sp>
          <p:nvSpPr>
            <p:cNvPr id="68" name="TextBox 67"/>
            <p:cNvSpPr txBox="1"/>
            <p:nvPr/>
          </p:nvSpPr>
          <p:spPr>
            <a:xfrm>
              <a:off x="452117" y="2142780"/>
              <a:ext cx="1387239" cy="694944"/>
            </a:xfrm>
            <a:prstGeom prst="rect">
              <a:avLst/>
            </a:prstGeom>
            <a:solidFill>
              <a:srgbClr val="969696"/>
            </a:solidFill>
          </p:spPr>
          <p:txBody>
            <a:bodyPr wrap="square" lIns="91440" tIns="146304" rIns="91440" bIns="146304" rtlCol="0" anchor="ctr" anchorCtr="0">
              <a:no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Map reduce</a:t>
              </a:r>
            </a:p>
          </p:txBody>
        </p:sp>
        <p:sp>
          <p:nvSpPr>
            <p:cNvPr id="70" name="TextBox 69"/>
            <p:cNvSpPr txBox="1"/>
            <p:nvPr/>
          </p:nvSpPr>
          <p:spPr>
            <a:xfrm>
              <a:off x="3331089" y="2142779"/>
              <a:ext cx="1572546" cy="694944"/>
            </a:xfrm>
            <a:prstGeom prst="rect">
              <a:avLst/>
            </a:prstGeom>
            <a:solidFill>
              <a:srgbClr val="009E49"/>
            </a:solidFill>
          </p:spPr>
          <p:txBody>
            <a:bodyPr wrap="square" lIns="91440" tIns="146304" rIns="91440" bIns="146304" rtlCol="0" anchor="ctr" anchorCtr="0">
              <a:no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solidFill>
                    <a:schemeClr val="bg1"/>
                  </a:solidFill>
                  <a:effectLst/>
                  <a:uLnTx/>
                  <a:uFillTx/>
                  <a:latin typeface="Segoe UI Semibold" panose="020B0702040204020203" pitchFamily="34" charset="0"/>
                  <a:cs typeface="Segoe UI Semibold" panose="020B0702040204020203" pitchFamily="34" charset="0"/>
                </a:rPr>
                <a:t>HBase</a:t>
              </a:r>
              <a:r>
                <a:rPr kumimoji="0" lang="en-US" sz="14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 t</a:t>
              </a:r>
              <a:r>
                <a:rPr kumimoji="0" lang="en-US" sz="1400" b="0" i="0" u="none" strike="noStrike" kern="0" cap="none" spc="0" normalizeH="0" baseline="0" noProof="0" dirty="0" err="1">
                  <a:ln>
                    <a:noFill/>
                  </a:ln>
                  <a:solidFill>
                    <a:schemeClr val="bg1"/>
                  </a:solidFill>
                  <a:effectLst/>
                  <a:uLnTx/>
                  <a:uFillTx/>
                  <a:latin typeface="Segoe UI Semibold" panose="020B0702040204020203" pitchFamily="34" charset="0"/>
                  <a:cs typeface="Segoe UI Semibold" panose="020B0702040204020203" pitchFamily="34" charset="0"/>
                </a:rPr>
                <a:t>ransactions</a:t>
              </a:r>
              <a:endParaRPr kumimoji="0" lang="en-US" sz="14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endParaRPr>
            </a:p>
          </p:txBody>
        </p:sp>
        <p:sp>
          <p:nvSpPr>
            <p:cNvPr id="64" name="TextBox 63"/>
            <p:cNvSpPr txBox="1"/>
            <p:nvPr/>
          </p:nvSpPr>
          <p:spPr>
            <a:xfrm>
              <a:off x="7321456" y="2142780"/>
              <a:ext cx="4435569" cy="694944"/>
            </a:xfrm>
            <a:prstGeom prst="rect">
              <a:avLst/>
            </a:prstGeom>
            <a:solidFill>
              <a:srgbClr val="7FBA00"/>
            </a:solidFill>
          </p:spPr>
          <p:txBody>
            <a:bodyPr wrap="square" lIns="182880" tIns="146304" rIns="182880" bIns="146304" rtlCol="0" anchor="ctr">
              <a:no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Any HDFS application</a:t>
              </a:r>
            </a:p>
          </p:txBody>
        </p:sp>
        <p:sp>
          <p:nvSpPr>
            <p:cNvPr id="78" name="TextBox 77"/>
            <p:cNvSpPr txBox="1"/>
            <p:nvPr/>
          </p:nvSpPr>
          <p:spPr>
            <a:xfrm>
              <a:off x="1946105" y="2142780"/>
              <a:ext cx="1278235" cy="694944"/>
            </a:xfrm>
            <a:prstGeom prst="rect">
              <a:avLst/>
            </a:prstGeom>
            <a:solidFill>
              <a:srgbClr val="FF8C00"/>
            </a:solidFill>
          </p:spPr>
          <p:txBody>
            <a:bodyPr wrap="square" lIns="91440" tIns="146304" rIns="91440" bIns="146304" rtlCol="0" anchor="ctr" anchorCtr="0">
              <a:no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Hive query</a:t>
              </a:r>
            </a:p>
          </p:txBody>
        </p:sp>
      </p:grpSp>
      <p:grpSp>
        <p:nvGrpSpPr>
          <p:cNvPr id="6" name="Group 5"/>
          <p:cNvGrpSpPr/>
          <p:nvPr/>
        </p:nvGrpSpPr>
        <p:grpSpPr>
          <a:xfrm>
            <a:off x="1145737" y="2837724"/>
            <a:ext cx="8394516" cy="338896"/>
            <a:chOff x="1145737" y="2837724"/>
            <a:chExt cx="8394516" cy="338896"/>
          </a:xfrm>
        </p:grpSpPr>
        <p:cxnSp>
          <p:nvCxnSpPr>
            <p:cNvPr id="72" name="Straight Arrow Connector 71"/>
            <p:cNvCxnSpPr>
              <a:stCxn id="68" idx="2"/>
            </p:cNvCxnSpPr>
            <p:nvPr/>
          </p:nvCxnSpPr>
          <p:spPr>
            <a:xfrm>
              <a:off x="1145737" y="2837724"/>
              <a:ext cx="2026" cy="338896"/>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cxnSp>
          <p:nvCxnSpPr>
            <p:cNvPr id="80" name="Straight Arrow Connector 79"/>
            <p:cNvCxnSpPr/>
            <p:nvPr/>
          </p:nvCxnSpPr>
          <p:spPr>
            <a:xfrm>
              <a:off x="2584209" y="2838766"/>
              <a:ext cx="2026" cy="337854"/>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cxnSp>
          <p:nvCxnSpPr>
            <p:cNvPr id="81" name="Straight Arrow Connector 80"/>
            <p:cNvCxnSpPr/>
            <p:nvPr/>
          </p:nvCxnSpPr>
          <p:spPr>
            <a:xfrm>
              <a:off x="4116349" y="2838766"/>
              <a:ext cx="2026" cy="337854"/>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cxnSp>
          <p:nvCxnSpPr>
            <p:cNvPr id="82" name="Straight Arrow Connector 81"/>
            <p:cNvCxnSpPr/>
            <p:nvPr/>
          </p:nvCxnSpPr>
          <p:spPr>
            <a:xfrm>
              <a:off x="9538227" y="2838766"/>
              <a:ext cx="2026" cy="337854"/>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grpSp>
      <p:grpSp>
        <p:nvGrpSpPr>
          <p:cNvPr id="7" name="Group 6"/>
          <p:cNvGrpSpPr/>
          <p:nvPr/>
        </p:nvGrpSpPr>
        <p:grpSpPr>
          <a:xfrm>
            <a:off x="452117" y="3148508"/>
            <a:ext cx="11322467" cy="842992"/>
            <a:chOff x="452117" y="3148508"/>
            <a:chExt cx="11322467" cy="842992"/>
          </a:xfrm>
        </p:grpSpPr>
        <p:sp>
          <p:nvSpPr>
            <p:cNvPr id="65" name="Rectangle 64"/>
            <p:cNvSpPr/>
            <p:nvPr/>
          </p:nvSpPr>
          <p:spPr bwMode="auto">
            <a:xfrm>
              <a:off x="452117" y="3183089"/>
              <a:ext cx="4451518" cy="808411"/>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Cambria" panose="02040503050406030204" pitchFamily="18" charset="0"/>
                <a:ea typeface="Segoe UI" pitchFamily="34" charset="0"/>
                <a:cs typeface="Segoe UI Light" panose="020B0502040204020203" pitchFamily="34" charset="0"/>
              </a:endParaRPr>
            </a:p>
          </p:txBody>
        </p:sp>
        <p:sp>
          <p:nvSpPr>
            <p:cNvPr id="66" name="TextBox 65"/>
            <p:cNvSpPr txBox="1"/>
            <p:nvPr/>
          </p:nvSpPr>
          <p:spPr>
            <a:xfrm>
              <a:off x="1589550" y="3148508"/>
              <a:ext cx="2176653" cy="510909"/>
            </a:xfrm>
            <a:prstGeom prst="rect">
              <a:avLst/>
            </a:prstGeom>
            <a:noFill/>
          </p:spPr>
          <p:txBody>
            <a:bodyPr wrap="square" lIns="182880" tIns="146304" rIns="182880" bIns="146304"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Azure HDInsight</a:t>
              </a:r>
            </a:p>
          </p:txBody>
        </p:sp>
        <p:sp>
          <p:nvSpPr>
            <p:cNvPr id="67" name="Rectangle 66"/>
            <p:cNvSpPr/>
            <p:nvPr/>
          </p:nvSpPr>
          <p:spPr bwMode="auto">
            <a:xfrm>
              <a:off x="556643" y="3610893"/>
              <a:ext cx="4242467" cy="34234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Hadoop </a:t>
              </a:r>
              <a:r>
                <a:rPr kumimoji="0" lang="en-US" sz="1400" b="0" i="0" u="none" strike="noStrike" kern="0" cap="none" spc="0" normalizeH="0" baseline="0" noProof="0" dirty="0" err="1">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WebHDFS</a:t>
              </a:r>
              <a:r>
                <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 client</a:t>
              </a:r>
            </a:p>
          </p:txBody>
        </p:sp>
        <p:sp>
          <p:nvSpPr>
            <p:cNvPr id="62" name="Rectangle 61"/>
            <p:cNvSpPr/>
            <p:nvPr/>
          </p:nvSpPr>
          <p:spPr bwMode="auto">
            <a:xfrm>
              <a:off x="7321456" y="3183086"/>
              <a:ext cx="4453128" cy="808412"/>
            </a:xfrm>
            <a:prstGeom prst="rect">
              <a:avLst/>
            </a:prstGeom>
            <a:solidFill>
              <a:srgbClr val="0078D7">
                <a:lumMod val="50000"/>
              </a:srgbClr>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3" name="Rectangle 62"/>
            <p:cNvSpPr/>
            <p:nvPr/>
          </p:nvSpPr>
          <p:spPr bwMode="auto">
            <a:xfrm>
              <a:off x="7489360" y="3282279"/>
              <a:ext cx="4117321" cy="61002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Hadoop </a:t>
              </a:r>
              <a:r>
                <a:rPr kumimoji="0" lang="en-US" sz="1400" b="0" i="0" u="none" strike="noStrike" kern="0" cap="none" spc="0" normalizeH="0" baseline="0" noProof="0" dirty="0" err="1">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WebHDFS</a:t>
              </a:r>
              <a:r>
                <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 client</a:t>
              </a:r>
            </a:p>
          </p:txBody>
        </p:sp>
        <p:sp>
          <p:nvSpPr>
            <p:cNvPr id="79" name="Freeform 78"/>
            <p:cNvSpPr>
              <a:spLocks noChangeAspect="1"/>
            </p:cNvSpPr>
            <p:nvPr/>
          </p:nvSpPr>
          <p:spPr bwMode="auto">
            <a:xfrm>
              <a:off x="603854" y="3244188"/>
              <a:ext cx="455636" cy="319551"/>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marL="0" marR="0" lvl="0" indent="0" defTabSz="912803" eaLnBrk="1" fontAlgn="base" latinLnBrk="0" hangingPunct="1">
                <a:lnSpc>
                  <a:spcPct val="100000"/>
                </a:lnSpc>
                <a:spcBef>
                  <a:spcPts val="0"/>
                </a:spcBef>
                <a:spcAft>
                  <a:spcPts val="0"/>
                </a:spcAft>
                <a:buClrTx/>
                <a:buSzTx/>
                <a:buFontTx/>
                <a:buNone/>
                <a:tabLst/>
                <a:defRPr/>
              </a:pPr>
              <a:endParaRPr kumimoji="0" lang="en-IN" sz="1567" b="0" i="0" u="none" strike="noStrike" kern="0" cap="none" spc="0" normalizeH="0" baseline="0" noProof="0" dirty="0">
                <a:ln>
                  <a:noFill/>
                </a:ln>
                <a:solidFill>
                  <a:srgbClr val="000000"/>
                </a:solidFill>
                <a:effectLst/>
                <a:uLnTx/>
                <a:uFillTx/>
              </a:endParaRPr>
            </a:p>
          </p:txBody>
        </p:sp>
      </p:grpSp>
      <p:grpSp>
        <p:nvGrpSpPr>
          <p:cNvPr id="8" name="Group 7"/>
          <p:cNvGrpSpPr/>
          <p:nvPr/>
        </p:nvGrpSpPr>
        <p:grpSpPr>
          <a:xfrm>
            <a:off x="2677876" y="3579278"/>
            <a:ext cx="6870144" cy="1244829"/>
            <a:chOff x="2677876" y="3579278"/>
            <a:chExt cx="6870144" cy="1244829"/>
          </a:xfrm>
        </p:grpSpPr>
        <p:cxnSp>
          <p:nvCxnSpPr>
            <p:cNvPr id="76" name="Straight Connector 75"/>
            <p:cNvCxnSpPr>
              <a:stCxn id="75" idx="4"/>
              <a:endCxn id="44" idx="0"/>
            </p:cNvCxnSpPr>
            <p:nvPr/>
          </p:nvCxnSpPr>
          <p:spPr>
            <a:xfrm>
              <a:off x="6096000" y="4541892"/>
              <a:ext cx="0" cy="282215"/>
            </a:xfrm>
            <a:prstGeom prst="line">
              <a:avLst/>
            </a:prstGeom>
            <a:noFill/>
            <a:ln w="19050" cap="flat" cmpd="sng" algn="ctr">
              <a:solidFill>
                <a:schemeClr val="bg1">
                  <a:lumMod val="50000"/>
                </a:schemeClr>
              </a:solidFill>
              <a:prstDash val="solid"/>
              <a:miter lim="800000"/>
              <a:headEnd type="none"/>
              <a:tailEnd type="none"/>
            </a:ln>
            <a:effectLst/>
          </p:spPr>
        </p:cxnSp>
        <p:sp>
          <p:nvSpPr>
            <p:cNvPr id="46" name="TextBox 45"/>
            <p:cNvSpPr txBox="1"/>
            <p:nvPr/>
          </p:nvSpPr>
          <p:spPr>
            <a:xfrm>
              <a:off x="5617651" y="3579278"/>
              <a:ext cx="1281167" cy="726353"/>
            </a:xfrm>
            <a:prstGeom prst="rect">
              <a:avLst/>
            </a:prstGeom>
            <a:noFill/>
            <a:ln>
              <a:noFill/>
            </a:ln>
          </p:spPr>
          <p:txBody>
            <a:bodyPr wrap="square" lIns="182880" tIns="146304" rIns="182880" bIns="146304" rtlCol="0">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WebHDFS </a:t>
              </a:r>
              <a:br>
                <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br>
              <a:r>
                <a:rPr kumimoji="0" lang="en-US" sz="1400" b="0" i="0" u="none" strike="noStrike" kern="0" cap="none" spc="0" normalizeH="0" baseline="0" noProof="0" dirty="0" err="1">
                  <a:ln>
                    <a:noFill/>
                  </a:ln>
                  <a:solidFill>
                    <a:schemeClr val="tx2"/>
                  </a:solidFill>
                  <a:effectLst/>
                  <a:uLnTx/>
                  <a:uFillTx/>
                  <a:latin typeface="Segoe UI Semibold" panose="020B0702040204020203" pitchFamily="34" charset="0"/>
                  <a:cs typeface="Segoe UI Semibold" panose="020B0702040204020203" pitchFamily="34" charset="0"/>
                </a:rPr>
                <a:t>endpoint</a:t>
              </a:r>
              <a:endPar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endParaRPr>
            </a:p>
          </p:txBody>
        </p:sp>
        <p:sp>
          <p:nvSpPr>
            <p:cNvPr id="75" name="Oval 74"/>
            <p:cNvSpPr/>
            <p:nvPr/>
          </p:nvSpPr>
          <p:spPr bwMode="auto">
            <a:xfrm>
              <a:off x="5903999" y="4183190"/>
              <a:ext cx="384002" cy="358702"/>
            </a:xfrm>
            <a:prstGeom prst="ellipse">
              <a:avLst/>
            </a:prstGeom>
            <a:solidFill>
              <a:srgbClr val="008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Cambria" panose="02040503050406030204" pitchFamily="18" charset="0"/>
                <a:ea typeface="Segoe UI" pitchFamily="34" charset="0"/>
                <a:cs typeface="Segoe UI Light" panose="020B0502040204020203" pitchFamily="34" charset="0"/>
              </a:endParaRPr>
            </a:p>
          </p:txBody>
        </p:sp>
        <p:sp>
          <p:nvSpPr>
            <p:cNvPr id="87" name="TextBox 86"/>
            <p:cNvSpPr txBox="1"/>
            <p:nvPr/>
          </p:nvSpPr>
          <p:spPr>
            <a:xfrm>
              <a:off x="7542179" y="3920614"/>
              <a:ext cx="1193275" cy="803297"/>
            </a:xfrm>
            <a:prstGeom prst="rect">
              <a:avLst/>
            </a:prstGeom>
            <a:noFill/>
          </p:spPr>
          <p:txBody>
            <a:bodyPr wrap="none" lIns="182880" tIns="146304" rIns="182880" bIns="146304" rtlCol="0">
              <a:spAutoFit/>
            </a:bodyPr>
            <a:lstStyle>
              <a:defPPr>
                <a:defRPr lang="en-US"/>
              </a:defPPr>
              <a:lvl1pPr marR="0" lvl="0" indent="0" algn="ctr" defTabSz="932742" fontAlgn="auto">
                <a:spcBef>
                  <a:spcPts val="600"/>
                </a:spcBef>
                <a:buClrTx/>
                <a:buSzTx/>
                <a:buFontTx/>
                <a:buNone/>
                <a:tabLst/>
                <a:defRPr sz="1400" kern="0">
                  <a:solidFill>
                    <a:schemeClr val="tx2"/>
                  </a:solidFill>
                  <a:latin typeface="Segoe UI Semibold" panose="020B0702040204020203" pitchFamily="34" charset="0"/>
                  <a:cs typeface="Segoe UI Semibold" panose="020B0702040204020203" pitchFamily="34" charset="0"/>
                </a:defRPr>
              </a:lvl1pPr>
            </a:lstStyle>
            <a:p>
              <a:pPr marL="0" marR="0" lvl="0" indent="0" algn="ctr" defTabSz="932742" eaLnBrk="1" fontAlgn="auto"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WebHDFS</a:t>
              </a:r>
            </a:p>
            <a:p>
              <a:pPr marL="0" marR="0" lvl="0" indent="0" algn="ctr" defTabSz="932742" eaLnBrk="1" fontAlgn="auto"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REST API</a:t>
              </a:r>
            </a:p>
          </p:txBody>
        </p:sp>
        <p:cxnSp>
          <p:nvCxnSpPr>
            <p:cNvPr id="34" name="Elbow Connector 33"/>
            <p:cNvCxnSpPr>
              <a:stCxn id="75" idx="6"/>
              <a:endCxn id="62" idx="2"/>
            </p:cNvCxnSpPr>
            <p:nvPr/>
          </p:nvCxnSpPr>
          <p:spPr>
            <a:xfrm flipV="1">
              <a:off x="6288001" y="3991498"/>
              <a:ext cx="3260019" cy="371043"/>
            </a:xfrm>
            <a:prstGeom prst="bentConnector2">
              <a:avLst/>
            </a:prstGeom>
            <a:noFill/>
            <a:ln w="19050" cap="flat" cmpd="sng" algn="ctr">
              <a:solidFill>
                <a:schemeClr val="bg1">
                  <a:lumMod val="50000"/>
                </a:schemeClr>
              </a:solidFill>
              <a:prstDash val="solid"/>
              <a:miter lim="800000"/>
              <a:headEnd type="none"/>
              <a:tailEnd type="none"/>
            </a:ln>
            <a:effectLst/>
          </p:spPr>
        </p:cxnSp>
        <p:cxnSp>
          <p:nvCxnSpPr>
            <p:cNvPr id="85" name="Elbow Connector 84"/>
            <p:cNvCxnSpPr>
              <a:stCxn id="65" idx="2"/>
              <a:endCxn id="75" idx="2"/>
            </p:cNvCxnSpPr>
            <p:nvPr/>
          </p:nvCxnSpPr>
          <p:spPr>
            <a:xfrm rot="16200000" flipH="1">
              <a:off x="4105417" y="2563958"/>
              <a:ext cx="371041" cy="3226123"/>
            </a:xfrm>
            <a:prstGeom prst="bentConnector2">
              <a:avLst/>
            </a:prstGeom>
            <a:noFill/>
            <a:ln w="19050" cap="flat" cmpd="sng" algn="ctr">
              <a:solidFill>
                <a:schemeClr val="bg1">
                  <a:lumMod val="50000"/>
                </a:schemeClr>
              </a:solidFill>
              <a:prstDash val="solid"/>
              <a:miter lim="800000"/>
              <a:headEnd type="none"/>
              <a:tailEnd type="none"/>
            </a:ln>
            <a:effectLst/>
          </p:spPr>
        </p:cxnSp>
        <p:sp>
          <p:nvSpPr>
            <p:cNvPr id="89" name="TextBox 88"/>
            <p:cNvSpPr txBox="1"/>
            <p:nvPr/>
          </p:nvSpPr>
          <p:spPr>
            <a:xfrm>
              <a:off x="3611810" y="3935216"/>
              <a:ext cx="1193275" cy="803297"/>
            </a:xfrm>
            <a:prstGeom prst="rect">
              <a:avLst/>
            </a:prstGeom>
            <a:noFill/>
          </p:spPr>
          <p:txBody>
            <a:bodyPr wrap="none" lIns="182880" tIns="146304" rIns="182880" bIns="146304" rtlCol="0">
              <a:spAutoFit/>
            </a:bodyPr>
            <a:lstStyle/>
            <a:p>
              <a:pPr marL="0" marR="0" lvl="0" indent="0" algn="ctr" defTabSz="932742" eaLnBrk="1" fontAlgn="auto"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WebHDFS</a:t>
              </a:r>
            </a:p>
            <a:p>
              <a:pPr marL="0" marR="0" lvl="0" indent="0" algn="ctr" defTabSz="932742" eaLnBrk="1" fontAlgn="auto"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REST API</a:t>
              </a:r>
            </a:p>
          </p:txBody>
        </p:sp>
      </p:grpSp>
      <p:sp>
        <p:nvSpPr>
          <p:cNvPr id="5" name="Slide Number Placeholder 4"/>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grpSp>
        <p:nvGrpSpPr>
          <p:cNvPr id="10" name="Group 9"/>
          <p:cNvGrpSpPr/>
          <p:nvPr/>
        </p:nvGrpSpPr>
        <p:grpSpPr>
          <a:xfrm>
            <a:off x="434975" y="4824107"/>
            <a:ext cx="11322050" cy="1460905"/>
            <a:chOff x="434975" y="4824107"/>
            <a:chExt cx="11322050" cy="1460905"/>
          </a:xfrm>
        </p:grpSpPr>
        <p:sp>
          <p:nvSpPr>
            <p:cNvPr id="44" name="Rectangle 43"/>
            <p:cNvSpPr/>
            <p:nvPr/>
          </p:nvSpPr>
          <p:spPr bwMode="auto">
            <a:xfrm>
              <a:off x="434975" y="4824107"/>
              <a:ext cx="11322050" cy="1460905"/>
            </a:xfrm>
            <a:prstGeom prst="rect">
              <a:avLst/>
            </a:prstGeom>
            <a:solidFill>
              <a:schemeClr val="accent1"/>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Cambria" panose="02040503050406030204" pitchFamily="18" charset="0"/>
                <a:ea typeface="+mn-ea"/>
                <a:cs typeface="+mn-cs"/>
              </a:endParaRPr>
            </a:p>
          </p:txBody>
        </p:sp>
        <p:sp>
          <p:nvSpPr>
            <p:cNvPr id="49" name="TextBox 48"/>
            <p:cNvSpPr txBox="1"/>
            <p:nvPr/>
          </p:nvSpPr>
          <p:spPr>
            <a:xfrm>
              <a:off x="2115977" y="5699306"/>
              <a:ext cx="1694411" cy="510909"/>
            </a:xfrm>
            <a:prstGeom prst="rect">
              <a:avLst/>
            </a:prstGeom>
            <a:solidFill>
              <a:schemeClr val="bg1"/>
            </a:solidFill>
          </p:spPr>
          <p:txBody>
            <a:bodyPr wrap="square" lIns="182880" tIns="146304" rIns="182880" bIns="146304" rtlCol="0">
              <a:no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ADL Store file</a:t>
              </a:r>
            </a:p>
          </p:txBody>
        </p:sp>
        <p:sp>
          <p:nvSpPr>
            <p:cNvPr id="50" name="TextBox 49"/>
            <p:cNvSpPr txBox="1"/>
            <p:nvPr/>
          </p:nvSpPr>
          <p:spPr>
            <a:xfrm>
              <a:off x="5587761" y="5699306"/>
              <a:ext cx="1694411" cy="510909"/>
            </a:xfrm>
            <a:prstGeom prst="rect">
              <a:avLst/>
            </a:prstGeom>
            <a:solidFill>
              <a:schemeClr val="bg1"/>
            </a:solidFill>
          </p:spPr>
          <p:txBody>
            <a:bodyPr wrap="square" lIns="182880" tIns="146304" rIns="182880" bIns="146304" rtlCol="0">
              <a:no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ADL Store f</a:t>
              </a:r>
              <a:r>
                <a:rPr kumimoji="0" lang="en-US" sz="1400" b="0" i="0" u="none" strike="noStrike" kern="0" cap="none" spc="0" normalizeH="0" baseline="0" noProof="0" dirty="0" err="1">
                  <a:ln>
                    <a:noFill/>
                  </a:ln>
                  <a:solidFill>
                    <a:schemeClr val="tx2"/>
                  </a:solidFill>
                  <a:effectLst/>
                  <a:uLnTx/>
                  <a:uFillTx/>
                  <a:latin typeface="Segoe UI Semibold" panose="020B0702040204020203" pitchFamily="34" charset="0"/>
                  <a:cs typeface="Segoe UI Semibold" panose="020B0702040204020203" pitchFamily="34" charset="0"/>
                </a:rPr>
                <a:t>ile</a:t>
              </a:r>
              <a:endPar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endParaRPr>
            </a:p>
          </p:txBody>
        </p:sp>
        <p:sp>
          <p:nvSpPr>
            <p:cNvPr id="51" name="TextBox 50"/>
            <p:cNvSpPr txBox="1"/>
            <p:nvPr/>
          </p:nvSpPr>
          <p:spPr>
            <a:xfrm>
              <a:off x="7323653" y="5699306"/>
              <a:ext cx="1694411" cy="510909"/>
            </a:xfrm>
            <a:prstGeom prst="rect">
              <a:avLst/>
            </a:prstGeom>
            <a:solidFill>
              <a:schemeClr val="bg1"/>
            </a:solidFill>
          </p:spPr>
          <p:txBody>
            <a:bodyPr wrap="square" lIns="182880" tIns="146304" rIns="182880" bIns="146304" rtlCol="0">
              <a:no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ADL Store f</a:t>
              </a:r>
              <a:r>
                <a:rPr kumimoji="0" lang="en-US" sz="1400" b="0" i="0" u="none" strike="noStrike" kern="0" cap="none" spc="0" normalizeH="0" baseline="0" noProof="0" dirty="0" err="1">
                  <a:ln>
                    <a:noFill/>
                  </a:ln>
                  <a:solidFill>
                    <a:schemeClr val="tx2"/>
                  </a:solidFill>
                  <a:effectLst/>
                  <a:uLnTx/>
                  <a:uFillTx/>
                  <a:latin typeface="Segoe UI Semibold" panose="020B0702040204020203" pitchFamily="34" charset="0"/>
                  <a:cs typeface="Segoe UI Semibold" panose="020B0702040204020203" pitchFamily="34" charset="0"/>
                </a:rPr>
                <a:t>ile</a:t>
              </a:r>
              <a:endPar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endParaRPr>
            </a:p>
          </p:txBody>
        </p:sp>
        <p:sp>
          <p:nvSpPr>
            <p:cNvPr id="52" name="TextBox 51"/>
            <p:cNvSpPr txBox="1"/>
            <p:nvPr/>
          </p:nvSpPr>
          <p:spPr>
            <a:xfrm>
              <a:off x="9059544" y="5699306"/>
              <a:ext cx="1694411" cy="510909"/>
            </a:xfrm>
            <a:prstGeom prst="rect">
              <a:avLst/>
            </a:prstGeom>
            <a:solidFill>
              <a:schemeClr val="bg1"/>
            </a:solidFill>
          </p:spPr>
          <p:txBody>
            <a:bodyPr wrap="square" lIns="182880" tIns="146304" rIns="182880" bIns="146304" rtlCol="0">
              <a:no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ADL Store f</a:t>
              </a:r>
              <a:r>
                <a:rPr kumimoji="0" lang="en-US" sz="1400" b="0" i="0" u="none" strike="noStrike" kern="0" cap="none" spc="0" normalizeH="0" baseline="0" noProof="0" dirty="0" err="1">
                  <a:ln>
                    <a:noFill/>
                  </a:ln>
                  <a:solidFill>
                    <a:schemeClr val="tx2"/>
                  </a:solidFill>
                  <a:effectLst/>
                  <a:uLnTx/>
                  <a:uFillTx/>
                  <a:latin typeface="Segoe UI Semibold" panose="020B0702040204020203" pitchFamily="34" charset="0"/>
                  <a:cs typeface="Segoe UI Semibold" panose="020B0702040204020203" pitchFamily="34" charset="0"/>
                </a:rPr>
                <a:t>ile</a:t>
              </a:r>
              <a:endPar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endParaRPr>
            </a:p>
          </p:txBody>
        </p:sp>
        <p:sp>
          <p:nvSpPr>
            <p:cNvPr id="53" name="TextBox 52"/>
            <p:cNvSpPr txBox="1"/>
            <p:nvPr/>
          </p:nvSpPr>
          <p:spPr>
            <a:xfrm>
              <a:off x="3851869" y="5699306"/>
              <a:ext cx="1694411" cy="510909"/>
            </a:xfrm>
            <a:prstGeom prst="rect">
              <a:avLst/>
            </a:prstGeom>
            <a:solidFill>
              <a:schemeClr val="bg1"/>
            </a:solidFill>
          </p:spPr>
          <p:txBody>
            <a:bodyPr wrap="square" lIns="182880" tIns="146304" rIns="182880" bIns="146304" rtlCol="0">
              <a:no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ADL Store file</a:t>
              </a:r>
            </a:p>
          </p:txBody>
        </p:sp>
        <p:sp>
          <p:nvSpPr>
            <p:cNvPr id="91" name="TextBox 90"/>
            <p:cNvSpPr txBox="1"/>
            <p:nvPr/>
          </p:nvSpPr>
          <p:spPr>
            <a:xfrm>
              <a:off x="4925275" y="5277382"/>
              <a:ext cx="2341450" cy="394357"/>
            </a:xfrm>
            <a:prstGeom prst="rect">
              <a:avLst/>
            </a:prstGeom>
            <a:noFill/>
          </p:spPr>
          <p:txBody>
            <a:bodyPr wrap="none" lIns="182880" tIns="146304" rIns="182880" bIns="146304"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Azure Data Lake Store</a:t>
              </a:r>
            </a:p>
          </p:txBody>
        </p:sp>
        <p:pic>
          <p:nvPicPr>
            <p:cNvPr id="9" name="Picture 8"/>
            <p:cNvPicPr>
              <a:picLocks noChangeAspect="1"/>
            </p:cNvPicPr>
            <p:nvPr/>
          </p:nvPicPr>
          <p:blipFill>
            <a:blip r:embed="rId3">
              <a:biLevel thresh="50000"/>
              <a:extLst>
                <a:ext uri="{28A0092B-C50C-407E-A947-70E740481C1C}">
                  <a14:useLocalDpi xmlns:a14="http://schemas.microsoft.com/office/drawing/2010/main" val="0"/>
                </a:ext>
              </a:extLst>
            </a:blip>
            <a:stretch>
              <a:fillRect/>
            </a:stretch>
          </p:blipFill>
          <p:spPr>
            <a:xfrm>
              <a:off x="5784944" y="4846411"/>
              <a:ext cx="622112" cy="622112"/>
            </a:xfrm>
            <a:prstGeom prst="rect">
              <a:avLst/>
            </a:prstGeom>
          </p:spPr>
        </p:pic>
      </p:grpSp>
    </p:spTree>
    <p:extLst>
      <p:ext uri="{BB962C8B-B14F-4D97-AF65-F5344CB8AC3E}">
        <p14:creationId xmlns:p14="http://schemas.microsoft.com/office/powerpoint/2010/main" val="10749384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250"/>
                                        <p:tgtEl>
                                          <p:spTgt spid="4"/>
                                        </p:tgtEl>
                                      </p:cBhvr>
                                    </p:animEffect>
                                  </p:childTnLst>
                                </p:cTn>
                              </p:par>
                            </p:childTnLst>
                          </p:cTn>
                        </p:par>
                        <p:par>
                          <p:cTn id="8" fill="hold">
                            <p:stCondLst>
                              <p:cond delay="125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750"/>
                                        <p:tgtEl>
                                          <p:spTgt spid="3"/>
                                        </p:tgtEl>
                                      </p:cBhvr>
                                    </p:animEffect>
                                  </p:childTnLst>
                                </p:cTn>
                              </p:par>
                            </p:childTnLst>
                          </p:cTn>
                        </p:par>
                        <p:par>
                          <p:cTn id="12" fill="hold">
                            <p:stCondLst>
                              <p:cond delay="2000"/>
                            </p:stCondLst>
                            <p:childTnLst>
                              <p:par>
                                <p:cTn id="13" presetID="22" presetClass="entr" presetSubtype="1"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up)">
                                      <p:cBhvr>
                                        <p:cTn id="15" dur="250"/>
                                        <p:tgtEl>
                                          <p:spTgt spid="6"/>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750"/>
                                        <p:tgtEl>
                                          <p:spTgt spid="7"/>
                                        </p:tgtEl>
                                      </p:cBhvr>
                                    </p:animEffect>
                                  </p:childTnLst>
                                </p:cTn>
                              </p:par>
                            </p:childTnLst>
                          </p:cTn>
                        </p:par>
                        <p:par>
                          <p:cTn id="20" fill="hold">
                            <p:stCondLst>
                              <p:cond delay="3000"/>
                            </p:stCondLst>
                            <p:childTnLst>
                              <p:par>
                                <p:cTn id="21" presetID="22" presetClass="entr" presetSubtype="1"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ipe(up)">
                                      <p:cBhvr>
                                        <p:cTn id="23" dur="750"/>
                                        <p:tgtEl>
                                          <p:spTgt spid="8"/>
                                        </p:tgtEl>
                                      </p:cBhvr>
                                    </p:animEffect>
                                  </p:childTnLst>
                                </p:cTn>
                              </p:par>
                            </p:childTnLst>
                          </p:cTn>
                        </p:par>
                        <p:par>
                          <p:cTn id="24" fill="hold">
                            <p:stCondLst>
                              <p:cond delay="3750"/>
                            </p:stCondLst>
                            <p:childTnLst>
                              <p:par>
                                <p:cTn id="25" presetID="10" presetClass="entr" presetSubtype="0" fill="hold"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75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0C0"/>
                </a:solidFill>
              </a:rPr>
              <a:t>ADL Store: Ingress</a:t>
            </a:r>
          </a:p>
        </p:txBody>
      </p:sp>
      <p:grpSp>
        <p:nvGrpSpPr>
          <p:cNvPr id="4" name="Group 3"/>
          <p:cNvGrpSpPr/>
          <p:nvPr/>
        </p:nvGrpSpPr>
        <p:grpSpPr>
          <a:xfrm>
            <a:off x="434975" y="1123536"/>
            <a:ext cx="11322050" cy="5241552"/>
            <a:chOff x="434975" y="1123536"/>
            <a:chExt cx="11322050" cy="5241552"/>
          </a:xfrm>
        </p:grpSpPr>
        <p:sp>
          <p:nvSpPr>
            <p:cNvPr id="54" name="Rectangle 53"/>
            <p:cNvSpPr/>
            <p:nvPr/>
          </p:nvSpPr>
          <p:spPr>
            <a:xfrm>
              <a:off x="434975" y="1483823"/>
              <a:ext cx="11322050" cy="4881265"/>
            </a:xfrm>
            <a:prstGeom prst="rect">
              <a:avLst/>
            </a:prstGeom>
            <a:solidFill>
              <a:schemeClr val="bg1">
                <a:lumMod val="95000"/>
              </a:schemeClr>
            </a:solidFill>
            <a:ln w="317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sp>
          <p:nvSpPr>
            <p:cNvPr id="3" name="Rectangle 2"/>
            <p:cNvSpPr/>
            <p:nvPr/>
          </p:nvSpPr>
          <p:spPr>
            <a:xfrm>
              <a:off x="434975" y="1123536"/>
              <a:ext cx="11322050" cy="369332"/>
            </a:xfrm>
            <a:prstGeom prst="rect">
              <a:avLst/>
            </a:prstGeom>
            <a:solidFill>
              <a:schemeClr val="accent1"/>
            </a:solidFill>
          </p:spPr>
          <p:txBody>
            <a:bodyPr wrap="square" lIns="91440" tIns="45720" rIns="91440" bIns="45720">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US" sz="1800" b="0" i="0" u="none" strike="noStrike" kern="0" cap="none" spc="0" normalizeH="0" baseline="0" noProof="0" dirty="0">
                  <a:ln>
                    <a:noFill/>
                  </a:ln>
                  <a:solidFill>
                    <a:schemeClr val="bg1"/>
                  </a:solidFill>
                  <a:effectLst/>
                  <a:uLnTx/>
                  <a:uFillTx/>
                </a:rPr>
                <a:t>Data can be ingested into Azure Data Lake Store from a variety of sources</a:t>
              </a:r>
              <a:r>
                <a:rPr kumimoji="0" lang="en-US" sz="1800" b="0" i="0" u="none" strike="noStrike" kern="0" cap="none" spc="0" normalizeH="0" baseline="0" noProof="0" dirty="0">
                  <a:ln>
                    <a:solidFill>
                      <a:srgbClr val="FFFFFF">
                        <a:alpha val="0"/>
                      </a:srgbClr>
                    </a:solidFill>
                  </a:ln>
                  <a:solidFill>
                    <a:schemeClr val="bg1"/>
                  </a:solidFill>
                  <a:effectLst/>
                  <a:uLnTx/>
                  <a:uFillTx/>
                  <a:ea typeface="Segoe UI" pitchFamily="34" charset="0"/>
                  <a:cs typeface="Segoe UI" pitchFamily="34" charset="0"/>
                </a:rPr>
                <a:t> </a:t>
              </a:r>
            </a:p>
          </p:txBody>
        </p:sp>
      </p:grpSp>
      <p:cxnSp>
        <p:nvCxnSpPr>
          <p:cNvPr id="32" name="Straight Connector 31"/>
          <p:cNvCxnSpPr/>
          <p:nvPr/>
        </p:nvCxnSpPr>
        <p:spPr>
          <a:xfrm>
            <a:off x="2737856" y="-13815"/>
            <a:ext cx="640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0368686" y="1590805"/>
            <a:ext cx="926279" cy="1264491"/>
            <a:chOff x="10368686" y="1590805"/>
            <a:chExt cx="926279" cy="1264491"/>
          </a:xfrm>
        </p:grpSpPr>
        <p:sp>
          <p:nvSpPr>
            <p:cNvPr id="44" name="Rectangle 43"/>
            <p:cNvSpPr/>
            <p:nvPr/>
          </p:nvSpPr>
          <p:spPr>
            <a:xfrm>
              <a:off x="10368686" y="2639852"/>
              <a:ext cx="926279" cy="215444"/>
            </a:xfrm>
            <a:prstGeom prst="rect">
              <a:avLst/>
            </a:prstGeom>
          </p:spPr>
          <p:txBody>
            <a:bodyPr wrap="square" lIns="0" tIns="0" rIns="0" bIns="0">
              <a:spAutoFit/>
            </a:bodyPr>
            <a:lstStyle/>
            <a:p>
              <a:pPr marL="0" marR="0" lvl="0" indent="0" algn="ctr" defTabSz="91410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ea typeface="Segoe UI" pitchFamily="34" charset="0"/>
                  <a:cs typeface="Segoe UI" pitchFamily="34" charset="0"/>
                </a:rPr>
                <a:t>Server logs</a:t>
              </a:r>
            </a:p>
          </p:txBody>
        </p:sp>
        <p:grpSp>
          <p:nvGrpSpPr>
            <p:cNvPr id="371" name="Group 370"/>
            <p:cNvGrpSpPr/>
            <p:nvPr/>
          </p:nvGrpSpPr>
          <p:grpSpPr>
            <a:xfrm>
              <a:off x="10466548" y="1590805"/>
              <a:ext cx="727486" cy="1040636"/>
              <a:chOff x="10587303" y="1590805"/>
              <a:chExt cx="642328" cy="951250"/>
            </a:xfrm>
          </p:grpSpPr>
          <p:pic>
            <p:nvPicPr>
              <p:cNvPr id="55" name="Picture 54"/>
              <p:cNvPicPr>
                <a:picLocks noChangeAspect="1"/>
              </p:cNvPicPr>
              <p:nvPr/>
            </p:nvPicPr>
            <p:blipFill>
              <a:blip r:embed="rId3"/>
              <a:stretch>
                <a:fillRect/>
              </a:stretch>
            </p:blipFill>
            <p:spPr>
              <a:xfrm>
                <a:off x="10587303" y="2089975"/>
                <a:ext cx="240168" cy="452080"/>
              </a:xfrm>
              <a:prstGeom prst="rect">
                <a:avLst/>
              </a:prstGeom>
            </p:spPr>
          </p:pic>
          <p:pic>
            <p:nvPicPr>
              <p:cNvPr id="56" name="Picture 55"/>
              <p:cNvPicPr>
                <a:picLocks noChangeAspect="1"/>
              </p:cNvPicPr>
              <p:nvPr/>
            </p:nvPicPr>
            <p:blipFill>
              <a:blip r:embed="rId4"/>
              <a:stretch>
                <a:fillRect/>
              </a:stretch>
            </p:blipFill>
            <p:spPr>
              <a:xfrm>
                <a:off x="10904699" y="1590805"/>
                <a:ext cx="324932" cy="951250"/>
              </a:xfrm>
              <a:prstGeom prst="rect">
                <a:avLst/>
              </a:prstGeom>
            </p:spPr>
          </p:pic>
        </p:grpSp>
      </p:grpSp>
      <p:grpSp>
        <p:nvGrpSpPr>
          <p:cNvPr id="21" name="Group 20"/>
          <p:cNvGrpSpPr/>
          <p:nvPr/>
        </p:nvGrpSpPr>
        <p:grpSpPr>
          <a:xfrm>
            <a:off x="5330972" y="4308931"/>
            <a:ext cx="1187680" cy="1230714"/>
            <a:chOff x="5330972" y="4308931"/>
            <a:chExt cx="1187680" cy="1230714"/>
          </a:xfrm>
        </p:grpSpPr>
        <p:cxnSp>
          <p:nvCxnSpPr>
            <p:cNvPr id="306" name="Straight Connector 305"/>
            <p:cNvCxnSpPr/>
            <p:nvPr/>
          </p:nvCxnSpPr>
          <p:spPr>
            <a:xfrm flipV="1">
              <a:off x="5886064" y="4308931"/>
              <a:ext cx="0" cy="1230714"/>
            </a:xfrm>
            <a:prstGeom prst="line">
              <a:avLst/>
            </a:prstGeom>
            <a:ln w="38100" cap="rnd">
              <a:solidFill>
                <a:srgbClr val="50B347"/>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309" name="Rectangle 308"/>
            <p:cNvSpPr/>
            <p:nvPr/>
          </p:nvSpPr>
          <p:spPr bwMode="auto">
            <a:xfrm>
              <a:off x="5330972" y="4643210"/>
              <a:ext cx="1187680" cy="6931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305" name="Group 304"/>
            <p:cNvGrpSpPr/>
            <p:nvPr/>
          </p:nvGrpSpPr>
          <p:grpSpPr>
            <a:xfrm>
              <a:off x="5459832" y="4693171"/>
              <a:ext cx="965768" cy="618194"/>
              <a:chOff x="488441" y="-1161903"/>
              <a:chExt cx="1074212" cy="687610"/>
            </a:xfrm>
          </p:grpSpPr>
          <p:sp>
            <p:nvSpPr>
              <p:cNvPr id="302" name="Freeform 98"/>
              <p:cNvSpPr>
                <a:spLocks noEditPoints="1"/>
              </p:cNvSpPr>
              <p:nvPr/>
            </p:nvSpPr>
            <p:spPr bwMode="auto">
              <a:xfrm>
                <a:off x="771874" y="-1161903"/>
                <a:ext cx="295904" cy="295338"/>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03" name="Freeform 99"/>
              <p:cNvSpPr>
                <a:spLocks noEditPoints="1"/>
              </p:cNvSpPr>
              <p:nvPr/>
            </p:nvSpPr>
            <p:spPr bwMode="auto">
              <a:xfrm>
                <a:off x="488441" y="-949895"/>
                <a:ext cx="405310" cy="405877"/>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04" name="Freeform 100"/>
              <p:cNvSpPr>
                <a:spLocks noEditPoints="1"/>
              </p:cNvSpPr>
              <p:nvPr/>
            </p:nvSpPr>
            <p:spPr bwMode="auto">
              <a:xfrm>
                <a:off x="971411" y="-1066669"/>
                <a:ext cx="591242" cy="592376"/>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grpSp>
      <p:grpSp>
        <p:nvGrpSpPr>
          <p:cNvPr id="22" name="Group 21"/>
          <p:cNvGrpSpPr/>
          <p:nvPr/>
        </p:nvGrpSpPr>
        <p:grpSpPr>
          <a:xfrm>
            <a:off x="5194603" y="5657633"/>
            <a:ext cx="1320683" cy="669311"/>
            <a:chOff x="5194603" y="5657633"/>
            <a:chExt cx="1320683" cy="669311"/>
          </a:xfrm>
        </p:grpSpPr>
        <p:grpSp>
          <p:nvGrpSpPr>
            <p:cNvPr id="310" name="Network Switch"/>
            <p:cNvGrpSpPr>
              <a:grpSpLocks noChangeAspect="1"/>
            </p:cNvGrpSpPr>
            <p:nvPr/>
          </p:nvGrpSpPr>
          <p:grpSpPr>
            <a:xfrm>
              <a:off x="5284498" y="5657633"/>
              <a:ext cx="1113292" cy="435634"/>
              <a:chOff x="392113" y="2836863"/>
              <a:chExt cx="657225" cy="257175"/>
            </a:xfrm>
          </p:grpSpPr>
          <p:sp>
            <p:nvSpPr>
              <p:cNvPr id="311" name="Network Switch Part 5"/>
              <p:cNvSpPr>
                <a:spLocks/>
              </p:cNvSpPr>
              <p:nvPr/>
            </p:nvSpPr>
            <p:spPr bwMode="auto">
              <a:xfrm>
                <a:off x="392113" y="2836863"/>
                <a:ext cx="657225" cy="257175"/>
              </a:xfrm>
              <a:custGeom>
                <a:avLst/>
                <a:gdLst>
                  <a:gd name="T0" fmla="*/ 2173 w 2173"/>
                  <a:gd name="T1" fmla="*/ 85 h 847"/>
                  <a:gd name="T2" fmla="*/ 2088 w 2173"/>
                  <a:gd name="T3" fmla="*/ 0 h 847"/>
                  <a:gd name="T4" fmla="*/ 84 w 2173"/>
                  <a:gd name="T5" fmla="*/ 0 h 847"/>
                  <a:gd name="T6" fmla="*/ 0 w 2173"/>
                  <a:gd name="T7" fmla="*/ 85 h 847"/>
                  <a:gd name="T8" fmla="*/ 0 w 2173"/>
                  <a:gd name="T9" fmla="*/ 762 h 847"/>
                  <a:gd name="T10" fmla="*/ 84 w 2173"/>
                  <a:gd name="T11" fmla="*/ 847 h 847"/>
                  <a:gd name="T12" fmla="*/ 2088 w 2173"/>
                  <a:gd name="T13" fmla="*/ 847 h 847"/>
                  <a:gd name="T14" fmla="*/ 2173 w 2173"/>
                  <a:gd name="T15" fmla="*/ 762 h 847"/>
                  <a:gd name="T16" fmla="*/ 2173 w 2173"/>
                  <a:gd name="T17" fmla="*/ 85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3" h="847">
                    <a:moveTo>
                      <a:pt x="2173" y="85"/>
                    </a:moveTo>
                    <a:cubicBezTo>
                      <a:pt x="2173" y="37"/>
                      <a:pt x="2136" y="0"/>
                      <a:pt x="2088" y="0"/>
                    </a:cubicBezTo>
                    <a:lnTo>
                      <a:pt x="84" y="0"/>
                    </a:lnTo>
                    <a:cubicBezTo>
                      <a:pt x="36" y="0"/>
                      <a:pt x="0" y="37"/>
                      <a:pt x="0" y="85"/>
                    </a:cubicBezTo>
                    <a:lnTo>
                      <a:pt x="0" y="762"/>
                    </a:lnTo>
                    <a:cubicBezTo>
                      <a:pt x="0" y="810"/>
                      <a:pt x="36" y="847"/>
                      <a:pt x="84" y="847"/>
                    </a:cubicBezTo>
                    <a:lnTo>
                      <a:pt x="2088" y="847"/>
                    </a:lnTo>
                    <a:cubicBezTo>
                      <a:pt x="2136" y="847"/>
                      <a:pt x="2173" y="810"/>
                      <a:pt x="2173" y="762"/>
                    </a:cubicBezTo>
                    <a:lnTo>
                      <a:pt x="2173" y="85"/>
                    </a:lnTo>
                    <a:close/>
                  </a:path>
                </a:pathLst>
              </a:custGeom>
              <a:solidFill>
                <a:schemeClr val="accent1">
                  <a:lumMod val="7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chemeClr val="tx1"/>
                  </a:solidFill>
                  <a:effectLst/>
                  <a:uLnTx/>
                  <a:uFillTx/>
                  <a:latin typeface="+mn-lt"/>
                  <a:ea typeface="+mn-ea"/>
                  <a:cs typeface="+mn-cs"/>
                </a:endParaRPr>
              </a:p>
            </p:txBody>
          </p:sp>
          <p:sp>
            <p:nvSpPr>
              <p:cNvPr id="312" name="Network Switch Part 4"/>
              <p:cNvSpPr>
                <a:spLocks noChangeArrowheads="1"/>
              </p:cNvSpPr>
              <p:nvPr/>
            </p:nvSpPr>
            <p:spPr bwMode="auto">
              <a:xfrm>
                <a:off x="392113" y="3059113"/>
                <a:ext cx="657225" cy="34925"/>
              </a:xfrm>
              <a:prstGeom prst="rect">
                <a:avLst/>
              </a:prstGeom>
              <a:solidFill>
                <a:schemeClr val="accent1">
                  <a:lumMod val="60000"/>
                  <a:lumOff val="40000"/>
                </a:schemeClr>
              </a:solidFill>
              <a:ln w="0">
                <a:noFill/>
                <a:prstDash val="solid"/>
                <a:miter lim="800000"/>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chemeClr val="tx1"/>
                  </a:solidFill>
                  <a:effectLst/>
                  <a:uLnTx/>
                  <a:uFillTx/>
                  <a:latin typeface="+mn-lt"/>
                  <a:ea typeface="+mn-ea"/>
                  <a:cs typeface="+mn-cs"/>
                </a:endParaRPr>
              </a:p>
            </p:txBody>
          </p:sp>
          <p:sp>
            <p:nvSpPr>
              <p:cNvPr id="313" name="Network Switch Part 3"/>
              <p:cNvSpPr>
                <a:spLocks noChangeArrowheads="1"/>
              </p:cNvSpPr>
              <p:nvPr/>
            </p:nvSpPr>
            <p:spPr bwMode="auto">
              <a:xfrm>
                <a:off x="434975" y="2897188"/>
                <a:ext cx="503238" cy="119063"/>
              </a:xfrm>
              <a:prstGeom prst="rect">
                <a:avLst/>
              </a:prstGeom>
              <a:solidFill>
                <a:schemeClr val="bg1">
                  <a:lumMod val="85000"/>
                </a:schemeClr>
              </a:solidFill>
              <a:ln w="0">
                <a:noFill/>
                <a:prstDash val="solid"/>
                <a:miter lim="800000"/>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chemeClr val="tx1"/>
                  </a:solidFill>
                  <a:effectLst/>
                  <a:uLnTx/>
                  <a:uFillTx/>
                  <a:latin typeface="+mn-lt"/>
                  <a:ea typeface="+mn-ea"/>
                  <a:cs typeface="+mn-cs"/>
                </a:endParaRPr>
              </a:p>
            </p:txBody>
          </p:sp>
          <p:sp>
            <p:nvSpPr>
              <p:cNvPr id="314" name="Network Switch Part 2"/>
              <p:cNvSpPr>
                <a:spLocks noEditPoints="1"/>
              </p:cNvSpPr>
              <p:nvPr/>
            </p:nvSpPr>
            <p:spPr bwMode="auto">
              <a:xfrm>
                <a:off x="468313" y="2922588"/>
                <a:ext cx="436563" cy="60325"/>
              </a:xfrm>
              <a:custGeom>
                <a:avLst/>
                <a:gdLst>
                  <a:gd name="T0" fmla="*/ 57 w 1439"/>
                  <a:gd name="T1" fmla="*/ 0 h 198"/>
                  <a:gd name="T2" fmla="*/ 57 w 1439"/>
                  <a:gd name="T3" fmla="*/ 57 h 198"/>
                  <a:gd name="T4" fmla="*/ 0 w 1439"/>
                  <a:gd name="T5" fmla="*/ 57 h 198"/>
                  <a:gd name="T6" fmla="*/ 0 w 1439"/>
                  <a:gd name="T7" fmla="*/ 198 h 198"/>
                  <a:gd name="T8" fmla="*/ 198 w 1439"/>
                  <a:gd name="T9" fmla="*/ 198 h 198"/>
                  <a:gd name="T10" fmla="*/ 198 w 1439"/>
                  <a:gd name="T11" fmla="*/ 57 h 198"/>
                  <a:gd name="T12" fmla="*/ 141 w 1439"/>
                  <a:gd name="T13" fmla="*/ 57 h 198"/>
                  <a:gd name="T14" fmla="*/ 141 w 1439"/>
                  <a:gd name="T15" fmla="*/ 0 h 198"/>
                  <a:gd name="T16" fmla="*/ 57 w 1439"/>
                  <a:gd name="T17" fmla="*/ 0 h 198"/>
                  <a:gd name="T18" fmla="*/ 367 w 1439"/>
                  <a:gd name="T19" fmla="*/ 0 h 198"/>
                  <a:gd name="T20" fmla="*/ 367 w 1439"/>
                  <a:gd name="T21" fmla="*/ 57 h 198"/>
                  <a:gd name="T22" fmla="*/ 311 w 1439"/>
                  <a:gd name="T23" fmla="*/ 57 h 198"/>
                  <a:gd name="T24" fmla="*/ 311 w 1439"/>
                  <a:gd name="T25" fmla="*/ 198 h 198"/>
                  <a:gd name="T26" fmla="*/ 508 w 1439"/>
                  <a:gd name="T27" fmla="*/ 198 h 198"/>
                  <a:gd name="T28" fmla="*/ 508 w 1439"/>
                  <a:gd name="T29" fmla="*/ 57 h 198"/>
                  <a:gd name="T30" fmla="*/ 452 w 1439"/>
                  <a:gd name="T31" fmla="*/ 57 h 198"/>
                  <a:gd name="T32" fmla="*/ 452 w 1439"/>
                  <a:gd name="T33" fmla="*/ 0 h 198"/>
                  <a:gd name="T34" fmla="*/ 367 w 1439"/>
                  <a:gd name="T35" fmla="*/ 0 h 198"/>
                  <a:gd name="T36" fmla="*/ 677 w 1439"/>
                  <a:gd name="T37" fmla="*/ 0 h 198"/>
                  <a:gd name="T38" fmla="*/ 677 w 1439"/>
                  <a:gd name="T39" fmla="*/ 57 h 198"/>
                  <a:gd name="T40" fmla="*/ 621 w 1439"/>
                  <a:gd name="T41" fmla="*/ 57 h 198"/>
                  <a:gd name="T42" fmla="*/ 621 w 1439"/>
                  <a:gd name="T43" fmla="*/ 198 h 198"/>
                  <a:gd name="T44" fmla="*/ 819 w 1439"/>
                  <a:gd name="T45" fmla="*/ 198 h 198"/>
                  <a:gd name="T46" fmla="*/ 819 w 1439"/>
                  <a:gd name="T47" fmla="*/ 57 h 198"/>
                  <a:gd name="T48" fmla="*/ 762 w 1439"/>
                  <a:gd name="T49" fmla="*/ 57 h 198"/>
                  <a:gd name="T50" fmla="*/ 762 w 1439"/>
                  <a:gd name="T51" fmla="*/ 0 h 198"/>
                  <a:gd name="T52" fmla="*/ 677 w 1439"/>
                  <a:gd name="T53" fmla="*/ 0 h 198"/>
                  <a:gd name="T54" fmla="*/ 988 w 1439"/>
                  <a:gd name="T55" fmla="*/ 0 h 198"/>
                  <a:gd name="T56" fmla="*/ 988 w 1439"/>
                  <a:gd name="T57" fmla="*/ 57 h 198"/>
                  <a:gd name="T58" fmla="*/ 931 w 1439"/>
                  <a:gd name="T59" fmla="*/ 57 h 198"/>
                  <a:gd name="T60" fmla="*/ 931 w 1439"/>
                  <a:gd name="T61" fmla="*/ 198 h 198"/>
                  <a:gd name="T62" fmla="*/ 1129 w 1439"/>
                  <a:gd name="T63" fmla="*/ 198 h 198"/>
                  <a:gd name="T64" fmla="*/ 1129 w 1439"/>
                  <a:gd name="T65" fmla="*/ 57 h 198"/>
                  <a:gd name="T66" fmla="*/ 1073 w 1439"/>
                  <a:gd name="T67" fmla="*/ 57 h 198"/>
                  <a:gd name="T68" fmla="*/ 1073 w 1439"/>
                  <a:gd name="T69" fmla="*/ 0 h 198"/>
                  <a:gd name="T70" fmla="*/ 988 w 1439"/>
                  <a:gd name="T71" fmla="*/ 0 h 198"/>
                  <a:gd name="T72" fmla="*/ 1298 w 1439"/>
                  <a:gd name="T73" fmla="*/ 0 h 198"/>
                  <a:gd name="T74" fmla="*/ 1298 w 1439"/>
                  <a:gd name="T75" fmla="*/ 57 h 198"/>
                  <a:gd name="T76" fmla="*/ 1242 w 1439"/>
                  <a:gd name="T77" fmla="*/ 57 h 198"/>
                  <a:gd name="T78" fmla="*/ 1242 w 1439"/>
                  <a:gd name="T79" fmla="*/ 198 h 198"/>
                  <a:gd name="T80" fmla="*/ 1439 w 1439"/>
                  <a:gd name="T81" fmla="*/ 198 h 198"/>
                  <a:gd name="T82" fmla="*/ 1439 w 1439"/>
                  <a:gd name="T83" fmla="*/ 57 h 198"/>
                  <a:gd name="T84" fmla="*/ 1383 w 1439"/>
                  <a:gd name="T85" fmla="*/ 57 h 198"/>
                  <a:gd name="T86" fmla="*/ 1383 w 1439"/>
                  <a:gd name="T87" fmla="*/ 0 h 198"/>
                  <a:gd name="T88" fmla="*/ 1298 w 1439"/>
                  <a:gd name="T89"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39" h="198">
                    <a:moveTo>
                      <a:pt x="57" y="0"/>
                    </a:moveTo>
                    <a:lnTo>
                      <a:pt x="57" y="57"/>
                    </a:lnTo>
                    <a:lnTo>
                      <a:pt x="0" y="57"/>
                    </a:lnTo>
                    <a:lnTo>
                      <a:pt x="0" y="198"/>
                    </a:lnTo>
                    <a:lnTo>
                      <a:pt x="198" y="198"/>
                    </a:lnTo>
                    <a:lnTo>
                      <a:pt x="198" y="57"/>
                    </a:lnTo>
                    <a:lnTo>
                      <a:pt x="141" y="57"/>
                    </a:lnTo>
                    <a:lnTo>
                      <a:pt x="141" y="0"/>
                    </a:lnTo>
                    <a:lnTo>
                      <a:pt x="57" y="0"/>
                    </a:lnTo>
                    <a:close/>
                    <a:moveTo>
                      <a:pt x="367" y="0"/>
                    </a:moveTo>
                    <a:lnTo>
                      <a:pt x="367" y="57"/>
                    </a:lnTo>
                    <a:lnTo>
                      <a:pt x="311" y="57"/>
                    </a:lnTo>
                    <a:lnTo>
                      <a:pt x="311" y="198"/>
                    </a:lnTo>
                    <a:lnTo>
                      <a:pt x="508" y="198"/>
                    </a:lnTo>
                    <a:lnTo>
                      <a:pt x="508" y="57"/>
                    </a:lnTo>
                    <a:lnTo>
                      <a:pt x="452" y="57"/>
                    </a:lnTo>
                    <a:lnTo>
                      <a:pt x="452" y="0"/>
                    </a:lnTo>
                    <a:lnTo>
                      <a:pt x="367" y="0"/>
                    </a:lnTo>
                    <a:close/>
                    <a:moveTo>
                      <a:pt x="677" y="0"/>
                    </a:moveTo>
                    <a:lnTo>
                      <a:pt x="677" y="57"/>
                    </a:lnTo>
                    <a:lnTo>
                      <a:pt x="621" y="57"/>
                    </a:lnTo>
                    <a:lnTo>
                      <a:pt x="621" y="198"/>
                    </a:lnTo>
                    <a:lnTo>
                      <a:pt x="819" y="198"/>
                    </a:lnTo>
                    <a:lnTo>
                      <a:pt x="819" y="57"/>
                    </a:lnTo>
                    <a:lnTo>
                      <a:pt x="762" y="57"/>
                    </a:lnTo>
                    <a:lnTo>
                      <a:pt x="762" y="0"/>
                    </a:lnTo>
                    <a:lnTo>
                      <a:pt x="677" y="0"/>
                    </a:lnTo>
                    <a:close/>
                    <a:moveTo>
                      <a:pt x="988" y="0"/>
                    </a:moveTo>
                    <a:lnTo>
                      <a:pt x="988" y="57"/>
                    </a:lnTo>
                    <a:lnTo>
                      <a:pt x="931" y="57"/>
                    </a:lnTo>
                    <a:lnTo>
                      <a:pt x="931" y="198"/>
                    </a:lnTo>
                    <a:lnTo>
                      <a:pt x="1129" y="198"/>
                    </a:lnTo>
                    <a:lnTo>
                      <a:pt x="1129" y="57"/>
                    </a:lnTo>
                    <a:lnTo>
                      <a:pt x="1073" y="57"/>
                    </a:lnTo>
                    <a:lnTo>
                      <a:pt x="1073" y="0"/>
                    </a:lnTo>
                    <a:lnTo>
                      <a:pt x="988" y="0"/>
                    </a:lnTo>
                    <a:close/>
                    <a:moveTo>
                      <a:pt x="1298" y="0"/>
                    </a:moveTo>
                    <a:lnTo>
                      <a:pt x="1298" y="57"/>
                    </a:lnTo>
                    <a:lnTo>
                      <a:pt x="1242" y="57"/>
                    </a:lnTo>
                    <a:lnTo>
                      <a:pt x="1242" y="198"/>
                    </a:lnTo>
                    <a:lnTo>
                      <a:pt x="1439" y="198"/>
                    </a:lnTo>
                    <a:lnTo>
                      <a:pt x="1439" y="57"/>
                    </a:lnTo>
                    <a:lnTo>
                      <a:pt x="1383" y="57"/>
                    </a:lnTo>
                    <a:lnTo>
                      <a:pt x="1383" y="0"/>
                    </a:lnTo>
                    <a:lnTo>
                      <a:pt x="1298" y="0"/>
                    </a:lnTo>
                    <a:close/>
                  </a:path>
                </a:pathLst>
              </a:custGeom>
              <a:solidFill>
                <a:schemeClr val="accent1"/>
              </a:solid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chemeClr val="tx1"/>
                  </a:solidFill>
                  <a:effectLst/>
                  <a:uLnTx/>
                  <a:uFillTx/>
                  <a:latin typeface="+mn-lt"/>
                  <a:ea typeface="+mn-ea"/>
                  <a:cs typeface="+mn-cs"/>
                </a:endParaRPr>
              </a:p>
            </p:txBody>
          </p:sp>
          <p:sp>
            <p:nvSpPr>
              <p:cNvPr id="315" name="Network Switch Part 1"/>
              <p:cNvSpPr>
                <a:spLocks noChangeArrowheads="1"/>
              </p:cNvSpPr>
              <p:nvPr/>
            </p:nvSpPr>
            <p:spPr bwMode="auto">
              <a:xfrm>
                <a:off x="963613" y="2947988"/>
                <a:ext cx="52388" cy="25400"/>
              </a:xfrm>
              <a:prstGeom prst="rect">
                <a:avLst/>
              </a:prstGeom>
              <a:solidFill>
                <a:schemeClr val="accent2"/>
              </a:solidFill>
              <a:ln w="0">
                <a:noFill/>
                <a:prstDash val="solid"/>
                <a:miter lim="800000"/>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chemeClr val="tx1"/>
                  </a:solidFill>
                  <a:effectLst/>
                  <a:uLnTx/>
                  <a:uFillTx/>
                  <a:latin typeface="+mn-lt"/>
                  <a:ea typeface="+mn-ea"/>
                  <a:cs typeface="+mn-cs"/>
                </a:endParaRPr>
              </a:p>
            </p:txBody>
          </p:sp>
        </p:grpSp>
        <p:sp>
          <p:nvSpPr>
            <p:cNvPr id="316" name="TextBox 315"/>
            <p:cNvSpPr txBox="1"/>
            <p:nvPr/>
          </p:nvSpPr>
          <p:spPr>
            <a:xfrm>
              <a:off x="5194603" y="6133045"/>
              <a:ext cx="1320683" cy="193899"/>
            </a:xfrm>
            <a:prstGeom prst="rect">
              <a:avLst/>
            </a:prstGeom>
            <a:noFill/>
          </p:spPr>
          <p:txBody>
            <a:bodyPr wrap="non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chemeClr val="tx2"/>
                  </a:solidFill>
                  <a:effectLst/>
                  <a:uLnTx/>
                  <a:uFillTx/>
                  <a:ea typeface="Segoe UI" pitchFamily="34" charset="0"/>
                  <a:cs typeface="Segoe UI" pitchFamily="34" charset="0"/>
                </a:rPr>
                <a:t>Azure Event Hub</a:t>
              </a:r>
            </a:p>
          </p:txBody>
        </p:sp>
      </p:grpSp>
      <p:grpSp>
        <p:nvGrpSpPr>
          <p:cNvPr id="7" name="Group 6"/>
          <p:cNvGrpSpPr/>
          <p:nvPr/>
        </p:nvGrpSpPr>
        <p:grpSpPr>
          <a:xfrm>
            <a:off x="5875527" y="1890703"/>
            <a:ext cx="4177910" cy="982458"/>
            <a:chOff x="5875527" y="1890703"/>
            <a:chExt cx="4177910" cy="982458"/>
          </a:xfrm>
        </p:grpSpPr>
        <p:sp>
          <p:nvSpPr>
            <p:cNvPr id="25" name="TextBox 24"/>
            <p:cNvSpPr txBox="1"/>
            <p:nvPr/>
          </p:nvSpPr>
          <p:spPr>
            <a:xfrm>
              <a:off x="6504876" y="1890703"/>
              <a:ext cx="641201" cy="507831"/>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dirty="0">
                  <a:ln>
                    <a:noFill/>
                  </a:ln>
                  <a:solidFill>
                    <a:schemeClr val="tx2"/>
                  </a:solidFill>
                  <a:effectLst/>
                  <a:uLnTx/>
                  <a:uFillTx/>
                </a:rPr>
                <a:t>Apache </a:t>
              </a:r>
            </a:p>
            <a:p>
              <a:pPr marL="0" marR="0" lvl="0" indent="0" algn="ctr" defTabSz="914367"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dirty="0">
                  <a:ln>
                    <a:noFill/>
                  </a:ln>
                  <a:solidFill>
                    <a:schemeClr val="tx2"/>
                  </a:solidFill>
                  <a:effectLst/>
                  <a:uLnTx/>
                  <a:uFillTx/>
                </a:rPr>
                <a:t>Flume</a:t>
              </a:r>
            </a:p>
          </p:txBody>
        </p:sp>
        <p:cxnSp>
          <p:nvCxnSpPr>
            <p:cNvPr id="318" name="Straight Connector 14"/>
            <p:cNvCxnSpPr/>
            <p:nvPr/>
          </p:nvCxnSpPr>
          <p:spPr>
            <a:xfrm rot="10800000" flipV="1">
              <a:off x="5875527" y="2140880"/>
              <a:ext cx="4177910" cy="732281"/>
            </a:xfrm>
            <a:prstGeom prst="bentConnector2">
              <a:avLst/>
            </a:prstGeom>
            <a:ln w="38100" cap="rnd">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10110139" y="3037540"/>
            <a:ext cx="1596656" cy="816441"/>
            <a:chOff x="10110139" y="3037540"/>
            <a:chExt cx="1596656" cy="816441"/>
          </a:xfrm>
        </p:grpSpPr>
        <p:sp>
          <p:nvSpPr>
            <p:cNvPr id="41" name="Rectangle 40"/>
            <p:cNvSpPr/>
            <p:nvPr/>
          </p:nvSpPr>
          <p:spPr>
            <a:xfrm>
              <a:off x="10110139" y="3638537"/>
              <a:ext cx="1596656" cy="215444"/>
            </a:xfrm>
            <a:prstGeom prst="rect">
              <a:avLst/>
            </a:prstGeom>
          </p:spPr>
          <p:txBody>
            <a:bodyPr wrap="square" lIns="0" tIns="0" rIns="0" bIns="0">
              <a:spAutoFit/>
            </a:bodyPr>
            <a:lstStyle/>
            <a:p>
              <a:pPr marL="0" marR="0" lvl="0" indent="0" defTabSz="91410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ea typeface="Segoe UI" pitchFamily="34" charset="0"/>
                  <a:cs typeface="Segoe UI" pitchFamily="34" charset="0"/>
                </a:rPr>
                <a:t>Azure Storage Blobs</a:t>
              </a:r>
            </a:p>
          </p:txBody>
        </p:sp>
        <p:grpSp>
          <p:nvGrpSpPr>
            <p:cNvPr id="341" name="Group 340"/>
            <p:cNvGrpSpPr/>
            <p:nvPr/>
          </p:nvGrpSpPr>
          <p:grpSpPr>
            <a:xfrm>
              <a:off x="10549993" y="3037540"/>
              <a:ext cx="716949" cy="571500"/>
              <a:chOff x="10549992" y="2941320"/>
              <a:chExt cx="716949" cy="571500"/>
            </a:xfrm>
          </p:grpSpPr>
          <p:sp>
            <p:nvSpPr>
              <p:cNvPr id="330" name="Rectangle 209"/>
              <p:cNvSpPr>
                <a:spLocks noChangeArrowheads="1"/>
              </p:cNvSpPr>
              <p:nvPr/>
            </p:nvSpPr>
            <p:spPr bwMode="auto">
              <a:xfrm>
                <a:off x="10549992" y="2941320"/>
                <a:ext cx="716949" cy="571500"/>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18288" rIns="45720" bIns="18288" numCol="1" anchor="b"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dirty="0">
                  <a:ln>
                    <a:noFill/>
                  </a:ln>
                  <a:solidFill>
                    <a:schemeClr val="bg1"/>
                  </a:solidFill>
                  <a:effectLst/>
                  <a:uLnTx/>
                  <a:uFillTx/>
                </a:endParaRPr>
              </a:p>
            </p:txBody>
          </p:sp>
          <p:sp>
            <p:nvSpPr>
              <p:cNvPr id="331" name="Freeform 218"/>
              <p:cNvSpPr>
                <a:spLocks noEditPoints="1"/>
              </p:cNvSpPr>
              <p:nvPr/>
            </p:nvSpPr>
            <p:spPr bwMode="auto">
              <a:xfrm>
                <a:off x="10585882" y="3049623"/>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32" name="Freeform 219"/>
              <p:cNvSpPr>
                <a:spLocks noEditPoints="1"/>
              </p:cNvSpPr>
              <p:nvPr/>
            </p:nvSpPr>
            <p:spPr bwMode="auto">
              <a:xfrm>
                <a:off x="10585882" y="3049623"/>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33" name="Line 220"/>
              <p:cNvSpPr>
                <a:spLocks noChangeShapeType="1"/>
              </p:cNvSpPr>
              <p:nvPr/>
            </p:nvSpPr>
            <p:spPr bwMode="auto">
              <a:xfrm>
                <a:off x="10585882" y="3188912"/>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34" name="Line 221"/>
              <p:cNvSpPr>
                <a:spLocks noChangeShapeType="1"/>
              </p:cNvSpPr>
              <p:nvPr/>
            </p:nvSpPr>
            <p:spPr bwMode="auto">
              <a:xfrm flipH="1">
                <a:off x="10585882" y="3319655"/>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35" name="Line 222"/>
              <p:cNvSpPr>
                <a:spLocks noChangeShapeType="1"/>
              </p:cNvSpPr>
              <p:nvPr/>
            </p:nvSpPr>
            <p:spPr bwMode="auto">
              <a:xfrm>
                <a:off x="11016564" y="3049623"/>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36" name="Line 223"/>
              <p:cNvSpPr>
                <a:spLocks noChangeShapeType="1"/>
              </p:cNvSpPr>
              <p:nvPr/>
            </p:nvSpPr>
            <p:spPr bwMode="auto">
              <a:xfrm flipV="1">
                <a:off x="10800369" y="3049623"/>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40" name="Freeform 219"/>
              <p:cNvSpPr>
                <a:spLocks noEditPoints="1"/>
              </p:cNvSpPr>
              <p:nvPr/>
            </p:nvSpPr>
            <p:spPr bwMode="auto">
              <a:xfrm>
                <a:off x="10585882" y="2983398"/>
                <a:ext cx="643460" cy="84406"/>
              </a:xfrm>
              <a:prstGeom prst="rect">
                <a:avLst/>
              </a:pr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grpSp>
      <p:grpSp>
        <p:nvGrpSpPr>
          <p:cNvPr id="12" name="Group 11"/>
          <p:cNvGrpSpPr/>
          <p:nvPr/>
        </p:nvGrpSpPr>
        <p:grpSpPr>
          <a:xfrm>
            <a:off x="10059909" y="5202860"/>
            <a:ext cx="1555996" cy="1105851"/>
            <a:chOff x="10059909" y="5202860"/>
            <a:chExt cx="1555996" cy="1105851"/>
          </a:xfrm>
        </p:grpSpPr>
        <p:sp>
          <p:nvSpPr>
            <p:cNvPr id="10" name="Rectangle 9"/>
            <p:cNvSpPr/>
            <p:nvPr/>
          </p:nvSpPr>
          <p:spPr>
            <a:xfrm>
              <a:off x="10201030" y="6093267"/>
              <a:ext cx="1414875" cy="215444"/>
            </a:xfrm>
            <a:prstGeom prst="rect">
              <a:avLst/>
            </a:prstGeom>
          </p:spPr>
          <p:txBody>
            <a:bodyPr wrap="square" lIns="0" tIns="0" rIns="0" bIns="0">
              <a:spAutoFit/>
            </a:bodyPr>
            <a:lstStyle/>
            <a:p>
              <a:pPr marL="0" marR="0" lvl="0" indent="0" algn="ctr" defTabSz="91410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ea typeface="Segoe UI" pitchFamily="34" charset="0"/>
                  <a:cs typeface="Segoe UI" pitchFamily="34" charset="0"/>
                </a:rPr>
                <a:t>Custom programs</a:t>
              </a:r>
            </a:p>
          </p:txBody>
        </p:sp>
        <p:grpSp>
          <p:nvGrpSpPr>
            <p:cNvPr id="370" name="Group 369"/>
            <p:cNvGrpSpPr/>
            <p:nvPr/>
          </p:nvGrpSpPr>
          <p:grpSpPr>
            <a:xfrm>
              <a:off x="10059909" y="5202860"/>
              <a:ext cx="1284366" cy="704227"/>
              <a:chOff x="9421813" y="4852988"/>
              <a:chExt cx="1922462" cy="1054100"/>
            </a:xfrm>
          </p:grpSpPr>
          <p:sp>
            <p:nvSpPr>
              <p:cNvPr id="345" name="Freeform 53"/>
              <p:cNvSpPr>
                <a:spLocks/>
              </p:cNvSpPr>
              <p:nvPr/>
            </p:nvSpPr>
            <p:spPr bwMode="auto">
              <a:xfrm>
                <a:off x="11122025" y="5799138"/>
                <a:ext cx="222250" cy="107950"/>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6" name="Freeform 54"/>
              <p:cNvSpPr>
                <a:spLocks/>
              </p:cNvSpPr>
              <p:nvPr/>
            </p:nvSpPr>
            <p:spPr bwMode="auto">
              <a:xfrm>
                <a:off x="10712450" y="5800725"/>
                <a:ext cx="473075" cy="60325"/>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7" name="Oval 55"/>
              <p:cNvSpPr>
                <a:spLocks noChangeArrowheads="1"/>
              </p:cNvSpPr>
              <p:nvPr/>
            </p:nvSpPr>
            <p:spPr bwMode="auto">
              <a:xfrm>
                <a:off x="9915525" y="5627688"/>
                <a:ext cx="493713" cy="104775"/>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8" name="Freeform 56"/>
              <p:cNvSpPr>
                <a:spLocks/>
              </p:cNvSpPr>
              <p:nvPr/>
            </p:nvSpPr>
            <p:spPr bwMode="auto">
              <a:xfrm>
                <a:off x="9555163" y="4852988"/>
                <a:ext cx="1193800" cy="828675"/>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9" name="Rectangle 57"/>
              <p:cNvSpPr>
                <a:spLocks noChangeArrowheads="1"/>
              </p:cNvSpPr>
              <p:nvPr/>
            </p:nvSpPr>
            <p:spPr bwMode="auto">
              <a:xfrm>
                <a:off x="9593263" y="4889500"/>
                <a:ext cx="1117600" cy="63341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0" name="Rectangle 58"/>
              <p:cNvSpPr>
                <a:spLocks noChangeArrowheads="1"/>
              </p:cNvSpPr>
              <p:nvPr/>
            </p:nvSpPr>
            <p:spPr bwMode="auto">
              <a:xfrm>
                <a:off x="9421813" y="5849938"/>
                <a:ext cx="1477963" cy="555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1" name="Freeform 59"/>
              <p:cNvSpPr>
                <a:spLocks/>
              </p:cNvSpPr>
              <p:nvPr/>
            </p:nvSpPr>
            <p:spPr bwMode="auto">
              <a:xfrm>
                <a:off x="9421813" y="5783263"/>
                <a:ext cx="1477963" cy="66675"/>
              </a:xfrm>
              <a:custGeom>
                <a:avLst/>
                <a:gdLst>
                  <a:gd name="T0" fmla="*/ 931 w 931"/>
                  <a:gd name="T1" fmla="*/ 42 h 42"/>
                  <a:gd name="T2" fmla="*/ 0 w 931"/>
                  <a:gd name="T3" fmla="*/ 42 h 42"/>
                  <a:gd name="T4" fmla="*/ 59 w 931"/>
                  <a:gd name="T5" fmla="*/ 0 h 42"/>
                  <a:gd name="T6" fmla="*/ 873 w 931"/>
                  <a:gd name="T7" fmla="*/ 0 h 42"/>
                  <a:gd name="T8" fmla="*/ 931 w 931"/>
                  <a:gd name="T9" fmla="*/ 42 h 42"/>
                </a:gdLst>
                <a:ahLst/>
                <a:cxnLst>
                  <a:cxn ang="0">
                    <a:pos x="T0" y="T1"/>
                  </a:cxn>
                  <a:cxn ang="0">
                    <a:pos x="T2" y="T3"/>
                  </a:cxn>
                  <a:cxn ang="0">
                    <a:pos x="T4" y="T5"/>
                  </a:cxn>
                  <a:cxn ang="0">
                    <a:pos x="T6" y="T7"/>
                  </a:cxn>
                  <a:cxn ang="0">
                    <a:pos x="T8" y="T9"/>
                  </a:cxn>
                </a:cxnLst>
                <a:rect l="0" t="0" r="r" b="b"/>
                <a:pathLst>
                  <a:path w="931" h="42">
                    <a:moveTo>
                      <a:pt x="931" y="42"/>
                    </a:moveTo>
                    <a:lnTo>
                      <a:pt x="0" y="42"/>
                    </a:lnTo>
                    <a:lnTo>
                      <a:pt x="59" y="0"/>
                    </a:lnTo>
                    <a:lnTo>
                      <a:pt x="873" y="0"/>
                    </a:lnTo>
                    <a:lnTo>
                      <a:pt x="931" y="4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369" name="Group 368"/>
              <p:cNvGrpSpPr/>
              <p:nvPr/>
            </p:nvGrpSpPr>
            <p:grpSpPr>
              <a:xfrm>
                <a:off x="10923587" y="4883150"/>
                <a:ext cx="420688" cy="798513"/>
                <a:chOff x="11093450" y="4883150"/>
                <a:chExt cx="420688" cy="798513"/>
              </a:xfrm>
            </p:grpSpPr>
            <p:sp>
              <p:nvSpPr>
                <p:cNvPr id="356" name="AutoShape 63"/>
                <p:cNvSpPr>
                  <a:spLocks noChangeAspect="1" noChangeArrowheads="1" noTextEdit="1"/>
                </p:cNvSpPr>
                <p:nvPr/>
              </p:nvSpPr>
              <p:spPr bwMode="auto">
                <a:xfrm>
                  <a:off x="11093450" y="4886325"/>
                  <a:ext cx="4206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7" name="Freeform 65"/>
                <p:cNvSpPr>
                  <a:spLocks/>
                </p:cNvSpPr>
                <p:nvPr/>
              </p:nvSpPr>
              <p:spPr bwMode="auto">
                <a:xfrm>
                  <a:off x="11095038" y="4883150"/>
                  <a:ext cx="417513" cy="798513"/>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44235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8" name="Rectangle 66"/>
                <p:cNvSpPr>
                  <a:spLocks noChangeArrowheads="1"/>
                </p:cNvSpPr>
                <p:nvPr/>
              </p:nvSpPr>
              <p:spPr bwMode="auto">
                <a:xfrm>
                  <a:off x="11114088" y="4967288"/>
                  <a:ext cx="379413" cy="79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0" name="Rectangle 68"/>
                <p:cNvSpPr>
                  <a:spLocks noChangeArrowheads="1"/>
                </p:cNvSpPr>
                <p:nvPr/>
              </p:nvSpPr>
              <p:spPr bwMode="auto">
                <a:xfrm>
                  <a:off x="11114088" y="5060950"/>
                  <a:ext cx="379413" cy="6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2" name="Rectangle 70"/>
                <p:cNvSpPr>
                  <a:spLocks noChangeArrowheads="1"/>
                </p:cNvSpPr>
                <p:nvPr/>
              </p:nvSpPr>
              <p:spPr bwMode="auto">
                <a:xfrm>
                  <a:off x="11114088" y="5153025"/>
                  <a:ext cx="379413" cy="6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4" name="Rectangle 72"/>
                <p:cNvSpPr>
                  <a:spLocks noChangeArrowheads="1"/>
                </p:cNvSpPr>
                <p:nvPr/>
              </p:nvSpPr>
              <p:spPr bwMode="auto">
                <a:xfrm>
                  <a:off x="11114088" y="5245100"/>
                  <a:ext cx="379413" cy="79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6" name="Oval 74"/>
                <p:cNvSpPr>
                  <a:spLocks noChangeArrowheads="1"/>
                </p:cNvSpPr>
                <p:nvPr/>
              </p:nvSpPr>
              <p:spPr bwMode="auto">
                <a:xfrm>
                  <a:off x="11280775" y="5503863"/>
                  <a:ext cx="47625" cy="46038"/>
                </a:xfrm>
                <a:prstGeom prst="ellipse">
                  <a:avLst/>
                </a:pr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7" name="Freeform 75"/>
                <p:cNvSpPr>
                  <a:spLocks/>
                </p:cNvSpPr>
                <p:nvPr/>
              </p:nvSpPr>
              <p:spPr bwMode="auto">
                <a:xfrm>
                  <a:off x="11096625" y="5649913"/>
                  <a:ext cx="417513" cy="31750"/>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8" name="Rectangle 76"/>
                <p:cNvSpPr>
                  <a:spLocks noChangeArrowheads="1"/>
                </p:cNvSpPr>
                <p:nvPr/>
              </p:nvSpPr>
              <p:spPr bwMode="auto">
                <a:xfrm>
                  <a:off x="11096625" y="5600700"/>
                  <a:ext cx="417513" cy="49213"/>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grpSp>
        <p:nvGrpSpPr>
          <p:cNvPr id="13" name="Group 12"/>
          <p:cNvGrpSpPr/>
          <p:nvPr/>
        </p:nvGrpSpPr>
        <p:grpSpPr>
          <a:xfrm>
            <a:off x="6866957" y="3915014"/>
            <a:ext cx="3737501" cy="1092267"/>
            <a:chOff x="6866957" y="3915014"/>
            <a:chExt cx="3737501" cy="1092267"/>
          </a:xfrm>
        </p:grpSpPr>
        <p:sp>
          <p:nvSpPr>
            <p:cNvPr id="27" name="TextBox 26"/>
            <p:cNvSpPr txBox="1"/>
            <p:nvPr/>
          </p:nvSpPr>
          <p:spPr>
            <a:xfrm>
              <a:off x="9132819" y="4003203"/>
              <a:ext cx="1376980" cy="900246"/>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10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rPr>
                <a:t>.NET SDK </a:t>
              </a:r>
            </a:p>
            <a:p>
              <a:pPr marL="0" marR="0" lvl="0" indent="0" defTabSz="914367" eaLnBrk="1" fontAlgn="auto" latinLnBrk="0" hangingPunct="1">
                <a:lnSpc>
                  <a:spcPct val="100000"/>
                </a:lnSpc>
                <a:spcBef>
                  <a:spcPts val="10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rPr>
                <a:t>JavaScript CLI</a:t>
              </a:r>
            </a:p>
            <a:p>
              <a:pPr marL="0" marR="0" lvl="0" indent="0" defTabSz="914367" eaLnBrk="1" fontAlgn="auto" latinLnBrk="0" hangingPunct="1">
                <a:lnSpc>
                  <a:spcPct val="100000"/>
                </a:lnSpc>
                <a:spcBef>
                  <a:spcPts val="10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rPr>
                <a:t>Azure Portal</a:t>
              </a:r>
            </a:p>
            <a:p>
              <a:pPr marL="0" marR="0" lvl="0" indent="0" defTabSz="914367" eaLnBrk="1" fontAlgn="auto" latinLnBrk="0" hangingPunct="1">
                <a:lnSpc>
                  <a:spcPct val="100000"/>
                </a:lnSpc>
                <a:spcBef>
                  <a:spcPts val="10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rPr>
                <a:t>Azure PowerShell</a:t>
              </a:r>
            </a:p>
          </p:txBody>
        </p:sp>
        <p:cxnSp>
          <p:nvCxnSpPr>
            <p:cNvPr id="372" name="Straight Connector 14"/>
            <p:cNvCxnSpPr/>
            <p:nvPr/>
          </p:nvCxnSpPr>
          <p:spPr>
            <a:xfrm rot="16200000" flipV="1">
              <a:off x="8189574" y="2592397"/>
              <a:ext cx="1092267" cy="3737501"/>
            </a:xfrm>
            <a:prstGeom prst="bentConnector2">
              <a:avLst/>
            </a:prstGeom>
            <a:ln w="38100" cap="rnd">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2545370" y="2301253"/>
            <a:ext cx="2228032" cy="3326176"/>
            <a:chOff x="2545370" y="2301253"/>
            <a:chExt cx="2228032" cy="3326176"/>
          </a:xfrm>
        </p:grpSpPr>
        <p:cxnSp>
          <p:nvCxnSpPr>
            <p:cNvPr id="16" name="Straight Connector 15"/>
            <p:cNvCxnSpPr/>
            <p:nvPr/>
          </p:nvCxnSpPr>
          <p:spPr>
            <a:xfrm>
              <a:off x="2928611" y="3964341"/>
              <a:ext cx="1844791" cy="0"/>
            </a:xfrm>
            <a:prstGeom prst="line">
              <a:avLst/>
            </a:prstGeom>
            <a:ln w="38100" cap="rnd">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014457" y="3639031"/>
              <a:ext cx="1503617" cy="215444"/>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dirty="0">
                  <a:ln>
                    <a:noFill/>
                  </a:ln>
                  <a:solidFill>
                    <a:schemeClr val="tx2"/>
                  </a:solidFill>
                  <a:effectLst/>
                  <a:uLnTx/>
                  <a:uFillTx/>
                </a:rPr>
                <a:t>Azure Data Factory</a:t>
              </a:r>
            </a:p>
          </p:txBody>
        </p:sp>
        <p:sp>
          <p:nvSpPr>
            <p:cNvPr id="24" name="TextBox 23"/>
            <p:cNvSpPr txBox="1"/>
            <p:nvPr/>
          </p:nvSpPr>
          <p:spPr>
            <a:xfrm>
              <a:off x="3014457" y="4010117"/>
              <a:ext cx="1160574" cy="215444"/>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dirty="0">
                  <a:ln>
                    <a:noFill/>
                  </a:ln>
                  <a:solidFill>
                    <a:schemeClr val="tx2"/>
                  </a:solidFill>
                  <a:effectLst/>
                  <a:uLnTx/>
                  <a:uFillTx/>
                </a:rPr>
                <a:t>Apache Sqoop</a:t>
              </a:r>
            </a:p>
          </p:txBody>
        </p:sp>
        <p:cxnSp>
          <p:nvCxnSpPr>
            <p:cNvPr id="33" name="Straight Connector 32"/>
            <p:cNvCxnSpPr/>
            <p:nvPr/>
          </p:nvCxnSpPr>
          <p:spPr>
            <a:xfrm>
              <a:off x="2545370" y="3420162"/>
              <a:ext cx="357639" cy="0"/>
            </a:xfrm>
            <a:prstGeom prst="line">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290" name="Straight Connector 289"/>
            <p:cNvCxnSpPr/>
            <p:nvPr/>
          </p:nvCxnSpPr>
          <p:spPr>
            <a:xfrm>
              <a:off x="2545370" y="4548762"/>
              <a:ext cx="357639" cy="0"/>
            </a:xfrm>
            <a:prstGeom prst="line">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291" name="Straight Connector 14"/>
            <p:cNvCxnSpPr/>
            <p:nvPr/>
          </p:nvCxnSpPr>
          <p:spPr>
            <a:xfrm flipV="1">
              <a:off x="2545370" y="2301253"/>
              <a:ext cx="12700" cy="3326176"/>
            </a:xfrm>
            <a:prstGeom prst="bentConnector3">
              <a:avLst>
                <a:gd name="adj1" fmla="val 2957142"/>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grpSp>
      <p:grpSp>
        <p:nvGrpSpPr>
          <p:cNvPr id="19" name="Group 18"/>
          <p:cNvGrpSpPr/>
          <p:nvPr/>
        </p:nvGrpSpPr>
        <p:grpSpPr>
          <a:xfrm>
            <a:off x="650398" y="1700394"/>
            <a:ext cx="1907672" cy="4608317"/>
            <a:chOff x="650398" y="1700394"/>
            <a:chExt cx="1907672" cy="4608317"/>
          </a:xfrm>
        </p:grpSpPr>
        <p:sp>
          <p:nvSpPr>
            <p:cNvPr id="53" name="Rectangle 52"/>
            <p:cNvSpPr/>
            <p:nvPr/>
          </p:nvSpPr>
          <p:spPr>
            <a:xfrm>
              <a:off x="993024" y="2542055"/>
              <a:ext cx="1097287" cy="215444"/>
            </a:xfrm>
            <a:prstGeom prst="rect">
              <a:avLst/>
            </a:prstGeom>
          </p:spPr>
          <p:txBody>
            <a:bodyPr wrap="square" lIns="0" tIns="0" rIns="0" bIns="0">
              <a:spAutoFit/>
            </a:bodyPr>
            <a:lstStyle/>
            <a:p>
              <a:pPr marL="0" marR="0" lvl="0" indent="0" algn="ctr" defTabSz="91410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ea typeface="Segoe UI" pitchFamily="34" charset="0"/>
                  <a:cs typeface="Segoe UI" pitchFamily="34" charset="0"/>
                </a:rPr>
                <a:t>Azure SQL DB</a:t>
              </a:r>
            </a:p>
          </p:txBody>
        </p:sp>
        <p:sp>
          <p:nvSpPr>
            <p:cNvPr id="51" name="Rectangle 50"/>
            <p:cNvSpPr/>
            <p:nvPr/>
          </p:nvSpPr>
          <p:spPr>
            <a:xfrm>
              <a:off x="960162" y="3794082"/>
              <a:ext cx="1163011" cy="215444"/>
            </a:xfrm>
            <a:prstGeom prst="rect">
              <a:avLst/>
            </a:prstGeom>
          </p:spPr>
          <p:txBody>
            <a:bodyPr wrap="square" lIns="0" tIns="0" rIns="0" bIns="0">
              <a:spAutoFit/>
            </a:bodyPr>
            <a:lstStyle/>
            <a:p>
              <a:pPr marL="0" marR="0" lvl="0" indent="0" algn="ctr" defTabSz="91410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ea typeface="Segoe UI" pitchFamily="34" charset="0"/>
                  <a:cs typeface="Segoe UI" pitchFamily="34" charset="0"/>
                </a:rPr>
                <a:t>Azure SQL DW</a:t>
              </a:r>
            </a:p>
          </p:txBody>
        </p:sp>
        <p:sp>
          <p:nvSpPr>
            <p:cNvPr id="211" name="Freeform 106"/>
            <p:cNvSpPr>
              <a:spLocks noEditPoints="1"/>
            </p:cNvSpPr>
            <p:nvPr/>
          </p:nvSpPr>
          <p:spPr bwMode="auto">
            <a:xfrm>
              <a:off x="1220277" y="3017279"/>
              <a:ext cx="642781" cy="751095"/>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rgbClr val="FF8C00"/>
            </a:solidFill>
            <a:ln>
              <a:noFill/>
            </a:ln>
            <a:extLst/>
          </p:spPr>
          <p:txBody>
            <a:bodyPr vert="horz" wrap="square" lIns="0" tIns="18288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49" name="Rectangle 48"/>
            <p:cNvSpPr/>
            <p:nvPr/>
          </p:nvSpPr>
          <p:spPr>
            <a:xfrm>
              <a:off x="1046628" y="4873932"/>
              <a:ext cx="990078" cy="215444"/>
            </a:xfrm>
            <a:prstGeom prst="rect">
              <a:avLst/>
            </a:prstGeom>
          </p:spPr>
          <p:txBody>
            <a:bodyPr wrap="square" lIns="0" tIns="0" rIns="0" bIns="0">
              <a:spAutoFit/>
            </a:bodyPr>
            <a:lstStyle/>
            <a:p>
              <a:pPr marL="0" marR="0" lvl="0" indent="0" algn="ctr" defTabSz="91410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ea typeface="Segoe UI" pitchFamily="34" charset="0"/>
                  <a:cs typeface="Segoe UI" pitchFamily="34" charset="0"/>
                </a:rPr>
                <a:t>Azure tables</a:t>
              </a:r>
            </a:p>
          </p:txBody>
        </p:sp>
        <p:grpSp>
          <p:nvGrpSpPr>
            <p:cNvPr id="297" name="Group 296"/>
            <p:cNvGrpSpPr/>
            <p:nvPr/>
          </p:nvGrpSpPr>
          <p:grpSpPr>
            <a:xfrm>
              <a:off x="1183193" y="4240278"/>
              <a:ext cx="716949" cy="616970"/>
              <a:chOff x="1183193" y="4240278"/>
              <a:chExt cx="716949" cy="616970"/>
            </a:xfrm>
          </p:grpSpPr>
          <p:sp>
            <p:nvSpPr>
              <p:cNvPr id="222" name="Rectangle 209"/>
              <p:cNvSpPr>
                <a:spLocks noChangeArrowheads="1"/>
              </p:cNvSpPr>
              <p:nvPr/>
            </p:nvSpPr>
            <p:spPr bwMode="auto">
              <a:xfrm>
                <a:off x="1183193" y="4240278"/>
                <a:ext cx="716949" cy="616970"/>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18288" rIns="45720" bIns="18288" numCol="1" anchor="b"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a:ln>
                      <a:noFill/>
                    </a:ln>
                    <a:solidFill>
                      <a:schemeClr val="bg1"/>
                    </a:solidFill>
                    <a:effectLst/>
                    <a:uLnTx/>
                    <a:uFillTx/>
                  </a:rPr>
                  <a:t>Table Storage</a:t>
                </a:r>
              </a:p>
            </p:txBody>
          </p:sp>
          <p:sp>
            <p:nvSpPr>
              <p:cNvPr id="231" name="Freeform 218"/>
              <p:cNvSpPr>
                <a:spLocks noEditPoints="1"/>
              </p:cNvSpPr>
              <p:nvPr/>
            </p:nvSpPr>
            <p:spPr bwMode="auto">
              <a:xfrm>
                <a:off x="1219083" y="4286415"/>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32" name="Freeform 219"/>
              <p:cNvSpPr>
                <a:spLocks noEditPoints="1"/>
              </p:cNvSpPr>
              <p:nvPr/>
            </p:nvSpPr>
            <p:spPr bwMode="auto">
              <a:xfrm>
                <a:off x="1219083" y="4286415"/>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33" name="Line 220"/>
              <p:cNvSpPr>
                <a:spLocks noChangeShapeType="1"/>
              </p:cNvSpPr>
              <p:nvPr/>
            </p:nvSpPr>
            <p:spPr bwMode="auto">
              <a:xfrm>
                <a:off x="1219083" y="4425704"/>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34" name="Line 221"/>
              <p:cNvSpPr>
                <a:spLocks noChangeShapeType="1"/>
              </p:cNvSpPr>
              <p:nvPr/>
            </p:nvSpPr>
            <p:spPr bwMode="auto">
              <a:xfrm flipH="1">
                <a:off x="1219083" y="4556447"/>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35" name="Line 222"/>
              <p:cNvSpPr>
                <a:spLocks noChangeShapeType="1"/>
              </p:cNvSpPr>
              <p:nvPr/>
            </p:nvSpPr>
            <p:spPr bwMode="auto">
              <a:xfrm>
                <a:off x="1649765" y="4286415"/>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36" name="Line 223"/>
              <p:cNvSpPr>
                <a:spLocks noChangeShapeType="1"/>
              </p:cNvSpPr>
              <p:nvPr/>
            </p:nvSpPr>
            <p:spPr bwMode="auto">
              <a:xfrm flipV="1">
                <a:off x="1433570" y="4286415"/>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37" name="Rectangle 224"/>
              <p:cNvSpPr>
                <a:spLocks noChangeArrowheads="1"/>
              </p:cNvSpPr>
              <p:nvPr/>
            </p:nvSpPr>
            <p:spPr bwMode="auto">
              <a:xfrm>
                <a:off x="1219083" y="4286415"/>
                <a:ext cx="216196" cy="140998"/>
              </a:xfrm>
              <a:prstGeom prst="rect">
                <a:avLst/>
              </a:prstGeom>
              <a:solidFill>
                <a:schemeClr val="bg1"/>
              </a:solid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
          <p:nvSpPr>
            <p:cNvPr id="36" name="Rectangle 35"/>
            <p:cNvSpPr/>
            <p:nvPr/>
          </p:nvSpPr>
          <p:spPr>
            <a:xfrm>
              <a:off x="650398" y="6093267"/>
              <a:ext cx="1907672" cy="215444"/>
            </a:xfrm>
            <a:prstGeom prst="rect">
              <a:avLst/>
            </a:prstGeom>
          </p:spPr>
          <p:txBody>
            <a:bodyPr wrap="square" lIns="0" tIns="0" rIns="0" bIns="0">
              <a:spAutoFit/>
            </a:bodyPr>
            <a:lstStyle/>
            <a:p>
              <a:pPr marL="0" marR="0" lvl="0" indent="0" algn="ctr" defTabSz="91410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ea typeface="Segoe UI" pitchFamily="34" charset="0"/>
                  <a:cs typeface="Segoe UI" pitchFamily="34" charset="0"/>
                </a:rPr>
                <a:t>On-premises databases</a:t>
              </a:r>
            </a:p>
          </p:txBody>
        </p:sp>
        <p:sp>
          <p:nvSpPr>
            <p:cNvPr id="262" name="Database Part 2"/>
            <p:cNvSpPr>
              <a:spLocks/>
            </p:cNvSpPr>
            <p:nvPr/>
          </p:nvSpPr>
          <p:spPr bwMode="auto">
            <a:xfrm>
              <a:off x="977224" y="5320128"/>
              <a:ext cx="534317" cy="714495"/>
            </a:xfrm>
            <a:custGeom>
              <a:avLst/>
              <a:gdLst>
                <a:gd name="T0" fmla="*/ 678 w 1355"/>
                <a:gd name="T1" fmla="*/ 0 h 1806"/>
                <a:gd name="T2" fmla="*/ 0 w 1355"/>
                <a:gd name="T3" fmla="*/ 85 h 1806"/>
                <a:gd name="T4" fmla="*/ 0 w 1355"/>
                <a:gd name="T5" fmla="*/ 1722 h 1806"/>
                <a:gd name="T6" fmla="*/ 678 w 1355"/>
                <a:gd name="T7" fmla="*/ 1806 h 1806"/>
                <a:gd name="T8" fmla="*/ 1355 w 1355"/>
                <a:gd name="T9" fmla="*/ 1722 h 1806"/>
                <a:gd name="T10" fmla="*/ 1355 w 1355"/>
                <a:gd name="T11" fmla="*/ 85 h 1806"/>
                <a:gd name="T12" fmla="*/ 678 w 1355"/>
                <a:gd name="T13" fmla="*/ 0 h 1806"/>
              </a:gdLst>
              <a:ahLst/>
              <a:cxnLst>
                <a:cxn ang="0">
                  <a:pos x="T0" y="T1"/>
                </a:cxn>
                <a:cxn ang="0">
                  <a:pos x="T2" y="T3"/>
                </a:cxn>
                <a:cxn ang="0">
                  <a:pos x="T4" y="T5"/>
                </a:cxn>
                <a:cxn ang="0">
                  <a:pos x="T6" y="T7"/>
                </a:cxn>
                <a:cxn ang="0">
                  <a:pos x="T8" y="T9"/>
                </a:cxn>
                <a:cxn ang="0">
                  <a:pos x="T10" y="T11"/>
                </a:cxn>
                <a:cxn ang="0">
                  <a:pos x="T12" y="T13"/>
                </a:cxn>
              </a:cxnLst>
              <a:rect l="0" t="0" r="r" b="b"/>
              <a:pathLst>
                <a:path w="1355" h="1806">
                  <a:moveTo>
                    <a:pt x="678" y="0"/>
                  </a:moveTo>
                  <a:cubicBezTo>
                    <a:pt x="304" y="0"/>
                    <a:pt x="0" y="38"/>
                    <a:pt x="0" y="85"/>
                  </a:cubicBezTo>
                  <a:lnTo>
                    <a:pt x="0" y="1722"/>
                  </a:lnTo>
                  <a:cubicBezTo>
                    <a:pt x="0" y="1768"/>
                    <a:pt x="304" y="1806"/>
                    <a:pt x="678" y="1806"/>
                  </a:cubicBezTo>
                  <a:cubicBezTo>
                    <a:pt x="1052" y="1806"/>
                    <a:pt x="1355" y="1768"/>
                    <a:pt x="1355" y="1722"/>
                  </a:cubicBezTo>
                  <a:lnTo>
                    <a:pt x="1355" y="85"/>
                  </a:lnTo>
                  <a:cubicBezTo>
                    <a:pt x="1355" y="38"/>
                    <a:pt x="1052" y="0"/>
                    <a:pt x="678" y="0"/>
                  </a:cubicBezTo>
                  <a:close/>
                </a:path>
              </a:pathLst>
            </a:custGeom>
            <a:solidFill>
              <a:srgbClr val="FF8C00"/>
            </a:solid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263" name="Database Part 1"/>
            <p:cNvSpPr>
              <a:spLocks noEditPoints="1"/>
            </p:cNvSpPr>
            <p:nvPr/>
          </p:nvSpPr>
          <p:spPr bwMode="auto">
            <a:xfrm>
              <a:off x="977224" y="5355335"/>
              <a:ext cx="534317" cy="679288"/>
            </a:xfrm>
            <a:custGeom>
              <a:avLst/>
              <a:gdLst>
                <a:gd name="T0" fmla="*/ 0 w 1355"/>
                <a:gd name="T1" fmla="*/ 0 h 1721"/>
                <a:gd name="T2" fmla="*/ 0 w 1355"/>
                <a:gd name="T3" fmla="*/ 508 h 1721"/>
                <a:gd name="T4" fmla="*/ 678 w 1355"/>
                <a:gd name="T5" fmla="*/ 592 h 1721"/>
                <a:gd name="T6" fmla="*/ 1355 w 1355"/>
                <a:gd name="T7" fmla="*/ 508 h 1721"/>
                <a:gd name="T8" fmla="*/ 1355 w 1355"/>
                <a:gd name="T9" fmla="*/ 0 h 1721"/>
                <a:gd name="T10" fmla="*/ 678 w 1355"/>
                <a:gd name="T11" fmla="*/ 84 h 1721"/>
                <a:gd name="T12" fmla="*/ 0 w 1355"/>
                <a:gd name="T13" fmla="*/ 0 h 1721"/>
                <a:gd name="T14" fmla="*/ 0 w 1355"/>
                <a:gd name="T15" fmla="*/ 564 h 1721"/>
                <a:gd name="T16" fmla="*/ 0 w 1355"/>
                <a:gd name="T17" fmla="*/ 1072 h 1721"/>
                <a:gd name="T18" fmla="*/ 678 w 1355"/>
                <a:gd name="T19" fmla="*/ 1157 h 1721"/>
                <a:gd name="T20" fmla="*/ 1355 w 1355"/>
                <a:gd name="T21" fmla="*/ 1072 h 1721"/>
                <a:gd name="T22" fmla="*/ 1355 w 1355"/>
                <a:gd name="T23" fmla="*/ 564 h 1721"/>
                <a:gd name="T24" fmla="*/ 678 w 1355"/>
                <a:gd name="T25" fmla="*/ 649 h 1721"/>
                <a:gd name="T26" fmla="*/ 0 w 1355"/>
                <a:gd name="T27" fmla="*/ 564 h 1721"/>
                <a:gd name="T28" fmla="*/ 0 w 1355"/>
                <a:gd name="T29" fmla="*/ 1129 h 1721"/>
                <a:gd name="T30" fmla="*/ 0 w 1355"/>
                <a:gd name="T31" fmla="*/ 1637 h 1721"/>
                <a:gd name="T32" fmla="*/ 678 w 1355"/>
                <a:gd name="T33" fmla="*/ 1721 h 1721"/>
                <a:gd name="T34" fmla="*/ 1355 w 1355"/>
                <a:gd name="T35" fmla="*/ 1637 h 1721"/>
                <a:gd name="T36" fmla="*/ 1355 w 1355"/>
                <a:gd name="T37" fmla="*/ 1129 h 1721"/>
                <a:gd name="T38" fmla="*/ 678 w 1355"/>
                <a:gd name="T39" fmla="*/ 1213 h 1721"/>
                <a:gd name="T40" fmla="*/ 0 w 1355"/>
                <a:gd name="T41" fmla="*/ 1129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5" h="1721">
                  <a:moveTo>
                    <a:pt x="0" y="0"/>
                  </a:moveTo>
                  <a:lnTo>
                    <a:pt x="0" y="508"/>
                  </a:lnTo>
                  <a:cubicBezTo>
                    <a:pt x="0" y="555"/>
                    <a:pt x="304" y="592"/>
                    <a:pt x="678" y="592"/>
                  </a:cubicBezTo>
                  <a:cubicBezTo>
                    <a:pt x="1052" y="592"/>
                    <a:pt x="1355" y="555"/>
                    <a:pt x="1355" y="508"/>
                  </a:cubicBezTo>
                  <a:lnTo>
                    <a:pt x="1355" y="0"/>
                  </a:lnTo>
                  <a:cubicBezTo>
                    <a:pt x="1355" y="47"/>
                    <a:pt x="1052" y="84"/>
                    <a:pt x="678" y="84"/>
                  </a:cubicBezTo>
                  <a:cubicBezTo>
                    <a:pt x="304" y="84"/>
                    <a:pt x="0" y="47"/>
                    <a:pt x="0" y="0"/>
                  </a:cubicBezTo>
                  <a:close/>
                  <a:moveTo>
                    <a:pt x="0" y="564"/>
                  </a:moveTo>
                  <a:lnTo>
                    <a:pt x="0" y="1072"/>
                  </a:lnTo>
                  <a:cubicBezTo>
                    <a:pt x="0" y="1119"/>
                    <a:pt x="304" y="1157"/>
                    <a:pt x="678" y="1157"/>
                  </a:cubicBezTo>
                  <a:cubicBezTo>
                    <a:pt x="1052" y="1157"/>
                    <a:pt x="1355" y="1119"/>
                    <a:pt x="1355" y="1072"/>
                  </a:cubicBezTo>
                  <a:lnTo>
                    <a:pt x="1355" y="564"/>
                  </a:lnTo>
                  <a:cubicBezTo>
                    <a:pt x="1355" y="611"/>
                    <a:pt x="1052" y="649"/>
                    <a:pt x="678" y="649"/>
                  </a:cubicBezTo>
                  <a:cubicBezTo>
                    <a:pt x="304" y="649"/>
                    <a:pt x="0" y="611"/>
                    <a:pt x="0" y="564"/>
                  </a:cubicBezTo>
                  <a:close/>
                  <a:moveTo>
                    <a:pt x="0" y="1129"/>
                  </a:moveTo>
                  <a:lnTo>
                    <a:pt x="0" y="1637"/>
                  </a:lnTo>
                  <a:cubicBezTo>
                    <a:pt x="0" y="1683"/>
                    <a:pt x="304" y="1721"/>
                    <a:pt x="678" y="1721"/>
                  </a:cubicBezTo>
                  <a:cubicBezTo>
                    <a:pt x="1052" y="1721"/>
                    <a:pt x="1355" y="1683"/>
                    <a:pt x="1355" y="1637"/>
                  </a:cubicBezTo>
                  <a:lnTo>
                    <a:pt x="1355" y="1129"/>
                  </a:lnTo>
                  <a:cubicBezTo>
                    <a:pt x="1355" y="1175"/>
                    <a:pt x="1052" y="1213"/>
                    <a:pt x="678" y="1213"/>
                  </a:cubicBezTo>
                  <a:cubicBezTo>
                    <a:pt x="304" y="1213"/>
                    <a:pt x="0" y="1175"/>
                    <a:pt x="0" y="1129"/>
                  </a:cubicBezTo>
                  <a:close/>
                </a:path>
              </a:pathLst>
            </a:custGeom>
            <a:solidFill>
              <a:srgbClr val="DC3C00"/>
            </a:solid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266" name="Database Part 2"/>
            <p:cNvSpPr>
              <a:spLocks/>
            </p:cNvSpPr>
            <p:nvPr/>
          </p:nvSpPr>
          <p:spPr bwMode="auto">
            <a:xfrm>
              <a:off x="1571794" y="5320128"/>
              <a:ext cx="534317" cy="714495"/>
            </a:xfrm>
            <a:custGeom>
              <a:avLst/>
              <a:gdLst>
                <a:gd name="T0" fmla="*/ 678 w 1355"/>
                <a:gd name="T1" fmla="*/ 0 h 1806"/>
                <a:gd name="T2" fmla="*/ 0 w 1355"/>
                <a:gd name="T3" fmla="*/ 85 h 1806"/>
                <a:gd name="T4" fmla="*/ 0 w 1355"/>
                <a:gd name="T5" fmla="*/ 1722 h 1806"/>
                <a:gd name="T6" fmla="*/ 678 w 1355"/>
                <a:gd name="T7" fmla="*/ 1806 h 1806"/>
                <a:gd name="T8" fmla="*/ 1355 w 1355"/>
                <a:gd name="T9" fmla="*/ 1722 h 1806"/>
                <a:gd name="T10" fmla="*/ 1355 w 1355"/>
                <a:gd name="T11" fmla="*/ 85 h 1806"/>
                <a:gd name="T12" fmla="*/ 678 w 1355"/>
                <a:gd name="T13" fmla="*/ 0 h 1806"/>
              </a:gdLst>
              <a:ahLst/>
              <a:cxnLst>
                <a:cxn ang="0">
                  <a:pos x="T0" y="T1"/>
                </a:cxn>
                <a:cxn ang="0">
                  <a:pos x="T2" y="T3"/>
                </a:cxn>
                <a:cxn ang="0">
                  <a:pos x="T4" y="T5"/>
                </a:cxn>
                <a:cxn ang="0">
                  <a:pos x="T6" y="T7"/>
                </a:cxn>
                <a:cxn ang="0">
                  <a:pos x="T8" y="T9"/>
                </a:cxn>
                <a:cxn ang="0">
                  <a:pos x="T10" y="T11"/>
                </a:cxn>
                <a:cxn ang="0">
                  <a:pos x="T12" y="T13"/>
                </a:cxn>
              </a:cxnLst>
              <a:rect l="0" t="0" r="r" b="b"/>
              <a:pathLst>
                <a:path w="1355" h="1806">
                  <a:moveTo>
                    <a:pt x="678" y="0"/>
                  </a:moveTo>
                  <a:cubicBezTo>
                    <a:pt x="304" y="0"/>
                    <a:pt x="0" y="38"/>
                    <a:pt x="0" y="85"/>
                  </a:cubicBezTo>
                  <a:lnTo>
                    <a:pt x="0" y="1722"/>
                  </a:lnTo>
                  <a:cubicBezTo>
                    <a:pt x="0" y="1768"/>
                    <a:pt x="304" y="1806"/>
                    <a:pt x="678" y="1806"/>
                  </a:cubicBezTo>
                  <a:cubicBezTo>
                    <a:pt x="1052" y="1806"/>
                    <a:pt x="1355" y="1768"/>
                    <a:pt x="1355" y="1722"/>
                  </a:cubicBezTo>
                  <a:lnTo>
                    <a:pt x="1355" y="85"/>
                  </a:lnTo>
                  <a:cubicBezTo>
                    <a:pt x="1355" y="38"/>
                    <a:pt x="1052" y="0"/>
                    <a:pt x="678" y="0"/>
                  </a:cubicBezTo>
                  <a:close/>
                </a:path>
              </a:pathLst>
            </a:custGeom>
            <a:solidFill>
              <a:srgbClr val="FF8C00"/>
            </a:solid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267" name="Database Part 1"/>
            <p:cNvSpPr>
              <a:spLocks noEditPoints="1"/>
            </p:cNvSpPr>
            <p:nvPr/>
          </p:nvSpPr>
          <p:spPr bwMode="auto">
            <a:xfrm>
              <a:off x="1571794" y="5355335"/>
              <a:ext cx="534317" cy="679288"/>
            </a:xfrm>
            <a:custGeom>
              <a:avLst/>
              <a:gdLst>
                <a:gd name="T0" fmla="*/ 0 w 1355"/>
                <a:gd name="T1" fmla="*/ 0 h 1721"/>
                <a:gd name="T2" fmla="*/ 0 w 1355"/>
                <a:gd name="T3" fmla="*/ 508 h 1721"/>
                <a:gd name="T4" fmla="*/ 678 w 1355"/>
                <a:gd name="T5" fmla="*/ 592 h 1721"/>
                <a:gd name="T6" fmla="*/ 1355 w 1355"/>
                <a:gd name="T7" fmla="*/ 508 h 1721"/>
                <a:gd name="T8" fmla="*/ 1355 w 1355"/>
                <a:gd name="T9" fmla="*/ 0 h 1721"/>
                <a:gd name="T10" fmla="*/ 678 w 1355"/>
                <a:gd name="T11" fmla="*/ 84 h 1721"/>
                <a:gd name="T12" fmla="*/ 0 w 1355"/>
                <a:gd name="T13" fmla="*/ 0 h 1721"/>
                <a:gd name="T14" fmla="*/ 0 w 1355"/>
                <a:gd name="T15" fmla="*/ 564 h 1721"/>
                <a:gd name="T16" fmla="*/ 0 w 1355"/>
                <a:gd name="T17" fmla="*/ 1072 h 1721"/>
                <a:gd name="T18" fmla="*/ 678 w 1355"/>
                <a:gd name="T19" fmla="*/ 1157 h 1721"/>
                <a:gd name="T20" fmla="*/ 1355 w 1355"/>
                <a:gd name="T21" fmla="*/ 1072 h 1721"/>
                <a:gd name="T22" fmla="*/ 1355 w 1355"/>
                <a:gd name="T23" fmla="*/ 564 h 1721"/>
                <a:gd name="T24" fmla="*/ 678 w 1355"/>
                <a:gd name="T25" fmla="*/ 649 h 1721"/>
                <a:gd name="T26" fmla="*/ 0 w 1355"/>
                <a:gd name="T27" fmla="*/ 564 h 1721"/>
                <a:gd name="T28" fmla="*/ 0 w 1355"/>
                <a:gd name="T29" fmla="*/ 1129 h 1721"/>
                <a:gd name="T30" fmla="*/ 0 w 1355"/>
                <a:gd name="T31" fmla="*/ 1637 h 1721"/>
                <a:gd name="T32" fmla="*/ 678 w 1355"/>
                <a:gd name="T33" fmla="*/ 1721 h 1721"/>
                <a:gd name="T34" fmla="*/ 1355 w 1355"/>
                <a:gd name="T35" fmla="*/ 1637 h 1721"/>
                <a:gd name="T36" fmla="*/ 1355 w 1355"/>
                <a:gd name="T37" fmla="*/ 1129 h 1721"/>
                <a:gd name="T38" fmla="*/ 678 w 1355"/>
                <a:gd name="T39" fmla="*/ 1213 h 1721"/>
                <a:gd name="T40" fmla="*/ 0 w 1355"/>
                <a:gd name="T41" fmla="*/ 1129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5" h="1721">
                  <a:moveTo>
                    <a:pt x="0" y="0"/>
                  </a:moveTo>
                  <a:lnTo>
                    <a:pt x="0" y="508"/>
                  </a:lnTo>
                  <a:cubicBezTo>
                    <a:pt x="0" y="555"/>
                    <a:pt x="304" y="592"/>
                    <a:pt x="678" y="592"/>
                  </a:cubicBezTo>
                  <a:cubicBezTo>
                    <a:pt x="1052" y="592"/>
                    <a:pt x="1355" y="555"/>
                    <a:pt x="1355" y="508"/>
                  </a:cubicBezTo>
                  <a:lnTo>
                    <a:pt x="1355" y="0"/>
                  </a:lnTo>
                  <a:cubicBezTo>
                    <a:pt x="1355" y="47"/>
                    <a:pt x="1052" y="84"/>
                    <a:pt x="678" y="84"/>
                  </a:cubicBezTo>
                  <a:cubicBezTo>
                    <a:pt x="304" y="84"/>
                    <a:pt x="0" y="47"/>
                    <a:pt x="0" y="0"/>
                  </a:cubicBezTo>
                  <a:close/>
                  <a:moveTo>
                    <a:pt x="0" y="564"/>
                  </a:moveTo>
                  <a:lnTo>
                    <a:pt x="0" y="1072"/>
                  </a:lnTo>
                  <a:cubicBezTo>
                    <a:pt x="0" y="1119"/>
                    <a:pt x="304" y="1157"/>
                    <a:pt x="678" y="1157"/>
                  </a:cubicBezTo>
                  <a:cubicBezTo>
                    <a:pt x="1052" y="1157"/>
                    <a:pt x="1355" y="1119"/>
                    <a:pt x="1355" y="1072"/>
                  </a:cubicBezTo>
                  <a:lnTo>
                    <a:pt x="1355" y="564"/>
                  </a:lnTo>
                  <a:cubicBezTo>
                    <a:pt x="1355" y="611"/>
                    <a:pt x="1052" y="649"/>
                    <a:pt x="678" y="649"/>
                  </a:cubicBezTo>
                  <a:cubicBezTo>
                    <a:pt x="304" y="649"/>
                    <a:pt x="0" y="611"/>
                    <a:pt x="0" y="564"/>
                  </a:cubicBezTo>
                  <a:close/>
                  <a:moveTo>
                    <a:pt x="0" y="1129"/>
                  </a:moveTo>
                  <a:lnTo>
                    <a:pt x="0" y="1637"/>
                  </a:lnTo>
                  <a:cubicBezTo>
                    <a:pt x="0" y="1683"/>
                    <a:pt x="304" y="1721"/>
                    <a:pt x="678" y="1721"/>
                  </a:cubicBezTo>
                  <a:cubicBezTo>
                    <a:pt x="1052" y="1721"/>
                    <a:pt x="1355" y="1683"/>
                    <a:pt x="1355" y="1637"/>
                  </a:cubicBezTo>
                  <a:lnTo>
                    <a:pt x="1355" y="1129"/>
                  </a:lnTo>
                  <a:cubicBezTo>
                    <a:pt x="1355" y="1175"/>
                    <a:pt x="1052" y="1213"/>
                    <a:pt x="678" y="1213"/>
                  </a:cubicBezTo>
                  <a:cubicBezTo>
                    <a:pt x="304" y="1213"/>
                    <a:pt x="0" y="1175"/>
                    <a:pt x="0" y="1129"/>
                  </a:cubicBezTo>
                  <a:close/>
                </a:path>
              </a:pathLst>
            </a:custGeom>
            <a:solidFill>
              <a:srgbClr val="DC3C00"/>
            </a:solid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392" name="Group 391"/>
            <p:cNvGrpSpPr/>
            <p:nvPr/>
          </p:nvGrpSpPr>
          <p:grpSpPr>
            <a:xfrm>
              <a:off x="1220277" y="1700394"/>
              <a:ext cx="1039827" cy="759788"/>
              <a:chOff x="1171818" y="1700394"/>
              <a:chExt cx="1039827" cy="759788"/>
            </a:xfrm>
          </p:grpSpPr>
          <p:sp>
            <p:nvSpPr>
              <p:cNvPr id="393" name="Freeform 106"/>
              <p:cNvSpPr>
                <a:spLocks noEditPoints="1"/>
              </p:cNvSpPr>
              <p:nvPr/>
            </p:nvSpPr>
            <p:spPr bwMode="auto">
              <a:xfrm>
                <a:off x="1171818" y="1700394"/>
                <a:ext cx="642781" cy="751095"/>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18288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rPr>
                  <a:t>SQL</a:t>
                </a:r>
              </a:p>
            </p:txBody>
          </p:sp>
          <p:sp>
            <p:nvSpPr>
              <p:cNvPr id="394" name="Freeform 46"/>
              <p:cNvSpPr>
                <a:spLocks/>
              </p:cNvSpPr>
              <p:nvPr/>
            </p:nvSpPr>
            <p:spPr bwMode="auto">
              <a:xfrm>
                <a:off x="1673482" y="2104582"/>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chemeClr val="bg1"/>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
        <p:nvSpPr>
          <p:cNvPr id="14" name="Slide Number Placeholder 13"/>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grpSp>
        <p:nvGrpSpPr>
          <p:cNvPr id="17" name="Group 16"/>
          <p:cNvGrpSpPr/>
          <p:nvPr/>
        </p:nvGrpSpPr>
        <p:grpSpPr>
          <a:xfrm>
            <a:off x="5410733" y="3048788"/>
            <a:ext cx="1007263" cy="1110509"/>
            <a:chOff x="5410733" y="3048788"/>
            <a:chExt cx="1007263" cy="1110509"/>
          </a:xfrm>
        </p:grpSpPr>
        <p:sp>
          <p:nvSpPr>
            <p:cNvPr id="31" name="TextBox 30"/>
            <p:cNvSpPr txBox="1"/>
            <p:nvPr/>
          </p:nvSpPr>
          <p:spPr>
            <a:xfrm>
              <a:off x="5410733" y="3882298"/>
              <a:ext cx="1007263" cy="276999"/>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tx2"/>
                  </a:solidFill>
                  <a:effectLst/>
                  <a:uLnTx/>
                  <a:uFillTx/>
                </a:rPr>
                <a:t>ADL Store</a:t>
              </a:r>
            </a:p>
          </p:txBody>
        </p:sp>
        <p:pic>
          <p:nvPicPr>
            <p:cNvPr id="15" name="Pictur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61897" y="3048788"/>
              <a:ext cx="904934" cy="904934"/>
            </a:xfrm>
            <a:prstGeom prst="rect">
              <a:avLst/>
            </a:prstGeom>
          </p:spPr>
        </p:pic>
      </p:grpSp>
      <p:grpSp>
        <p:nvGrpSpPr>
          <p:cNvPr id="30" name="Group 29"/>
          <p:cNvGrpSpPr/>
          <p:nvPr/>
        </p:nvGrpSpPr>
        <p:grpSpPr>
          <a:xfrm>
            <a:off x="6866956" y="2987773"/>
            <a:ext cx="3186481" cy="243413"/>
            <a:chOff x="6866956" y="2987773"/>
            <a:chExt cx="3186481" cy="243413"/>
          </a:xfrm>
        </p:grpSpPr>
        <p:sp>
          <p:nvSpPr>
            <p:cNvPr id="26" name="TextBox 25"/>
            <p:cNvSpPr txBox="1"/>
            <p:nvPr/>
          </p:nvSpPr>
          <p:spPr>
            <a:xfrm>
              <a:off x="7218975" y="2987773"/>
              <a:ext cx="1019510" cy="215444"/>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dirty="0" err="1">
                  <a:ln>
                    <a:noFill/>
                  </a:ln>
                  <a:solidFill>
                    <a:schemeClr val="tx2"/>
                  </a:solidFill>
                  <a:effectLst/>
                  <a:uLnTx/>
                  <a:uFillTx/>
                </a:rPr>
                <a:t>ADLCopy</a:t>
              </a:r>
              <a:endParaRPr kumimoji="0" lang="en-US" sz="1400" b="0" i="0" u="none" strike="noStrike" kern="0" cap="none" spc="0" normalizeH="0" baseline="0" noProof="0" dirty="0">
                <a:ln>
                  <a:noFill/>
                </a:ln>
                <a:solidFill>
                  <a:schemeClr val="tx2"/>
                </a:solidFill>
                <a:effectLst/>
                <a:uLnTx/>
                <a:uFillTx/>
              </a:endParaRPr>
            </a:p>
          </p:txBody>
        </p:sp>
        <p:cxnSp>
          <p:nvCxnSpPr>
            <p:cNvPr id="382" name="Straight Connector 381"/>
            <p:cNvCxnSpPr/>
            <p:nvPr/>
          </p:nvCxnSpPr>
          <p:spPr>
            <a:xfrm flipH="1">
              <a:off x="6866956" y="3231186"/>
              <a:ext cx="3186481" cy="0"/>
            </a:xfrm>
            <a:prstGeom prst="line">
              <a:avLst/>
            </a:prstGeom>
            <a:ln w="38100" cap="rnd">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7325382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500"/>
                                        <p:tgtEl>
                                          <p:spTgt spid="19"/>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wipe(left)">
                                      <p:cBhvr>
                                        <p:cTn id="15" dur="750"/>
                                        <p:tgtEl>
                                          <p:spTgt spid="20"/>
                                        </p:tgtEl>
                                      </p:cBhvr>
                                    </p:animEffect>
                                  </p:childTnLst>
                                </p:cTn>
                              </p:par>
                            </p:childTnLst>
                          </p:cTn>
                        </p:par>
                        <p:par>
                          <p:cTn id="16" fill="hold">
                            <p:stCondLst>
                              <p:cond delay="1750"/>
                            </p:stCondLst>
                            <p:childTnLst>
                              <p:par>
                                <p:cTn id="17" presetID="10" presetClass="entr" presetSubtype="0" fill="hold" nodeType="after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childTnLst>
                          </p:cTn>
                        </p:par>
                        <p:par>
                          <p:cTn id="20" fill="hold">
                            <p:stCondLst>
                              <p:cond delay="2250"/>
                            </p:stCondLst>
                            <p:childTnLst>
                              <p:par>
                                <p:cTn id="21" presetID="22" presetClass="entr" presetSubtype="4" fill="hold"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wipe(down)">
                                      <p:cBhvr>
                                        <p:cTn id="23" dur="750"/>
                                        <p:tgtEl>
                                          <p:spTgt spid="21"/>
                                        </p:tgtEl>
                                      </p:cBhvr>
                                    </p:animEffect>
                                  </p:childTnLst>
                                </p:cTn>
                              </p:par>
                            </p:childTnLst>
                          </p:cTn>
                        </p:par>
                        <p:par>
                          <p:cTn id="24" fill="hold">
                            <p:stCondLst>
                              <p:cond delay="3000"/>
                            </p:stCondLst>
                            <p:childTnLst>
                              <p:par>
                                <p:cTn id="25" presetID="10" presetClass="entr" presetSubtype="0" fill="hold"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par>
                          <p:cTn id="28" fill="hold">
                            <p:stCondLst>
                              <p:cond delay="3500"/>
                            </p:stCondLst>
                            <p:childTnLst>
                              <p:par>
                                <p:cTn id="29" presetID="22" presetClass="entr" presetSubtype="2" fill="hold"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wipe(right)">
                                      <p:cBhvr>
                                        <p:cTn id="31" dur="750"/>
                                        <p:tgtEl>
                                          <p:spTgt spid="13"/>
                                        </p:tgtEl>
                                      </p:cBhvr>
                                    </p:animEffect>
                                  </p:childTnLst>
                                </p:cTn>
                              </p:par>
                            </p:childTnLst>
                          </p:cTn>
                        </p:par>
                        <p:par>
                          <p:cTn id="32" fill="hold">
                            <p:stCondLst>
                              <p:cond delay="4250"/>
                            </p:stCondLst>
                            <p:childTnLst>
                              <p:par>
                                <p:cTn id="33" presetID="10" presetClass="entr" presetSubtype="0" fill="hold" nodeType="after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500"/>
                                        <p:tgtEl>
                                          <p:spTgt spid="9"/>
                                        </p:tgtEl>
                                      </p:cBhvr>
                                    </p:animEffect>
                                  </p:childTnLst>
                                </p:cTn>
                              </p:par>
                            </p:childTnLst>
                          </p:cTn>
                        </p:par>
                        <p:par>
                          <p:cTn id="36" fill="hold">
                            <p:stCondLst>
                              <p:cond delay="4750"/>
                            </p:stCondLst>
                            <p:childTnLst>
                              <p:par>
                                <p:cTn id="37" presetID="22" presetClass="entr" presetSubtype="2" fill="hold" nodeType="after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wipe(right)">
                                      <p:cBhvr>
                                        <p:cTn id="39" dur="750"/>
                                        <p:tgtEl>
                                          <p:spTgt spid="30"/>
                                        </p:tgtEl>
                                      </p:cBhvr>
                                    </p:animEffect>
                                  </p:childTnLst>
                                </p:cTn>
                              </p:par>
                            </p:childTnLst>
                          </p:cTn>
                        </p:par>
                        <p:par>
                          <p:cTn id="40" fill="hold">
                            <p:stCondLst>
                              <p:cond delay="5500"/>
                            </p:stCondLst>
                            <p:childTnLst>
                              <p:par>
                                <p:cTn id="41" presetID="10" presetClass="entr" presetSubtype="0" fill="hold"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childTnLst>
                          </p:cTn>
                        </p:par>
                        <p:par>
                          <p:cTn id="44" fill="hold">
                            <p:stCondLst>
                              <p:cond delay="6000"/>
                            </p:stCondLst>
                            <p:childTnLst>
                              <p:par>
                                <p:cTn id="45" presetID="22" presetClass="entr" presetSubtype="2" fill="hold" nodeType="afterEffect">
                                  <p:stCondLst>
                                    <p:cond delay="0"/>
                                  </p:stCondLst>
                                  <p:childTnLst>
                                    <p:set>
                                      <p:cBhvr>
                                        <p:cTn id="46" dur="1" fill="hold">
                                          <p:stCondLst>
                                            <p:cond delay="0"/>
                                          </p:stCondLst>
                                        </p:cTn>
                                        <p:tgtEl>
                                          <p:spTgt spid="7"/>
                                        </p:tgtEl>
                                        <p:attrNameLst>
                                          <p:attrName>style.visibility</p:attrName>
                                        </p:attrNameLst>
                                      </p:cBhvr>
                                      <p:to>
                                        <p:strVal val="visible"/>
                                      </p:to>
                                    </p:set>
                                    <p:animEffect transition="in" filter="wipe(right)">
                                      <p:cBhvr>
                                        <p:cTn id="47"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0C0"/>
                </a:solidFill>
              </a:rPr>
              <a:t>ADL Store: Egress</a:t>
            </a:r>
          </a:p>
        </p:txBody>
      </p:sp>
      <p:grpSp>
        <p:nvGrpSpPr>
          <p:cNvPr id="4" name="Group 3"/>
          <p:cNvGrpSpPr/>
          <p:nvPr/>
        </p:nvGrpSpPr>
        <p:grpSpPr>
          <a:xfrm>
            <a:off x="434975" y="1123536"/>
            <a:ext cx="11322050" cy="5241552"/>
            <a:chOff x="434975" y="1123536"/>
            <a:chExt cx="11322050" cy="5241552"/>
          </a:xfrm>
        </p:grpSpPr>
        <p:sp>
          <p:nvSpPr>
            <p:cNvPr id="54" name="Rectangle 53"/>
            <p:cNvSpPr/>
            <p:nvPr/>
          </p:nvSpPr>
          <p:spPr>
            <a:xfrm>
              <a:off x="434975" y="1483823"/>
              <a:ext cx="11322050" cy="4881265"/>
            </a:xfrm>
            <a:prstGeom prst="rect">
              <a:avLst/>
            </a:prstGeom>
            <a:solidFill>
              <a:schemeClr val="bg1">
                <a:lumMod val="95000"/>
              </a:schemeClr>
            </a:solidFill>
            <a:ln w="317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sp>
          <p:nvSpPr>
            <p:cNvPr id="3" name="Rectangle 2"/>
            <p:cNvSpPr/>
            <p:nvPr/>
          </p:nvSpPr>
          <p:spPr>
            <a:xfrm>
              <a:off x="434975" y="1123536"/>
              <a:ext cx="11322050" cy="369332"/>
            </a:xfrm>
            <a:prstGeom prst="rect">
              <a:avLst/>
            </a:prstGeom>
            <a:solidFill>
              <a:schemeClr val="accent1"/>
            </a:solidFill>
          </p:spPr>
          <p:txBody>
            <a:bodyPr wrap="square" lIns="91440" tIns="45720" rIns="91440" bIns="45720">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US" sz="1800" b="0" i="0" u="none" strike="noStrike" kern="0" cap="none" spc="0" normalizeH="0" baseline="0" noProof="0" dirty="0">
                  <a:ln>
                    <a:noFill/>
                  </a:ln>
                  <a:solidFill>
                    <a:schemeClr val="bg1"/>
                  </a:solidFill>
                  <a:effectLst/>
                  <a:uLnTx/>
                  <a:uFillTx/>
                </a:rPr>
                <a:t>Data can be exported from Azure Data Lake Store into numerous targets/sinks </a:t>
              </a:r>
            </a:p>
          </p:txBody>
        </p:sp>
      </p:grpSp>
      <p:cxnSp>
        <p:nvCxnSpPr>
          <p:cNvPr id="32" name="Straight Connector 31"/>
          <p:cNvCxnSpPr/>
          <p:nvPr/>
        </p:nvCxnSpPr>
        <p:spPr>
          <a:xfrm>
            <a:off x="2737856" y="-13815"/>
            <a:ext cx="640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650398" y="1700394"/>
            <a:ext cx="1894972" cy="4608317"/>
            <a:chOff x="650398" y="1700394"/>
            <a:chExt cx="1894972" cy="4608317"/>
          </a:xfrm>
        </p:grpSpPr>
        <p:sp>
          <p:nvSpPr>
            <p:cNvPr id="53" name="Rectangle 52"/>
            <p:cNvSpPr/>
            <p:nvPr/>
          </p:nvSpPr>
          <p:spPr>
            <a:xfrm>
              <a:off x="993024" y="2542055"/>
              <a:ext cx="1097287" cy="215444"/>
            </a:xfrm>
            <a:prstGeom prst="rect">
              <a:avLst/>
            </a:prstGeom>
          </p:spPr>
          <p:txBody>
            <a:bodyPr wrap="square" lIns="0" tIns="0" rIns="0" bIns="0">
              <a:spAutoFit/>
            </a:bodyPr>
            <a:lstStyle/>
            <a:p>
              <a:pPr marL="0" marR="0" lvl="0" indent="0" algn="ctr" defTabSz="91410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ea typeface="Segoe UI" pitchFamily="34" charset="0"/>
                  <a:cs typeface="Segoe UI" pitchFamily="34" charset="0"/>
                </a:rPr>
                <a:t>Azure SQL DB</a:t>
              </a:r>
            </a:p>
          </p:txBody>
        </p:sp>
        <p:grpSp>
          <p:nvGrpSpPr>
            <p:cNvPr id="269" name="Group 268"/>
            <p:cNvGrpSpPr/>
            <p:nvPr/>
          </p:nvGrpSpPr>
          <p:grpSpPr>
            <a:xfrm>
              <a:off x="1220277" y="1700394"/>
              <a:ext cx="1039827" cy="759788"/>
              <a:chOff x="1171818" y="1700394"/>
              <a:chExt cx="1039827" cy="759788"/>
            </a:xfrm>
          </p:grpSpPr>
          <p:sp>
            <p:nvSpPr>
              <p:cNvPr id="160" name="Freeform 106"/>
              <p:cNvSpPr>
                <a:spLocks noEditPoints="1"/>
              </p:cNvSpPr>
              <p:nvPr/>
            </p:nvSpPr>
            <p:spPr bwMode="auto">
              <a:xfrm>
                <a:off x="1171818" y="1700394"/>
                <a:ext cx="642781" cy="751095"/>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18288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rPr>
                  <a:t>SQL</a:t>
                </a:r>
              </a:p>
            </p:txBody>
          </p:sp>
          <p:sp>
            <p:nvSpPr>
              <p:cNvPr id="210" name="Freeform 46"/>
              <p:cNvSpPr>
                <a:spLocks/>
              </p:cNvSpPr>
              <p:nvPr/>
            </p:nvSpPr>
            <p:spPr bwMode="auto">
              <a:xfrm>
                <a:off x="1673482" y="2104582"/>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chemeClr val="bg1"/>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51" name="Rectangle 50"/>
            <p:cNvSpPr/>
            <p:nvPr/>
          </p:nvSpPr>
          <p:spPr>
            <a:xfrm>
              <a:off x="960162" y="3794082"/>
              <a:ext cx="1163011" cy="215444"/>
            </a:xfrm>
            <a:prstGeom prst="rect">
              <a:avLst/>
            </a:prstGeom>
          </p:spPr>
          <p:txBody>
            <a:bodyPr wrap="square" lIns="0" tIns="0" rIns="0" bIns="0">
              <a:spAutoFit/>
            </a:bodyPr>
            <a:lstStyle/>
            <a:p>
              <a:pPr marL="0" marR="0" lvl="0" indent="0" algn="ctr" defTabSz="91410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ea typeface="Segoe UI" pitchFamily="34" charset="0"/>
                  <a:cs typeface="Segoe UI" pitchFamily="34" charset="0"/>
                </a:rPr>
                <a:t>Azure SQL DW</a:t>
              </a:r>
            </a:p>
          </p:txBody>
        </p:sp>
        <p:sp>
          <p:nvSpPr>
            <p:cNvPr id="211" name="Freeform 106"/>
            <p:cNvSpPr>
              <a:spLocks noEditPoints="1"/>
            </p:cNvSpPr>
            <p:nvPr/>
          </p:nvSpPr>
          <p:spPr bwMode="auto">
            <a:xfrm>
              <a:off x="1220277" y="3017279"/>
              <a:ext cx="642781" cy="751095"/>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rgbClr val="FF8C00"/>
            </a:solidFill>
            <a:ln>
              <a:noFill/>
            </a:ln>
            <a:extLst/>
          </p:spPr>
          <p:txBody>
            <a:bodyPr vert="horz" wrap="square" lIns="0" tIns="18288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49" name="Rectangle 48"/>
            <p:cNvSpPr/>
            <p:nvPr/>
          </p:nvSpPr>
          <p:spPr>
            <a:xfrm>
              <a:off x="1046628" y="4873932"/>
              <a:ext cx="990078" cy="215444"/>
            </a:xfrm>
            <a:prstGeom prst="rect">
              <a:avLst/>
            </a:prstGeom>
          </p:spPr>
          <p:txBody>
            <a:bodyPr wrap="square" lIns="0" tIns="0" rIns="0" bIns="0">
              <a:spAutoFit/>
            </a:bodyPr>
            <a:lstStyle/>
            <a:p>
              <a:pPr marL="0" marR="0" lvl="0" indent="0" algn="ctr" defTabSz="91410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ea typeface="Segoe UI" pitchFamily="34" charset="0"/>
                  <a:cs typeface="Segoe UI" pitchFamily="34" charset="0"/>
                </a:rPr>
                <a:t>Azure Tables</a:t>
              </a:r>
            </a:p>
          </p:txBody>
        </p:sp>
        <p:grpSp>
          <p:nvGrpSpPr>
            <p:cNvPr id="297" name="Group 296"/>
            <p:cNvGrpSpPr/>
            <p:nvPr/>
          </p:nvGrpSpPr>
          <p:grpSpPr>
            <a:xfrm>
              <a:off x="1183193" y="4240278"/>
              <a:ext cx="716949" cy="616970"/>
              <a:chOff x="1183193" y="4240278"/>
              <a:chExt cx="716949" cy="616970"/>
            </a:xfrm>
          </p:grpSpPr>
          <p:sp>
            <p:nvSpPr>
              <p:cNvPr id="222" name="Rectangle 209"/>
              <p:cNvSpPr>
                <a:spLocks noChangeArrowheads="1"/>
              </p:cNvSpPr>
              <p:nvPr/>
            </p:nvSpPr>
            <p:spPr bwMode="auto">
              <a:xfrm>
                <a:off x="1183193" y="4240278"/>
                <a:ext cx="716949" cy="616970"/>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18288" rIns="45720" bIns="18288" numCol="1" anchor="b"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a:ln>
                      <a:noFill/>
                    </a:ln>
                    <a:solidFill>
                      <a:schemeClr val="bg1"/>
                    </a:solidFill>
                    <a:effectLst/>
                    <a:uLnTx/>
                    <a:uFillTx/>
                  </a:rPr>
                  <a:t>Table Storage</a:t>
                </a:r>
              </a:p>
            </p:txBody>
          </p:sp>
          <p:sp>
            <p:nvSpPr>
              <p:cNvPr id="231" name="Freeform 218"/>
              <p:cNvSpPr>
                <a:spLocks noEditPoints="1"/>
              </p:cNvSpPr>
              <p:nvPr/>
            </p:nvSpPr>
            <p:spPr bwMode="auto">
              <a:xfrm>
                <a:off x="1219083" y="4286415"/>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32" name="Freeform 219"/>
              <p:cNvSpPr>
                <a:spLocks noEditPoints="1"/>
              </p:cNvSpPr>
              <p:nvPr/>
            </p:nvSpPr>
            <p:spPr bwMode="auto">
              <a:xfrm>
                <a:off x="1219083" y="4286415"/>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33" name="Line 220"/>
              <p:cNvSpPr>
                <a:spLocks noChangeShapeType="1"/>
              </p:cNvSpPr>
              <p:nvPr/>
            </p:nvSpPr>
            <p:spPr bwMode="auto">
              <a:xfrm>
                <a:off x="1219083" y="4425704"/>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34" name="Line 221"/>
              <p:cNvSpPr>
                <a:spLocks noChangeShapeType="1"/>
              </p:cNvSpPr>
              <p:nvPr/>
            </p:nvSpPr>
            <p:spPr bwMode="auto">
              <a:xfrm flipH="1">
                <a:off x="1219083" y="4556447"/>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35" name="Line 222"/>
              <p:cNvSpPr>
                <a:spLocks noChangeShapeType="1"/>
              </p:cNvSpPr>
              <p:nvPr/>
            </p:nvSpPr>
            <p:spPr bwMode="auto">
              <a:xfrm>
                <a:off x="1649765" y="4286415"/>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36" name="Line 223"/>
              <p:cNvSpPr>
                <a:spLocks noChangeShapeType="1"/>
              </p:cNvSpPr>
              <p:nvPr/>
            </p:nvSpPr>
            <p:spPr bwMode="auto">
              <a:xfrm flipV="1">
                <a:off x="1433570" y="4286415"/>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37" name="Rectangle 224"/>
              <p:cNvSpPr>
                <a:spLocks noChangeArrowheads="1"/>
              </p:cNvSpPr>
              <p:nvPr/>
            </p:nvSpPr>
            <p:spPr bwMode="auto">
              <a:xfrm>
                <a:off x="1219083" y="4286415"/>
                <a:ext cx="216196" cy="140998"/>
              </a:xfrm>
              <a:prstGeom prst="rect">
                <a:avLst/>
              </a:prstGeom>
              <a:solidFill>
                <a:schemeClr val="bg1"/>
              </a:solid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
          <p:nvSpPr>
            <p:cNvPr id="36" name="Rectangle 35"/>
            <p:cNvSpPr/>
            <p:nvPr/>
          </p:nvSpPr>
          <p:spPr>
            <a:xfrm>
              <a:off x="650398" y="6093267"/>
              <a:ext cx="1894972" cy="215444"/>
            </a:xfrm>
            <a:prstGeom prst="rect">
              <a:avLst/>
            </a:prstGeom>
          </p:spPr>
          <p:txBody>
            <a:bodyPr wrap="square" lIns="0" tIns="0" rIns="0" bIns="0">
              <a:spAutoFit/>
            </a:bodyPr>
            <a:lstStyle/>
            <a:p>
              <a:pPr marL="0" marR="0" lvl="0" indent="0" algn="ctr" defTabSz="91410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ea typeface="Segoe UI" pitchFamily="34" charset="0"/>
                  <a:cs typeface="Segoe UI" pitchFamily="34" charset="0"/>
                </a:rPr>
                <a:t>On-premises databases</a:t>
              </a:r>
            </a:p>
          </p:txBody>
        </p:sp>
        <p:sp>
          <p:nvSpPr>
            <p:cNvPr id="262" name="Database Part 2"/>
            <p:cNvSpPr>
              <a:spLocks/>
            </p:cNvSpPr>
            <p:nvPr/>
          </p:nvSpPr>
          <p:spPr bwMode="auto">
            <a:xfrm>
              <a:off x="977224" y="5320128"/>
              <a:ext cx="534317" cy="714495"/>
            </a:xfrm>
            <a:custGeom>
              <a:avLst/>
              <a:gdLst>
                <a:gd name="T0" fmla="*/ 678 w 1355"/>
                <a:gd name="T1" fmla="*/ 0 h 1806"/>
                <a:gd name="T2" fmla="*/ 0 w 1355"/>
                <a:gd name="T3" fmla="*/ 85 h 1806"/>
                <a:gd name="T4" fmla="*/ 0 w 1355"/>
                <a:gd name="T5" fmla="*/ 1722 h 1806"/>
                <a:gd name="T6" fmla="*/ 678 w 1355"/>
                <a:gd name="T7" fmla="*/ 1806 h 1806"/>
                <a:gd name="T8" fmla="*/ 1355 w 1355"/>
                <a:gd name="T9" fmla="*/ 1722 h 1806"/>
                <a:gd name="T10" fmla="*/ 1355 w 1355"/>
                <a:gd name="T11" fmla="*/ 85 h 1806"/>
                <a:gd name="T12" fmla="*/ 678 w 1355"/>
                <a:gd name="T13" fmla="*/ 0 h 1806"/>
              </a:gdLst>
              <a:ahLst/>
              <a:cxnLst>
                <a:cxn ang="0">
                  <a:pos x="T0" y="T1"/>
                </a:cxn>
                <a:cxn ang="0">
                  <a:pos x="T2" y="T3"/>
                </a:cxn>
                <a:cxn ang="0">
                  <a:pos x="T4" y="T5"/>
                </a:cxn>
                <a:cxn ang="0">
                  <a:pos x="T6" y="T7"/>
                </a:cxn>
                <a:cxn ang="0">
                  <a:pos x="T8" y="T9"/>
                </a:cxn>
                <a:cxn ang="0">
                  <a:pos x="T10" y="T11"/>
                </a:cxn>
                <a:cxn ang="0">
                  <a:pos x="T12" y="T13"/>
                </a:cxn>
              </a:cxnLst>
              <a:rect l="0" t="0" r="r" b="b"/>
              <a:pathLst>
                <a:path w="1355" h="1806">
                  <a:moveTo>
                    <a:pt x="678" y="0"/>
                  </a:moveTo>
                  <a:cubicBezTo>
                    <a:pt x="304" y="0"/>
                    <a:pt x="0" y="38"/>
                    <a:pt x="0" y="85"/>
                  </a:cubicBezTo>
                  <a:lnTo>
                    <a:pt x="0" y="1722"/>
                  </a:lnTo>
                  <a:cubicBezTo>
                    <a:pt x="0" y="1768"/>
                    <a:pt x="304" y="1806"/>
                    <a:pt x="678" y="1806"/>
                  </a:cubicBezTo>
                  <a:cubicBezTo>
                    <a:pt x="1052" y="1806"/>
                    <a:pt x="1355" y="1768"/>
                    <a:pt x="1355" y="1722"/>
                  </a:cubicBezTo>
                  <a:lnTo>
                    <a:pt x="1355" y="85"/>
                  </a:lnTo>
                  <a:cubicBezTo>
                    <a:pt x="1355" y="38"/>
                    <a:pt x="1052" y="0"/>
                    <a:pt x="678" y="0"/>
                  </a:cubicBezTo>
                  <a:close/>
                </a:path>
              </a:pathLst>
            </a:custGeom>
            <a:solidFill>
              <a:srgbClr val="FF8C00"/>
            </a:solid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263" name="Database Part 1"/>
            <p:cNvSpPr>
              <a:spLocks noEditPoints="1"/>
            </p:cNvSpPr>
            <p:nvPr/>
          </p:nvSpPr>
          <p:spPr bwMode="auto">
            <a:xfrm>
              <a:off x="977224" y="5355335"/>
              <a:ext cx="534317" cy="679288"/>
            </a:xfrm>
            <a:custGeom>
              <a:avLst/>
              <a:gdLst>
                <a:gd name="T0" fmla="*/ 0 w 1355"/>
                <a:gd name="T1" fmla="*/ 0 h 1721"/>
                <a:gd name="T2" fmla="*/ 0 w 1355"/>
                <a:gd name="T3" fmla="*/ 508 h 1721"/>
                <a:gd name="T4" fmla="*/ 678 w 1355"/>
                <a:gd name="T5" fmla="*/ 592 h 1721"/>
                <a:gd name="T6" fmla="*/ 1355 w 1355"/>
                <a:gd name="T7" fmla="*/ 508 h 1721"/>
                <a:gd name="T8" fmla="*/ 1355 w 1355"/>
                <a:gd name="T9" fmla="*/ 0 h 1721"/>
                <a:gd name="T10" fmla="*/ 678 w 1355"/>
                <a:gd name="T11" fmla="*/ 84 h 1721"/>
                <a:gd name="T12" fmla="*/ 0 w 1355"/>
                <a:gd name="T13" fmla="*/ 0 h 1721"/>
                <a:gd name="T14" fmla="*/ 0 w 1355"/>
                <a:gd name="T15" fmla="*/ 564 h 1721"/>
                <a:gd name="T16" fmla="*/ 0 w 1355"/>
                <a:gd name="T17" fmla="*/ 1072 h 1721"/>
                <a:gd name="T18" fmla="*/ 678 w 1355"/>
                <a:gd name="T19" fmla="*/ 1157 h 1721"/>
                <a:gd name="T20" fmla="*/ 1355 w 1355"/>
                <a:gd name="T21" fmla="*/ 1072 h 1721"/>
                <a:gd name="T22" fmla="*/ 1355 w 1355"/>
                <a:gd name="T23" fmla="*/ 564 h 1721"/>
                <a:gd name="T24" fmla="*/ 678 w 1355"/>
                <a:gd name="T25" fmla="*/ 649 h 1721"/>
                <a:gd name="T26" fmla="*/ 0 w 1355"/>
                <a:gd name="T27" fmla="*/ 564 h 1721"/>
                <a:gd name="T28" fmla="*/ 0 w 1355"/>
                <a:gd name="T29" fmla="*/ 1129 h 1721"/>
                <a:gd name="T30" fmla="*/ 0 w 1355"/>
                <a:gd name="T31" fmla="*/ 1637 h 1721"/>
                <a:gd name="T32" fmla="*/ 678 w 1355"/>
                <a:gd name="T33" fmla="*/ 1721 h 1721"/>
                <a:gd name="T34" fmla="*/ 1355 w 1355"/>
                <a:gd name="T35" fmla="*/ 1637 h 1721"/>
                <a:gd name="T36" fmla="*/ 1355 w 1355"/>
                <a:gd name="T37" fmla="*/ 1129 h 1721"/>
                <a:gd name="T38" fmla="*/ 678 w 1355"/>
                <a:gd name="T39" fmla="*/ 1213 h 1721"/>
                <a:gd name="T40" fmla="*/ 0 w 1355"/>
                <a:gd name="T41" fmla="*/ 1129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5" h="1721">
                  <a:moveTo>
                    <a:pt x="0" y="0"/>
                  </a:moveTo>
                  <a:lnTo>
                    <a:pt x="0" y="508"/>
                  </a:lnTo>
                  <a:cubicBezTo>
                    <a:pt x="0" y="555"/>
                    <a:pt x="304" y="592"/>
                    <a:pt x="678" y="592"/>
                  </a:cubicBezTo>
                  <a:cubicBezTo>
                    <a:pt x="1052" y="592"/>
                    <a:pt x="1355" y="555"/>
                    <a:pt x="1355" y="508"/>
                  </a:cubicBezTo>
                  <a:lnTo>
                    <a:pt x="1355" y="0"/>
                  </a:lnTo>
                  <a:cubicBezTo>
                    <a:pt x="1355" y="47"/>
                    <a:pt x="1052" y="84"/>
                    <a:pt x="678" y="84"/>
                  </a:cubicBezTo>
                  <a:cubicBezTo>
                    <a:pt x="304" y="84"/>
                    <a:pt x="0" y="47"/>
                    <a:pt x="0" y="0"/>
                  </a:cubicBezTo>
                  <a:close/>
                  <a:moveTo>
                    <a:pt x="0" y="564"/>
                  </a:moveTo>
                  <a:lnTo>
                    <a:pt x="0" y="1072"/>
                  </a:lnTo>
                  <a:cubicBezTo>
                    <a:pt x="0" y="1119"/>
                    <a:pt x="304" y="1157"/>
                    <a:pt x="678" y="1157"/>
                  </a:cubicBezTo>
                  <a:cubicBezTo>
                    <a:pt x="1052" y="1157"/>
                    <a:pt x="1355" y="1119"/>
                    <a:pt x="1355" y="1072"/>
                  </a:cubicBezTo>
                  <a:lnTo>
                    <a:pt x="1355" y="564"/>
                  </a:lnTo>
                  <a:cubicBezTo>
                    <a:pt x="1355" y="611"/>
                    <a:pt x="1052" y="649"/>
                    <a:pt x="678" y="649"/>
                  </a:cubicBezTo>
                  <a:cubicBezTo>
                    <a:pt x="304" y="649"/>
                    <a:pt x="0" y="611"/>
                    <a:pt x="0" y="564"/>
                  </a:cubicBezTo>
                  <a:close/>
                  <a:moveTo>
                    <a:pt x="0" y="1129"/>
                  </a:moveTo>
                  <a:lnTo>
                    <a:pt x="0" y="1637"/>
                  </a:lnTo>
                  <a:cubicBezTo>
                    <a:pt x="0" y="1683"/>
                    <a:pt x="304" y="1721"/>
                    <a:pt x="678" y="1721"/>
                  </a:cubicBezTo>
                  <a:cubicBezTo>
                    <a:pt x="1052" y="1721"/>
                    <a:pt x="1355" y="1683"/>
                    <a:pt x="1355" y="1637"/>
                  </a:cubicBezTo>
                  <a:lnTo>
                    <a:pt x="1355" y="1129"/>
                  </a:lnTo>
                  <a:cubicBezTo>
                    <a:pt x="1355" y="1175"/>
                    <a:pt x="1052" y="1213"/>
                    <a:pt x="678" y="1213"/>
                  </a:cubicBezTo>
                  <a:cubicBezTo>
                    <a:pt x="304" y="1213"/>
                    <a:pt x="0" y="1175"/>
                    <a:pt x="0" y="1129"/>
                  </a:cubicBezTo>
                  <a:close/>
                </a:path>
              </a:pathLst>
            </a:custGeom>
            <a:solidFill>
              <a:srgbClr val="DC3C00"/>
            </a:solid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266" name="Database Part 2"/>
            <p:cNvSpPr>
              <a:spLocks/>
            </p:cNvSpPr>
            <p:nvPr/>
          </p:nvSpPr>
          <p:spPr bwMode="auto">
            <a:xfrm>
              <a:off x="1571794" y="5320128"/>
              <a:ext cx="534317" cy="714495"/>
            </a:xfrm>
            <a:custGeom>
              <a:avLst/>
              <a:gdLst>
                <a:gd name="T0" fmla="*/ 678 w 1355"/>
                <a:gd name="T1" fmla="*/ 0 h 1806"/>
                <a:gd name="T2" fmla="*/ 0 w 1355"/>
                <a:gd name="T3" fmla="*/ 85 h 1806"/>
                <a:gd name="T4" fmla="*/ 0 w 1355"/>
                <a:gd name="T5" fmla="*/ 1722 h 1806"/>
                <a:gd name="T6" fmla="*/ 678 w 1355"/>
                <a:gd name="T7" fmla="*/ 1806 h 1806"/>
                <a:gd name="T8" fmla="*/ 1355 w 1355"/>
                <a:gd name="T9" fmla="*/ 1722 h 1806"/>
                <a:gd name="T10" fmla="*/ 1355 w 1355"/>
                <a:gd name="T11" fmla="*/ 85 h 1806"/>
                <a:gd name="T12" fmla="*/ 678 w 1355"/>
                <a:gd name="T13" fmla="*/ 0 h 1806"/>
              </a:gdLst>
              <a:ahLst/>
              <a:cxnLst>
                <a:cxn ang="0">
                  <a:pos x="T0" y="T1"/>
                </a:cxn>
                <a:cxn ang="0">
                  <a:pos x="T2" y="T3"/>
                </a:cxn>
                <a:cxn ang="0">
                  <a:pos x="T4" y="T5"/>
                </a:cxn>
                <a:cxn ang="0">
                  <a:pos x="T6" y="T7"/>
                </a:cxn>
                <a:cxn ang="0">
                  <a:pos x="T8" y="T9"/>
                </a:cxn>
                <a:cxn ang="0">
                  <a:pos x="T10" y="T11"/>
                </a:cxn>
                <a:cxn ang="0">
                  <a:pos x="T12" y="T13"/>
                </a:cxn>
              </a:cxnLst>
              <a:rect l="0" t="0" r="r" b="b"/>
              <a:pathLst>
                <a:path w="1355" h="1806">
                  <a:moveTo>
                    <a:pt x="678" y="0"/>
                  </a:moveTo>
                  <a:cubicBezTo>
                    <a:pt x="304" y="0"/>
                    <a:pt x="0" y="38"/>
                    <a:pt x="0" y="85"/>
                  </a:cubicBezTo>
                  <a:lnTo>
                    <a:pt x="0" y="1722"/>
                  </a:lnTo>
                  <a:cubicBezTo>
                    <a:pt x="0" y="1768"/>
                    <a:pt x="304" y="1806"/>
                    <a:pt x="678" y="1806"/>
                  </a:cubicBezTo>
                  <a:cubicBezTo>
                    <a:pt x="1052" y="1806"/>
                    <a:pt x="1355" y="1768"/>
                    <a:pt x="1355" y="1722"/>
                  </a:cubicBezTo>
                  <a:lnTo>
                    <a:pt x="1355" y="85"/>
                  </a:lnTo>
                  <a:cubicBezTo>
                    <a:pt x="1355" y="38"/>
                    <a:pt x="1052" y="0"/>
                    <a:pt x="678" y="0"/>
                  </a:cubicBezTo>
                  <a:close/>
                </a:path>
              </a:pathLst>
            </a:custGeom>
            <a:solidFill>
              <a:srgbClr val="FF8C00"/>
            </a:solid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267" name="Database Part 1"/>
            <p:cNvSpPr>
              <a:spLocks noEditPoints="1"/>
            </p:cNvSpPr>
            <p:nvPr/>
          </p:nvSpPr>
          <p:spPr bwMode="auto">
            <a:xfrm>
              <a:off x="1571794" y="5355335"/>
              <a:ext cx="534317" cy="679288"/>
            </a:xfrm>
            <a:custGeom>
              <a:avLst/>
              <a:gdLst>
                <a:gd name="T0" fmla="*/ 0 w 1355"/>
                <a:gd name="T1" fmla="*/ 0 h 1721"/>
                <a:gd name="T2" fmla="*/ 0 w 1355"/>
                <a:gd name="T3" fmla="*/ 508 h 1721"/>
                <a:gd name="T4" fmla="*/ 678 w 1355"/>
                <a:gd name="T5" fmla="*/ 592 h 1721"/>
                <a:gd name="T6" fmla="*/ 1355 w 1355"/>
                <a:gd name="T7" fmla="*/ 508 h 1721"/>
                <a:gd name="T8" fmla="*/ 1355 w 1355"/>
                <a:gd name="T9" fmla="*/ 0 h 1721"/>
                <a:gd name="T10" fmla="*/ 678 w 1355"/>
                <a:gd name="T11" fmla="*/ 84 h 1721"/>
                <a:gd name="T12" fmla="*/ 0 w 1355"/>
                <a:gd name="T13" fmla="*/ 0 h 1721"/>
                <a:gd name="T14" fmla="*/ 0 w 1355"/>
                <a:gd name="T15" fmla="*/ 564 h 1721"/>
                <a:gd name="T16" fmla="*/ 0 w 1355"/>
                <a:gd name="T17" fmla="*/ 1072 h 1721"/>
                <a:gd name="T18" fmla="*/ 678 w 1355"/>
                <a:gd name="T19" fmla="*/ 1157 h 1721"/>
                <a:gd name="T20" fmla="*/ 1355 w 1355"/>
                <a:gd name="T21" fmla="*/ 1072 h 1721"/>
                <a:gd name="T22" fmla="*/ 1355 w 1355"/>
                <a:gd name="T23" fmla="*/ 564 h 1721"/>
                <a:gd name="T24" fmla="*/ 678 w 1355"/>
                <a:gd name="T25" fmla="*/ 649 h 1721"/>
                <a:gd name="T26" fmla="*/ 0 w 1355"/>
                <a:gd name="T27" fmla="*/ 564 h 1721"/>
                <a:gd name="T28" fmla="*/ 0 w 1355"/>
                <a:gd name="T29" fmla="*/ 1129 h 1721"/>
                <a:gd name="T30" fmla="*/ 0 w 1355"/>
                <a:gd name="T31" fmla="*/ 1637 h 1721"/>
                <a:gd name="T32" fmla="*/ 678 w 1355"/>
                <a:gd name="T33" fmla="*/ 1721 h 1721"/>
                <a:gd name="T34" fmla="*/ 1355 w 1355"/>
                <a:gd name="T35" fmla="*/ 1637 h 1721"/>
                <a:gd name="T36" fmla="*/ 1355 w 1355"/>
                <a:gd name="T37" fmla="*/ 1129 h 1721"/>
                <a:gd name="T38" fmla="*/ 678 w 1355"/>
                <a:gd name="T39" fmla="*/ 1213 h 1721"/>
                <a:gd name="T40" fmla="*/ 0 w 1355"/>
                <a:gd name="T41" fmla="*/ 1129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5" h="1721">
                  <a:moveTo>
                    <a:pt x="0" y="0"/>
                  </a:moveTo>
                  <a:lnTo>
                    <a:pt x="0" y="508"/>
                  </a:lnTo>
                  <a:cubicBezTo>
                    <a:pt x="0" y="555"/>
                    <a:pt x="304" y="592"/>
                    <a:pt x="678" y="592"/>
                  </a:cubicBezTo>
                  <a:cubicBezTo>
                    <a:pt x="1052" y="592"/>
                    <a:pt x="1355" y="555"/>
                    <a:pt x="1355" y="508"/>
                  </a:cubicBezTo>
                  <a:lnTo>
                    <a:pt x="1355" y="0"/>
                  </a:lnTo>
                  <a:cubicBezTo>
                    <a:pt x="1355" y="47"/>
                    <a:pt x="1052" y="84"/>
                    <a:pt x="678" y="84"/>
                  </a:cubicBezTo>
                  <a:cubicBezTo>
                    <a:pt x="304" y="84"/>
                    <a:pt x="0" y="47"/>
                    <a:pt x="0" y="0"/>
                  </a:cubicBezTo>
                  <a:close/>
                  <a:moveTo>
                    <a:pt x="0" y="564"/>
                  </a:moveTo>
                  <a:lnTo>
                    <a:pt x="0" y="1072"/>
                  </a:lnTo>
                  <a:cubicBezTo>
                    <a:pt x="0" y="1119"/>
                    <a:pt x="304" y="1157"/>
                    <a:pt x="678" y="1157"/>
                  </a:cubicBezTo>
                  <a:cubicBezTo>
                    <a:pt x="1052" y="1157"/>
                    <a:pt x="1355" y="1119"/>
                    <a:pt x="1355" y="1072"/>
                  </a:cubicBezTo>
                  <a:lnTo>
                    <a:pt x="1355" y="564"/>
                  </a:lnTo>
                  <a:cubicBezTo>
                    <a:pt x="1355" y="611"/>
                    <a:pt x="1052" y="649"/>
                    <a:pt x="678" y="649"/>
                  </a:cubicBezTo>
                  <a:cubicBezTo>
                    <a:pt x="304" y="649"/>
                    <a:pt x="0" y="611"/>
                    <a:pt x="0" y="564"/>
                  </a:cubicBezTo>
                  <a:close/>
                  <a:moveTo>
                    <a:pt x="0" y="1129"/>
                  </a:moveTo>
                  <a:lnTo>
                    <a:pt x="0" y="1637"/>
                  </a:lnTo>
                  <a:cubicBezTo>
                    <a:pt x="0" y="1683"/>
                    <a:pt x="304" y="1721"/>
                    <a:pt x="678" y="1721"/>
                  </a:cubicBezTo>
                  <a:cubicBezTo>
                    <a:pt x="1052" y="1721"/>
                    <a:pt x="1355" y="1683"/>
                    <a:pt x="1355" y="1637"/>
                  </a:cubicBezTo>
                  <a:lnTo>
                    <a:pt x="1355" y="1129"/>
                  </a:lnTo>
                  <a:cubicBezTo>
                    <a:pt x="1355" y="1175"/>
                    <a:pt x="1052" y="1213"/>
                    <a:pt x="678" y="1213"/>
                  </a:cubicBezTo>
                  <a:cubicBezTo>
                    <a:pt x="304" y="1213"/>
                    <a:pt x="0" y="1175"/>
                    <a:pt x="0" y="1129"/>
                  </a:cubicBezTo>
                  <a:close/>
                </a:path>
              </a:pathLst>
            </a:custGeom>
            <a:solidFill>
              <a:srgbClr val="DC3C00"/>
            </a:solid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p:txBody>
        </p:sp>
      </p:grpSp>
      <p:grpSp>
        <p:nvGrpSpPr>
          <p:cNvPr id="18" name="Group 17"/>
          <p:cNvGrpSpPr/>
          <p:nvPr/>
        </p:nvGrpSpPr>
        <p:grpSpPr>
          <a:xfrm>
            <a:off x="2545370" y="2301253"/>
            <a:ext cx="2571588" cy="3326176"/>
            <a:chOff x="2545370" y="2301253"/>
            <a:chExt cx="2571588" cy="3326176"/>
          </a:xfrm>
        </p:grpSpPr>
        <p:cxnSp>
          <p:nvCxnSpPr>
            <p:cNvPr id="16" name="Straight Connector 15"/>
            <p:cNvCxnSpPr/>
            <p:nvPr/>
          </p:nvCxnSpPr>
          <p:spPr>
            <a:xfrm flipH="1">
              <a:off x="3272167" y="3598713"/>
              <a:ext cx="1844791" cy="0"/>
            </a:xfrm>
            <a:prstGeom prst="line">
              <a:avLst/>
            </a:prstGeom>
            <a:ln w="38100" cap="rnd">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527423" y="3305448"/>
              <a:ext cx="1503617" cy="215444"/>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dirty="0">
                  <a:ln>
                    <a:noFill/>
                  </a:ln>
                  <a:solidFill>
                    <a:schemeClr val="tx2"/>
                  </a:solidFill>
                  <a:effectLst/>
                  <a:uLnTx/>
                  <a:uFillTx/>
                </a:rPr>
                <a:t>Azure Data Factory</a:t>
              </a:r>
            </a:p>
          </p:txBody>
        </p:sp>
        <p:sp>
          <p:nvSpPr>
            <p:cNvPr id="24" name="TextBox 23"/>
            <p:cNvSpPr txBox="1"/>
            <p:nvPr/>
          </p:nvSpPr>
          <p:spPr>
            <a:xfrm>
              <a:off x="3527423" y="3676534"/>
              <a:ext cx="1160574" cy="215444"/>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dirty="0">
                  <a:ln>
                    <a:noFill/>
                  </a:ln>
                  <a:solidFill>
                    <a:schemeClr val="tx2"/>
                  </a:solidFill>
                  <a:effectLst/>
                  <a:uLnTx/>
                  <a:uFillTx/>
                </a:rPr>
                <a:t>Apache Sqoop</a:t>
              </a:r>
            </a:p>
          </p:txBody>
        </p:sp>
        <p:cxnSp>
          <p:nvCxnSpPr>
            <p:cNvPr id="33" name="Straight Connector 32"/>
            <p:cNvCxnSpPr/>
            <p:nvPr/>
          </p:nvCxnSpPr>
          <p:spPr>
            <a:xfrm>
              <a:off x="2545370" y="3420162"/>
              <a:ext cx="357639" cy="0"/>
            </a:xfrm>
            <a:prstGeom prst="line">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290" name="Straight Connector 289"/>
            <p:cNvCxnSpPr/>
            <p:nvPr/>
          </p:nvCxnSpPr>
          <p:spPr>
            <a:xfrm>
              <a:off x="2545370" y="4548762"/>
              <a:ext cx="357639" cy="0"/>
            </a:xfrm>
            <a:prstGeom prst="line">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291" name="Straight Connector 14"/>
            <p:cNvCxnSpPr/>
            <p:nvPr/>
          </p:nvCxnSpPr>
          <p:spPr>
            <a:xfrm flipV="1">
              <a:off x="2545370" y="2301253"/>
              <a:ext cx="12700" cy="3326176"/>
            </a:xfrm>
            <a:prstGeom prst="bentConnector3">
              <a:avLst>
                <a:gd name="adj1" fmla="val 2957142"/>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grpSp>
      <p:grpSp>
        <p:nvGrpSpPr>
          <p:cNvPr id="19" name="Group 18"/>
          <p:cNvGrpSpPr/>
          <p:nvPr/>
        </p:nvGrpSpPr>
        <p:grpSpPr>
          <a:xfrm>
            <a:off x="10110139" y="1880033"/>
            <a:ext cx="1596656" cy="816441"/>
            <a:chOff x="10110139" y="3037540"/>
            <a:chExt cx="1596656" cy="816441"/>
          </a:xfrm>
        </p:grpSpPr>
        <p:sp>
          <p:nvSpPr>
            <p:cNvPr id="41" name="Rectangle 40"/>
            <p:cNvSpPr/>
            <p:nvPr/>
          </p:nvSpPr>
          <p:spPr>
            <a:xfrm>
              <a:off x="10110139" y="3638537"/>
              <a:ext cx="1596656" cy="215444"/>
            </a:xfrm>
            <a:prstGeom prst="rect">
              <a:avLst/>
            </a:prstGeom>
          </p:spPr>
          <p:txBody>
            <a:bodyPr wrap="square" lIns="0" tIns="0" rIns="0" bIns="0">
              <a:spAutoFit/>
            </a:bodyPr>
            <a:lstStyle/>
            <a:p>
              <a:pPr marL="0" marR="0" lvl="0" indent="0" defTabSz="91410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ea typeface="Segoe UI" pitchFamily="34" charset="0"/>
                  <a:cs typeface="Segoe UI" pitchFamily="34" charset="0"/>
                </a:rPr>
                <a:t>Azure Storage Blobs</a:t>
              </a:r>
            </a:p>
          </p:txBody>
        </p:sp>
        <p:grpSp>
          <p:nvGrpSpPr>
            <p:cNvPr id="341" name="Group 340"/>
            <p:cNvGrpSpPr/>
            <p:nvPr/>
          </p:nvGrpSpPr>
          <p:grpSpPr>
            <a:xfrm>
              <a:off x="10549993" y="3037540"/>
              <a:ext cx="716949" cy="571500"/>
              <a:chOff x="10549992" y="2941320"/>
              <a:chExt cx="716949" cy="571500"/>
            </a:xfrm>
          </p:grpSpPr>
          <p:sp>
            <p:nvSpPr>
              <p:cNvPr id="330" name="Rectangle 209"/>
              <p:cNvSpPr>
                <a:spLocks noChangeArrowheads="1"/>
              </p:cNvSpPr>
              <p:nvPr/>
            </p:nvSpPr>
            <p:spPr bwMode="auto">
              <a:xfrm>
                <a:off x="10549992" y="2941320"/>
                <a:ext cx="716949" cy="571500"/>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18288" rIns="45720" bIns="18288" numCol="1" anchor="b"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dirty="0">
                  <a:ln>
                    <a:noFill/>
                  </a:ln>
                  <a:solidFill>
                    <a:schemeClr val="bg1"/>
                  </a:solidFill>
                  <a:effectLst/>
                  <a:uLnTx/>
                  <a:uFillTx/>
                </a:endParaRPr>
              </a:p>
            </p:txBody>
          </p:sp>
          <p:sp>
            <p:nvSpPr>
              <p:cNvPr id="331" name="Freeform 218"/>
              <p:cNvSpPr>
                <a:spLocks noEditPoints="1"/>
              </p:cNvSpPr>
              <p:nvPr/>
            </p:nvSpPr>
            <p:spPr bwMode="auto">
              <a:xfrm>
                <a:off x="10585882" y="3049623"/>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32" name="Freeform 219"/>
              <p:cNvSpPr>
                <a:spLocks noEditPoints="1"/>
              </p:cNvSpPr>
              <p:nvPr/>
            </p:nvSpPr>
            <p:spPr bwMode="auto">
              <a:xfrm>
                <a:off x="10585882" y="3049623"/>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33" name="Line 220"/>
              <p:cNvSpPr>
                <a:spLocks noChangeShapeType="1"/>
              </p:cNvSpPr>
              <p:nvPr/>
            </p:nvSpPr>
            <p:spPr bwMode="auto">
              <a:xfrm>
                <a:off x="10585882" y="3188912"/>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34" name="Line 221"/>
              <p:cNvSpPr>
                <a:spLocks noChangeShapeType="1"/>
              </p:cNvSpPr>
              <p:nvPr/>
            </p:nvSpPr>
            <p:spPr bwMode="auto">
              <a:xfrm flipH="1">
                <a:off x="10585882" y="3319655"/>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35" name="Line 222"/>
              <p:cNvSpPr>
                <a:spLocks noChangeShapeType="1"/>
              </p:cNvSpPr>
              <p:nvPr/>
            </p:nvSpPr>
            <p:spPr bwMode="auto">
              <a:xfrm>
                <a:off x="11016564" y="3049623"/>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36" name="Line 223"/>
              <p:cNvSpPr>
                <a:spLocks noChangeShapeType="1"/>
              </p:cNvSpPr>
              <p:nvPr/>
            </p:nvSpPr>
            <p:spPr bwMode="auto">
              <a:xfrm flipV="1">
                <a:off x="10800369" y="3049623"/>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40" name="Freeform 219"/>
              <p:cNvSpPr>
                <a:spLocks noEditPoints="1"/>
              </p:cNvSpPr>
              <p:nvPr/>
            </p:nvSpPr>
            <p:spPr bwMode="auto">
              <a:xfrm>
                <a:off x="10585882" y="2983398"/>
                <a:ext cx="643460" cy="84406"/>
              </a:xfrm>
              <a:prstGeom prst="rect">
                <a:avLst/>
              </a:pr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grpSp>
      <p:grpSp>
        <p:nvGrpSpPr>
          <p:cNvPr id="8" name="Group 7"/>
          <p:cNvGrpSpPr/>
          <p:nvPr/>
        </p:nvGrpSpPr>
        <p:grpSpPr>
          <a:xfrm>
            <a:off x="10130470" y="5202860"/>
            <a:ext cx="1414875" cy="1105851"/>
            <a:chOff x="10130470" y="5202860"/>
            <a:chExt cx="1414875" cy="1105851"/>
          </a:xfrm>
        </p:grpSpPr>
        <p:sp>
          <p:nvSpPr>
            <p:cNvPr id="10" name="Rectangle 9"/>
            <p:cNvSpPr/>
            <p:nvPr/>
          </p:nvSpPr>
          <p:spPr>
            <a:xfrm>
              <a:off x="10130470" y="6093267"/>
              <a:ext cx="1414875" cy="215444"/>
            </a:xfrm>
            <a:prstGeom prst="rect">
              <a:avLst/>
            </a:prstGeom>
          </p:spPr>
          <p:txBody>
            <a:bodyPr wrap="square" lIns="0" tIns="0" rIns="0" bIns="0">
              <a:spAutoFit/>
            </a:bodyPr>
            <a:lstStyle/>
            <a:p>
              <a:pPr marL="0" marR="0" lvl="0" indent="0" algn="ctr" defTabSz="91410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ea typeface="Segoe UI" pitchFamily="34" charset="0"/>
                  <a:cs typeface="Segoe UI" pitchFamily="34" charset="0"/>
                </a:rPr>
                <a:t>Custom programs</a:t>
              </a:r>
            </a:p>
          </p:txBody>
        </p:sp>
        <p:grpSp>
          <p:nvGrpSpPr>
            <p:cNvPr id="370" name="Group 369"/>
            <p:cNvGrpSpPr/>
            <p:nvPr/>
          </p:nvGrpSpPr>
          <p:grpSpPr>
            <a:xfrm>
              <a:off x="10195724" y="5202860"/>
              <a:ext cx="1284366" cy="704227"/>
              <a:chOff x="9421813" y="4852988"/>
              <a:chExt cx="1922462" cy="1054100"/>
            </a:xfrm>
          </p:grpSpPr>
          <p:sp>
            <p:nvSpPr>
              <p:cNvPr id="345" name="Freeform 53"/>
              <p:cNvSpPr>
                <a:spLocks/>
              </p:cNvSpPr>
              <p:nvPr/>
            </p:nvSpPr>
            <p:spPr bwMode="auto">
              <a:xfrm>
                <a:off x="11122025" y="5799138"/>
                <a:ext cx="222250" cy="107950"/>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6" name="Freeform 54"/>
              <p:cNvSpPr>
                <a:spLocks/>
              </p:cNvSpPr>
              <p:nvPr/>
            </p:nvSpPr>
            <p:spPr bwMode="auto">
              <a:xfrm>
                <a:off x="10712450" y="5800725"/>
                <a:ext cx="473075" cy="60325"/>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7" name="Oval 55"/>
              <p:cNvSpPr>
                <a:spLocks noChangeArrowheads="1"/>
              </p:cNvSpPr>
              <p:nvPr/>
            </p:nvSpPr>
            <p:spPr bwMode="auto">
              <a:xfrm>
                <a:off x="9915525" y="5627688"/>
                <a:ext cx="493713" cy="104775"/>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8" name="Freeform 56"/>
              <p:cNvSpPr>
                <a:spLocks/>
              </p:cNvSpPr>
              <p:nvPr/>
            </p:nvSpPr>
            <p:spPr bwMode="auto">
              <a:xfrm>
                <a:off x="9555163" y="4852988"/>
                <a:ext cx="1193800" cy="828675"/>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9" name="Rectangle 57"/>
              <p:cNvSpPr>
                <a:spLocks noChangeArrowheads="1"/>
              </p:cNvSpPr>
              <p:nvPr/>
            </p:nvSpPr>
            <p:spPr bwMode="auto">
              <a:xfrm>
                <a:off x="9593263" y="4889500"/>
                <a:ext cx="1117600" cy="63341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0" name="Rectangle 58"/>
              <p:cNvSpPr>
                <a:spLocks noChangeArrowheads="1"/>
              </p:cNvSpPr>
              <p:nvPr/>
            </p:nvSpPr>
            <p:spPr bwMode="auto">
              <a:xfrm>
                <a:off x="9421813" y="5849938"/>
                <a:ext cx="1477963" cy="555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1" name="Freeform 59"/>
              <p:cNvSpPr>
                <a:spLocks/>
              </p:cNvSpPr>
              <p:nvPr/>
            </p:nvSpPr>
            <p:spPr bwMode="auto">
              <a:xfrm>
                <a:off x="9421813" y="5783263"/>
                <a:ext cx="1477963" cy="66675"/>
              </a:xfrm>
              <a:custGeom>
                <a:avLst/>
                <a:gdLst>
                  <a:gd name="T0" fmla="*/ 931 w 931"/>
                  <a:gd name="T1" fmla="*/ 42 h 42"/>
                  <a:gd name="T2" fmla="*/ 0 w 931"/>
                  <a:gd name="T3" fmla="*/ 42 h 42"/>
                  <a:gd name="T4" fmla="*/ 59 w 931"/>
                  <a:gd name="T5" fmla="*/ 0 h 42"/>
                  <a:gd name="T6" fmla="*/ 873 w 931"/>
                  <a:gd name="T7" fmla="*/ 0 h 42"/>
                  <a:gd name="T8" fmla="*/ 931 w 931"/>
                  <a:gd name="T9" fmla="*/ 42 h 42"/>
                </a:gdLst>
                <a:ahLst/>
                <a:cxnLst>
                  <a:cxn ang="0">
                    <a:pos x="T0" y="T1"/>
                  </a:cxn>
                  <a:cxn ang="0">
                    <a:pos x="T2" y="T3"/>
                  </a:cxn>
                  <a:cxn ang="0">
                    <a:pos x="T4" y="T5"/>
                  </a:cxn>
                  <a:cxn ang="0">
                    <a:pos x="T6" y="T7"/>
                  </a:cxn>
                  <a:cxn ang="0">
                    <a:pos x="T8" y="T9"/>
                  </a:cxn>
                </a:cxnLst>
                <a:rect l="0" t="0" r="r" b="b"/>
                <a:pathLst>
                  <a:path w="931" h="42">
                    <a:moveTo>
                      <a:pt x="931" y="42"/>
                    </a:moveTo>
                    <a:lnTo>
                      <a:pt x="0" y="42"/>
                    </a:lnTo>
                    <a:lnTo>
                      <a:pt x="59" y="0"/>
                    </a:lnTo>
                    <a:lnTo>
                      <a:pt x="873" y="0"/>
                    </a:lnTo>
                    <a:lnTo>
                      <a:pt x="931" y="4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369" name="Group 368"/>
              <p:cNvGrpSpPr/>
              <p:nvPr/>
            </p:nvGrpSpPr>
            <p:grpSpPr>
              <a:xfrm>
                <a:off x="10923587" y="4883150"/>
                <a:ext cx="420688" cy="798513"/>
                <a:chOff x="11093450" y="4883150"/>
                <a:chExt cx="420688" cy="798513"/>
              </a:xfrm>
            </p:grpSpPr>
            <p:sp>
              <p:nvSpPr>
                <p:cNvPr id="356" name="AutoShape 63"/>
                <p:cNvSpPr>
                  <a:spLocks noChangeAspect="1" noChangeArrowheads="1" noTextEdit="1"/>
                </p:cNvSpPr>
                <p:nvPr/>
              </p:nvSpPr>
              <p:spPr bwMode="auto">
                <a:xfrm>
                  <a:off x="11093450" y="4886325"/>
                  <a:ext cx="4206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7" name="Freeform 65"/>
                <p:cNvSpPr>
                  <a:spLocks/>
                </p:cNvSpPr>
                <p:nvPr/>
              </p:nvSpPr>
              <p:spPr bwMode="auto">
                <a:xfrm>
                  <a:off x="11095038" y="4883150"/>
                  <a:ext cx="417513" cy="798513"/>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44235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8" name="Rectangle 66"/>
                <p:cNvSpPr>
                  <a:spLocks noChangeArrowheads="1"/>
                </p:cNvSpPr>
                <p:nvPr/>
              </p:nvSpPr>
              <p:spPr bwMode="auto">
                <a:xfrm>
                  <a:off x="11114088" y="4967288"/>
                  <a:ext cx="379413" cy="79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0" name="Rectangle 68"/>
                <p:cNvSpPr>
                  <a:spLocks noChangeArrowheads="1"/>
                </p:cNvSpPr>
                <p:nvPr/>
              </p:nvSpPr>
              <p:spPr bwMode="auto">
                <a:xfrm>
                  <a:off x="11114088" y="5060950"/>
                  <a:ext cx="379413" cy="6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2" name="Rectangle 70"/>
                <p:cNvSpPr>
                  <a:spLocks noChangeArrowheads="1"/>
                </p:cNvSpPr>
                <p:nvPr/>
              </p:nvSpPr>
              <p:spPr bwMode="auto">
                <a:xfrm>
                  <a:off x="11114088" y="5153025"/>
                  <a:ext cx="379413" cy="6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4" name="Rectangle 72"/>
                <p:cNvSpPr>
                  <a:spLocks noChangeArrowheads="1"/>
                </p:cNvSpPr>
                <p:nvPr/>
              </p:nvSpPr>
              <p:spPr bwMode="auto">
                <a:xfrm>
                  <a:off x="11114088" y="5245100"/>
                  <a:ext cx="379413" cy="79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6" name="Oval 74"/>
                <p:cNvSpPr>
                  <a:spLocks noChangeArrowheads="1"/>
                </p:cNvSpPr>
                <p:nvPr/>
              </p:nvSpPr>
              <p:spPr bwMode="auto">
                <a:xfrm>
                  <a:off x="11280775" y="5503863"/>
                  <a:ext cx="47625" cy="46038"/>
                </a:xfrm>
                <a:prstGeom prst="ellipse">
                  <a:avLst/>
                </a:pr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7" name="Freeform 75"/>
                <p:cNvSpPr>
                  <a:spLocks/>
                </p:cNvSpPr>
                <p:nvPr/>
              </p:nvSpPr>
              <p:spPr bwMode="auto">
                <a:xfrm>
                  <a:off x="11096625" y="5649913"/>
                  <a:ext cx="417513" cy="31750"/>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8" name="Rectangle 76"/>
                <p:cNvSpPr>
                  <a:spLocks noChangeArrowheads="1"/>
                </p:cNvSpPr>
                <p:nvPr/>
              </p:nvSpPr>
              <p:spPr bwMode="auto">
                <a:xfrm>
                  <a:off x="11096625" y="5600700"/>
                  <a:ext cx="417513" cy="49213"/>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grpSp>
        <p:nvGrpSpPr>
          <p:cNvPr id="7" name="Group 6"/>
          <p:cNvGrpSpPr/>
          <p:nvPr/>
        </p:nvGrpSpPr>
        <p:grpSpPr>
          <a:xfrm>
            <a:off x="5837656" y="4286416"/>
            <a:ext cx="4190014" cy="1241171"/>
            <a:chOff x="5837656" y="4286416"/>
            <a:chExt cx="4190014" cy="1241171"/>
          </a:xfrm>
        </p:grpSpPr>
        <p:sp>
          <p:nvSpPr>
            <p:cNvPr id="27" name="TextBox 26"/>
            <p:cNvSpPr txBox="1"/>
            <p:nvPr/>
          </p:nvSpPr>
          <p:spPr>
            <a:xfrm>
              <a:off x="5990553" y="4483977"/>
              <a:ext cx="1376980" cy="900246"/>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10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rPr>
                <a:t>.NET SDK </a:t>
              </a:r>
            </a:p>
            <a:p>
              <a:pPr marL="0" marR="0" lvl="0" indent="0" defTabSz="914367" eaLnBrk="1" fontAlgn="auto" latinLnBrk="0" hangingPunct="1">
                <a:lnSpc>
                  <a:spcPct val="100000"/>
                </a:lnSpc>
                <a:spcBef>
                  <a:spcPts val="10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rPr>
                <a:t>JavaScript CLI</a:t>
              </a:r>
            </a:p>
            <a:p>
              <a:pPr marL="0" marR="0" lvl="0" indent="0" defTabSz="914367" eaLnBrk="1" fontAlgn="auto" latinLnBrk="0" hangingPunct="1">
                <a:lnSpc>
                  <a:spcPct val="100000"/>
                </a:lnSpc>
                <a:spcBef>
                  <a:spcPts val="10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rPr>
                <a:t>Azure Portal</a:t>
              </a:r>
            </a:p>
            <a:p>
              <a:pPr marL="0" marR="0" lvl="0" indent="0" defTabSz="914367" eaLnBrk="1" fontAlgn="auto" latinLnBrk="0" hangingPunct="1">
                <a:lnSpc>
                  <a:spcPct val="100000"/>
                </a:lnSpc>
                <a:spcBef>
                  <a:spcPts val="10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rPr>
                <a:t>Azure PowerShell</a:t>
              </a:r>
            </a:p>
          </p:txBody>
        </p:sp>
        <p:cxnSp>
          <p:nvCxnSpPr>
            <p:cNvPr id="372" name="Straight Connector 14"/>
            <p:cNvCxnSpPr/>
            <p:nvPr/>
          </p:nvCxnSpPr>
          <p:spPr>
            <a:xfrm rot="10800000">
              <a:off x="5837656" y="4286416"/>
              <a:ext cx="4190014" cy="1241171"/>
            </a:xfrm>
            <a:prstGeom prst="bentConnector2">
              <a:avLst/>
            </a:prstGeom>
            <a:ln w="38100" cap="rnd">
              <a:solidFill>
                <a:schemeClr val="accent2"/>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 name="Slide Number Placeholder 8"/>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grpSp>
        <p:nvGrpSpPr>
          <p:cNvPr id="14" name="Group 13"/>
          <p:cNvGrpSpPr/>
          <p:nvPr/>
        </p:nvGrpSpPr>
        <p:grpSpPr>
          <a:xfrm>
            <a:off x="5875527" y="1806522"/>
            <a:ext cx="4177910" cy="1066639"/>
            <a:chOff x="5875527" y="1806522"/>
            <a:chExt cx="4177910" cy="1066639"/>
          </a:xfrm>
        </p:grpSpPr>
        <p:cxnSp>
          <p:nvCxnSpPr>
            <p:cNvPr id="318" name="Straight Connector 14"/>
            <p:cNvCxnSpPr/>
            <p:nvPr/>
          </p:nvCxnSpPr>
          <p:spPr>
            <a:xfrm rot="10800000" flipV="1">
              <a:off x="5875527" y="2140880"/>
              <a:ext cx="4177910" cy="732281"/>
            </a:xfrm>
            <a:prstGeom prst="bentConnector2">
              <a:avLst/>
            </a:prstGeom>
            <a:ln w="38100" cap="rnd">
              <a:solidFill>
                <a:schemeClr val="accent2"/>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6504876" y="1890703"/>
              <a:ext cx="1019510" cy="507831"/>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dirty="0">
                  <a:ln>
                    <a:noFill/>
                  </a:ln>
                  <a:solidFill>
                    <a:schemeClr val="tx2"/>
                  </a:solidFill>
                  <a:effectLst/>
                  <a:uLnTx/>
                  <a:uFillTx/>
                </a:rPr>
                <a:t>Built-in </a:t>
              </a:r>
            </a:p>
            <a:p>
              <a:pPr marL="0" marR="0" lvl="0" indent="0" algn="ctr" defTabSz="914367"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dirty="0">
                  <a:ln>
                    <a:noFill/>
                  </a:ln>
                  <a:solidFill>
                    <a:schemeClr val="tx2"/>
                  </a:solidFill>
                  <a:effectLst/>
                  <a:uLnTx/>
                  <a:uFillTx/>
                </a:rPr>
                <a:t>c</a:t>
              </a:r>
              <a:r>
                <a:rPr kumimoji="0" lang="en-US" sz="1400" b="0" i="0" u="none" strike="noStrike" kern="0" cap="none" spc="0" normalizeH="0" baseline="0" noProof="0" dirty="0" err="1">
                  <a:ln>
                    <a:noFill/>
                  </a:ln>
                  <a:solidFill>
                    <a:schemeClr val="tx2"/>
                  </a:solidFill>
                  <a:effectLst/>
                  <a:uLnTx/>
                  <a:uFillTx/>
                </a:rPr>
                <a:t>opy</a:t>
              </a:r>
              <a:r>
                <a:rPr kumimoji="0" lang="en-US" sz="1400" b="0" i="0" u="none" strike="noStrike" kern="0" cap="none" spc="0" normalizeH="0" baseline="0" noProof="0" dirty="0">
                  <a:ln>
                    <a:noFill/>
                  </a:ln>
                  <a:solidFill>
                    <a:schemeClr val="tx2"/>
                  </a:solidFill>
                  <a:effectLst/>
                  <a:uLnTx/>
                  <a:uFillTx/>
                </a:rPr>
                <a:t> s</a:t>
              </a:r>
              <a:r>
                <a:rPr kumimoji="0" lang="en-US" sz="1400" b="0" i="0" u="none" strike="noStrike" kern="0" cap="none" spc="0" normalizeH="0" baseline="0" noProof="0" dirty="0" err="1">
                  <a:ln>
                    <a:noFill/>
                  </a:ln>
                  <a:solidFill>
                    <a:schemeClr val="tx2"/>
                  </a:solidFill>
                  <a:effectLst/>
                  <a:uLnTx/>
                  <a:uFillTx/>
                </a:rPr>
                <a:t>ervice</a:t>
              </a:r>
              <a:endParaRPr kumimoji="0" lang="en-US" sz="1400" b="0" i="0" u="none" strike="noStrike" kern="0" cap="none" spc="0" normalizeH="0" baseline="0" noProof="0" dirty="0">
                <a:ln>
                  <a:noFill/>
                </a:ln>
                <a:solidFill>
                  <a:schemeClr val="tx2"/>
                </a:solidFill>
                <a:effectLst/>
                <a:uLnTx/>
                <a:uFillTx/>
              </a:endParaRPr>
            </a:p>
          </p:txBody>
        </p:sp>
        <p:sp>
          <p:nvSpPr>
            <p:cNvPr id="78" name="32-Point Star 77"/>
            <p:cNvSpPr/>
            <p:nvPr/>
          </p:nvSpPr>
          <p:spPr bwMode="auto">
            <a:xfrm rot="19800000">
              <a:off x="6363560" y="1806522"/>
              <a:ext cx="282632" cy="282632"/>
            </a:xfrm>
            <a:prstGeom prst="star32">
              <a:avLst>
                <a:gd name="adj" fmla="val 45865"/>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700"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New</a:t>
              </a:r>
            </a:p>
          </p:txBody>
        </p:sp>
      </p:grpSp>
      <p:grpSp>
        <p:nvGrpSpPr>
          <p:cNvPr id="79" name="Group 78"/>
          <p:cNvGrpSpPr/>
          <p:nvPr/>
        </p:nvGrpSpPr>
        <p:grpSpPr>
          <a:xfrm>
            <a:off x="5410733" y="3048788"/>
            <a:ext cx="1007263" cy="1110509"/>
            <a:chOff x="5410733" y="3048788"/>
            <a:chExt cx="1007263" cy="1110509"/>
          </a:xfrm>
        </p:grpSpPr>
        <p:sp>
          <p:nvSpPr>
            <p:cNvPr id="80" name="TextBox 79"/>
            <p:cNvSpPr txBox="1"/>
            <p:nvPr/>
          </p:nvSpPr>
          <p:spPr>
            <a:xfrm>
              <a:off x="5410733" y="3882298"/>
              <a:ext cx="1007263" cy="276999"/>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tx2"/>
                  </a:solidFill>
                  <a:effectLst/>
                  <a:uLnTx/>
                  <a:uFillTx/>
                </a:rPr>
                <a:t>ADL Store</a:t>
              </a:r>
            </a:p>
          </p:txBody>
        </p:sp>
        <p:pic>
          <p:nvPicPr>
            <p:cNvPr id="81" name="Picture 8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61897" y="3048788"/>
              <a:ext cx="904934" cy="904934"/>
            </a:xfrm>
            <a:prstGeom prst="rect">
              <a:avLst/>
            </a:prstGeom>
          </p:spPr>
        </p:pic>
      </p:grpSp>
    </p:spTree>
    <p:extLst>
      <p:ext uri="{BB962C8B-B14F-4D97-AF65-F5344CB8AC3E}">
        <p14:creationId xmlns:p14="http://schemas.microsoft.com/office/powerpoint/2010/main" val="381856592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500"/>
                                        <p:tgtEl>
                                          <p:spTgt spid="79"/>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wipe(right)">
                                      <p:cBhvr>
                                        <p:cTn id="11" dur="500"/>
                                        <p:tgtEl>
                                          <p:spTgt spid="1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wipe(left)">
                                      <p:cBhvr>
                                        <p:cTn id="27" dur="500"/>
                                        <p:tgtEl>
                                          <p:spTgt spid="7"/>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20988" y="344540"/>
            <a:ext cx="10515600" cy="1325563"/>
          </a:xfrm>
        </p:spPr>
        <p:txBody>
          <a:bodyPr>
            <a:normAutofit fontScale="90000"/>
          </a:bodyPr>
          <a:lstStyle/>
          <a:p>
            <a:r>
              <a:rPr lang="en-US" dirty="0">
                <a:solidFill>
                  <a:srgbClr val="0070C0"/>
                </a:solidFill>
              </a:rPr>
              <a:t>App Development </a:t>
            </a:r>
            <a:r>
              <a:rPr lang="en-US" sz="5400" dirty="0">
                <a:solidFill>
                  <a:srgbClr val="0070C0"/>
                </a:solidFill>
              </a:rPr>
              <a:t>– </a:t>
            </a:r>
            <a:r>
              <a:rPr lang="en-US" dirty="0">
                <a:solidFill>
                  <a:srgbClr val="0070C0"/>
                </a:solidFill>
              </a:rPr>
              <a:t>Languages and Tools</a:t>
            </a:r>
            <a:br>
              <a:rPr lang="en-US" sz="2800" dirty="0">
                <a:solidFill>
                  <a:schemeClr val="accent2"/>
                </a:solidFill>
              </a:rPr>
            </a:br>
            <a:r>
              <a:rPr lang="en-US" sz="2800" dirty="0">
                <a:solidFill>
                  <a:srgbClr val="00B0F0"/>
                </a:solidFill>
              </a:rPr>
              <a:t>Azure Data Lake Store supports multiple languages for application development</a:t>
            </a:r>
            <a:br>
              <a:rPr lang="en-US" sz="2800" dirty="0">
                <a:solidFill>
                  <a:srgbClr val="00B0F0"/>
                </a:solidFill>
              </a:rPr>
            </a:br>
            <a:endParaRPr lang="en-US" sz="2800" dirty="0">
              <a:solidFill>
                <a:srgbClr val="00B0F0"/>
              </a:solidFill>
            </a:endParaRPr>
          </a:p>
        </p:txBody>
      </p:sp>
      <p:sp>
        <p:nvSpPr>
          <p:cNvPr id="132" name="Rectangle 131"/>
          <p:cNvSpPr/>
          <p:nvPr/>
        </p:nvSpPr>
        <p:spPr>
          <a:xfrm>
            <a:off x="434975" y="6002389"/>
            <a:ext cx="10932200" cy="307777"/>
          </a:xfrm>
          <a:prstGeom prst="rect">
            <a:avLst/>
          </a:prstGeom>
        </p:spPr>
        <p:txBody>
          <a:bodyPr wrap="square" lIns="0" tIns="0" rIns="0" bIns="0" anchor="b">
            <a:spAutoFit/>
          </a:bodyPr>
          <a:lstStyle/>
          <a:p>
            <a:pPr>
              <a:spcAft>
                <a:spcPts val="600"/>
              </a:spcAft>
            </a:pPr>
            <a:r>
              <a:rPr lang="en-US" sz="1000" dirty="0">
                <a:solidFill>
                  <a:schemeClr val="tx2"/>
                </a:solidFill>
                <a:ea typeface="Calibri" panose="020F0502020204030204" pitchFamily="34" charset="0"/>
              </a:rPr>
              <a:t>Note: If you are using Hadoop (Map Reduce programs or Hive or HBase) or Spark, then you will not be programming directly to the Azure Data Lake Store as they all will transparently access Azure Data Lake Store under the covers. </a:t>
            </a:r>
          </a:p>
        </p:txBody>
      </p:sp>
      <p:grpSp>
        <p:nvGrpSpPr>
          <p:cNvPr id="15" name="Group 14"/>
          <p:cNvGrpSpPr/>
          <p:nvPr/>
        </p:nvGrpSpPr>
        <p:grpSpPr>
          <a:xfrm>
            <a:off x="449618" y="2039669"/>
            <a:ext cx="4223982" cy="3168748"/>
            <a:chOff x="449618" y="2039669"/>
            <a:chExt cx="4223982" cy="3168748"/>
          </a:xfrm>
        </p:grpSpPr>
        <p:sp>
          <p:nvSpPr>
            <p:cNvPr id="196" name="Rectangle 195"/>
            <p:cNvSpPr/>
            <p:nvPr>
              <p:custDataLst>
                <p:tags r:id="rId5"/>
              </p:custDataLst>
            </p:nvPr>
          </p:nvSpPr>
          <p:spPr bwMode="auto">
            <a:xfrm>
              <a:off x="449618" y="2039669"/>
              <a:ext cx="4223982"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91440" rIns="91440" bIns="91440" numCol="1" spcCol="0" rtlCol="0" fromWordArt="0" anchor="ctr" anchorCtr="0" forceAA="0" compatLnSpc="1">
              <a:prstTxWarp prst="textNoShape">
                <a:avLst/>
              </a:prstTxWarp>
              <a:noAutofit/>
            </a:bodyPr>
            <a:lstStyle/>
            <a:p>
              <a:pPr defTabSz="932472"/>
              <a:r>
                <a:rPr lang="en-US" sz="2000" dirty="0">
                  <a:solidFill>
                    <a:srgbClr val="0070C0"/>
                  </a:solidFill>
                </a:rPr>
                <a:t>Java Developers</a:t>
              </a:r>
            </a:p>
          </p:txBody>
        </p:sp>
        <p:pic>
          <p:nvPicPr>
            <p:cNvPr id="205" name="Picture 12" descr="http://www.chamber.uz/upload/image/l12866_java_eps_logo_99090.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5703" y="2060280"/>
              <a:ext cx="699857" cy="699857"/>
            </a:xfrm>
            <a:prstGeom prst="rect">
              <a:avLst/>
            </a:prstGeom>
            <a:noFill/>
            <a:extLst>
              <a:ext uri="{909E8E84-426E-40DD-AFC4-6F175D3DCCD1}">
                <a14:hiddenFill xmlns:a14="http://schemas.microsoft.com/office/drawing/2010/main">
                  <a:solidFill>
                    <a:srgbClr val="FFFFFF"/>
                  </a:solidFill>
                </a14:hiddenFill>
              </a:ext>
            </a:extLst>
          </p:spPr>
        </p:pic>
        <p:sp>
          <p:nvSpPr>
            <p:cNvPr id="206" name="Rectangle 205"/>
            <p:cNvSpPr/>
            <p:nvPr>
              <p:custDataLst>
                <p:tags r:id="rId6"/>
              </p:custDataLst>
            </p:nvPr>
          </p:nvSpPr>
          <p:spPr bwMode="auto">
            <a:xfrm>
              <a:off x="449618" y="2854253"/>
              <a:ext cx="4223982"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91440" rIns="91440" bIns="91440" numCol="1" spcCol="0" rtlCol="0" fromWordArt="0" anchor="ctr" anchorCtr="0" forceAA="0" compatLnSpc="1">
              <a:prstTxWarp prst="textNoShape">
                <a:avLst/>
              </a:prstTxWarp>
              <a:noAutofit/>
            </a:bodyPr>
            <a:lstStyle/>
            <a:p>
              <a:pPr defTabSz="932472"/>
              <a:r>
                <a:rPr lang="en-US" sz="2000" dirty="0">
                  <a:solidFill>
                    <a:srgbClr val="0070C0"/>
                  </a:solidFill>
                </a:rPr>
                <a:t>C++ Developers</a:t>
              </a:r>
            </a:p>
          </p:txBody>
        </p:sp>
        <p:sp>
          <p:nvSpPr>
            <p:cNvPr id="207" name="Rectangle 206"/>
            <p:cNvSpPr/>
            <p:nvPr>
              <p:custDataLst>
                <p:tags r:id="rId7"/>
              </p:custDataLst>
            </p:nvPr>
          </p:nvSpPr>
          <p:spPr bwMode="auto">
            <a:xfrm>
              <a:off x="449618" y="3668837"/>
              <a:ext cx="4223982"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91440" rIns="91440" bIns="91440" numCol="1" spcCol="0" rtlCol="0" fromWordArt="0" anchor="ctr" anchorCtr="0" forceAA="0" compatLnSpc="1">
              <a:prstTxWarp prst="textNoShape">
                <a:avLst/>
              </a:prstTxWarp>
              <a:noAutofit/>
            </a:bodyPr>
            <a:lstStyle/>
            <a:p>
              <a:pPr defTabSz="932472"/>
              <a:r>
                <a:rPr lang="en-US" sz="2000" dirty="0">
                  <a:solidFill>
                    <a:srgbClr val="0070C0"/>
                  </a:solidFill>
                </a:rPr>
                <a:t>.NET Developers</a:t>
              </a:r>
            </a:p>
          </p:txBody>
        </p:sp>
        <p:sp>
          <p:nvSpPr>
            <p:cNvPr id="208" name="Rectangle 207"/>
            <p:cNvSpPr/>
            <p:nvPr>
              <p:custDataLst>
                <p:tags r:id="rId8"/>
              </p:custDataLst>
            </p:nvPr>
          </p:nvSpPr>
          <p:spPr bwMode="auto">
            <a:xfrm>
              <a:off x="449618" y="4483420"/>
              <a:ext cx="4223982"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a:r>
                <a:rPr lang="en-US" sz="2000" dirty="0">
                  <a:solidFill>
                    <a:srgbClr val="0070C0"/>
                  </a:solidFill>
                </a:rPr>
                <a:t>Other languages</a:t>
              </a:r>
            </a:p>
          </p:txBody>
        </p:sp>
        <p:pic>
          <p:nvPicPr>
            <p:cNvPr id="210" name="Picture 8" descr="http://t09.deviantart.net/kjQyJM9v33sMaWSOXhp-UkR7smw=/fit-in/150x150/filters:no_upscale():origin()/pre10/67b6/th/pre/f/2015/006/f/e/eclipse_luna_c___ide_icon_by_asoliard-d8cvma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00929" y="3009206"/>
              <a:ext cx="429403" cy="415090"/>
            </a:xfrm>
            <a:prstGeom prst="rect">
              <a:avLst/>
            </a:prstGeom>
            <a:noFill/>
            <a:extLst>
              <a:ext uri="{909E8E84-426E-40DD-AFC4-6F175D3DCCD1}">
                <a14:hiddenFill xmlns:a14="http://schemas.microsoft.com/office/drawing/2010/main">
                  <a:solidFill>
                    <a:srgbClr val="FFFFFF"/>
                  </a:solidFill>
                </a14:hiddenFill>
              </a:ext>
            </a:extLst>
          </p:spPr>
        </p:pic>
        <p:pic>
          <p:nvPicPr>
            <p:cNvPr id="211" name="Picture 6" descr="https://www.mulesoft.com/sites/default/files/icon-microsoft.net-big_0.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91701" y="3807405"/>
              <a:ext cx="447860" cy="44786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3"/>
            <p:cNvCxnSpPr/>
            <p:nvPr/>
          </p:nvCxnSpPr>
          <p:spPr>
            <a:xfrm>
              <a:off x="1213185" y="2230717"/>
              <a:ext cx="0" cy="342900"/>
            </a:xfrm>
            <a:prstGeom prst="line">
              <a:avLst/>
            </a:prstGeom>
            <a:ln w="63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1213185" y="3045301"/>
              <a:ext cx="0" cy="342900"/>
            </a:xfrm>
            <a:prstGeom prst="line">
              <a:avLst/>
            </a:prstGeom>
            <a:ln w="63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a:off x="1213185" y="3859885"/>
              <a:ext cx="0" cy="342900"/>
            </a:xfrm>
            <a:prstGeom prst="line">
              <a:avLst/>
            </a:prstGeom>
            <a:ln w="63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6" name="Group 245"/>
          <p:cNvGrpSpPr/>
          <p:nvPr/>
        </p:nvGrpSpPr>
        <p:grpSpPr>
          <a:xfrm>
            <a:off x="5524499" y="2039669"/>
            <a:ext cx="3762381" cy="3168748"/>
            <a:chOff x="4676270" y="2039669"/>
            <a:chExt cx="2867530" cy="3168748"/>
          </a:xfrm>
        </p:grpSpPr>
        <p:sp>
          <p:nvSpPr>
            <p:cNvPr id="215" name="Rectangle 214"/>
            <p:cNvSpPr/>
            <p:nvPr>
              <p:custDataLst>
                <p:tags r:id="rId1"/>
              </p:custDataLst>
            </p:nvPr>
          </p:nvSpPr>
          <p:spPr bwMode="auto">
            <a:xfrm>
              <a:off x="4676270" y="2039669"/>
              <a:ext cx="2867530"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a:r>
                <a:rPr lang="en-US" sz="2000" dirty="0">
                  <a:solidFill>
                    <a:srgbClr val="0070C0"/>
                  </a:solidFill>
                </a:rPr>
                <a:t>WebHDFS</a:t>
              </a:r>
            </a:p>
          </p:txBody>
        </p:sp>
        <p:sp>
          <p:nvSpPr>
            <p:cNvPr id="217" name="Rectangle 216"/>
            <p:cNvSpPr/>
            <p:nvPr>
              <p:custDataLst>
                <p:tags r:id="rId2"/>
              </p:custDataLst>
            </p:nvPr>
          </p:nvSpPr>
          <p:spPr bwMode="auto">
            <a:xfrm>
              <a:off x="4676270" y="2854253"/>
              <a:ext cx="2867530"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a:r>
                <a:rPr lang="en-US" sz="2000" dirty="0">
                  <a:solidFill>
                    <a:srgbClr val="0070C0"/>
                  </a:solidFill>
                </a:rPr>
                <a:t>LibWebHDFS</a:t>
              </a:r>
            </a:p>
          </p:txBody>
        </p:sp>
        <p:sp>
          <p:nvSpPr>
            <p:cNvPr id="218" name="Rectangle 217"/>
            <p:cNvSpPr/>
            <p:nvPr>
              <p:custDataLst>
                <p:tags r:id="rId3"/>
              </p:custDataLst>
            </p:nvPr>
          </p:nvSpPr>
          <p:spPr bwMode="auto">
            <a:xfrm>
              <a:off x="4676270" y="3668837"/>
              <a:ext cx="2867530"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a:r>
                <a:rPr lang="en-US" sz="2000" dirty="0">
                  <a:solidFill>
                    <a:srgbClr val="0070C0"/>
                  </a:solidFill>
                </a:rPr>
                <a:t>Azure .NET SDK</a:t>
              </a:r>
            </a:p>
          </p:txBody>
        </p:sp>
        <p:sp>
          <p:nvSpPr>
            <p:cNvPr id="219" name="Rectangle 218"/>
            <p:cNvSpPr/>
            <p:nvPr>
              <p:custDataLst>
                <p:tags r:id="rId4"/>
              </p:custDataLst>
            </p:nvPr>
          </p:nvSpPr>
          <p:spPr bwMode="auto">
            <a:xfrm>
              <a:off x="4676270" y="4483420"/>
              <a:ext cx="2867530" cy="724997"/>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a:r>
                <a:rPr lang="en-US" sz="2000" dirty="0">
                  <a:solidFill>
                    <a:srgbClr val="0070C0"/>
                  </a:solidFill>
                </a:rPr>
                <a:t>x-plat SDK</a:t>
              </a:r>
            </a:p>
          </p:txBody>
        </p:sp>
      </p:grpSp>
      <p:cxnSp>
        <p:nvCxnSpPr>
          <p:cNvPr id="226" name="Straight Arrow Connector 225"/>
          <p:cNvCxnSpPr>
            <a:stCxn id="196" idx="3"/>
            <a:endCxn id="215" idx="1"/>
          </p:cNvCxnSpPr>
          <p:nvPr/>
        </p:nvCxnSpPr>
        <p:spPr>
          <a:xfrm>
            <a:off x="4673600" y="2402168"/>
            <a:ext cx="850899" cy="0"/>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27" name="Straight Arrow Connector 226"/>
          <p:cNvCxnSpPr>
            <a:stCxn id="206" idx="3"/>
            <a:endCxn id="217" idx="1"/>
          </p:cNvCxnSpPr>
          <p:nvPr/>
        </p:nvCxnSpPr>
        <p:spPr>
          <a:xfrm>
            <a:off x="4673600" y="3216752"/>
            <a:ext cx="850899" cy="0"/>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28" name="Straight Arrow Connector 227"/>
          <p:cNvCxnSpPr>
            <a:stCxn id="207" idx="3"/>
            <a:endCxn id="218" idx="1"/>
          </p:cNvCxnSpPr>
          <p:nvPr/>
        </p:nvCxnSpPr>
        <p:spPr>
          <a:xfrm>
            <a:off x="4673600" y="4031336"/>
            <a:ext cx="850899" cy="0"/>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29" name="Straight Arrow Connector 228"/>
          <p:cNvCxnSpPr>
            <a:stCxn id="208" idx="3"/>
            <a:endCxn id="219" idx="1"/>
          </p:cNvCxnSpPr>
          <p:nvPr/>
        </p:nvCxnSpPr>
        <p:spPr>
          <a:xfrm>
            <a:off x="4673600" y="4845919"/>
            <a:ext cx="850899" cy="0"/>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pic>
        <p:nvPicPr>
          <p:cNvPr id="230" name="Picture 4" descr="http://www.gnx.dk/wp-content/uploads/2015/06/visual_studio.jp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987104" y="3038167"/>
            <a:ext cx="1769921" cy="1171753"/>
          </a:xfrm>
          <a:prstGeom prst="rect">
            <a:avLst/>
          </a:prstGeom>
          <a:noFill/>
          <a:extLst>
            <a:ext uri="{909E8E84-426E-40DD-AFC4-6F175D3DCCD1}">
              <a14:hiddenFill xmlns:a14="http://schemas.microsoft.com/office/drawing/2010/main">
                <a:solidFill>
                  <a:srgbClr val="FFFFFF"/>
                </a:solidFill>
              </a14:hiddenFill>
            </a:ext>
          </a:extLst>
        </p:spPr>
      </p:pic>
      <p:grpSp>
        <p:nvGrpSpPr>
          <p:cNvPr id="249" name="Group 248"/>
          <p:cNvGrpSpPr/>
          <p:nvPr/>
        </p:nvGrpSpPr>
        <p:grpSpPr>
          <a:xfrm>
            <a:off x="9286881" y="2402168"/>
            <a:ext cx="892169" cy="2443751"/>
            <a:chOff x="9286881" y="2402168"/>
            <a:chExt cx="892169" cy="2443751"/>
          </a:xfrm>
        </p:grpSpPr>
        <p:cxnSp>
          <p:nvCxnSpPr>
            <p:cNvPr id="240" name="Elbow Connector 239"/>
            <p:cNvCxnSpPr/>
            <p:nvPr/>
          </p:nvCxnSpPr>
          <p:spPr>
            <a:xfrm>
              <a:off x="9286881" y="2402168"/>
              <a:ext cx="12700" cy="2443751"/>
            </a:xfrm>
            <a:prstGeom prst="bentConnector3">
              <a:avLst>
                <a:gd name="adj1" fmla="val 1800000"/>
              </a:avLst>
            </a:prstGeom>
            <a:ln w="25400">
              <a:solidFill>
                <a:schemeClr val="bg1">
                  <a:lumMod val="50000"/>
                </a:schemeClr>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247" name="Straight Arrow Connector 246"/>
            <p:cNvCxnSpPr/>
            <p:nvPr/>
          </p:nvCxnSpPr>
          <p:spPr>
            <a:xfrm>
              <a:off x="9506991" y="3624043"/>
              <a:ext cx="672059" cy="0"/>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grpSp>
      <p:sp>
        <p:nvSpPr>
          <p:cNvPr id="2" name="Slide Number Placeholder 1"/>
          <p:cNvSpPr>
            <a:spLocks noGrp="1"/>
          </p:cNvSpPr>
          <p:nvPr>
            <p:ph type="sldNum" sz="quarter" idx="11"/>
          </p:nvPr>
        </p:nvSpPr>
        <p:spPr/>
        <p:txBody>
          <a:bodyPr/>
          <a:lstStyle/>
          <a:p>
            <a:pPr>
              <a:defRPr/>
            </a:pPr>
            <a:fld id="{F8A0AC42-AA1D-4944-8D96-660DE70C7E1B}" type="slidenum">
              <a:rPr lang="en-US" smtClean="0"/>
              <a:pPr>
                <a:defRPr/>
              </a:pPr>
              <a:t>17</a:t>
            </a:fld>
            <a:endParaRPr lang="en-US" dirty="0"/>
          </a:p>
        </p:txBody>
      </p:sp>
    </p:spTree>
    <p:extLst>
      <p:ext uri="{BB962C8B-B14F-4D97-AF65-F5344CB8AC3E}">
        <p14:creationId xmlns:p14="http://schemas.microsoft.com/office/powerpoint/2010/main" val="1663119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26"/>
                                        </p:tgtEl>
                                        <p:attrNameLst>
                                          <p:attrName>style.visibility</p:attrName>
                                        </p:attrNameLst>
                                      </p:cBhvr>
                                      <p:to>
                                        <p:strVal val="visible"/>
                                      </p:to>
                                    </p:set>
                                    <p:animEffect transition="in" filter="wipe(left)">
                                      <p:cBhvr>
                                        <p:cTn id="11" dur="500"/>
                                        <p:tgtEl>
                                          <p:spTgt spid="226"/>
                                        </p:tgtEl>
                                      </p:cBhvr>
                                    </p:animEffect>
                                  </p:childTnLst>
                                </p:cTn>
                              </p:par>
                              <p:par>
                                <p:cTn id="12" presetID="22" presetClass="entr" presetSubtype="8" fill="hold" nodeType="withEffect">
                                  <p:stCondLst>
                                    <p:cond delay="0"/>
                                  </p:stCondLst>
                                  <p:childTnLst>
                                    <p:set>
                                      <p:cBhvr>
                                        <p:cTn id="13" dur="1" fill="hold">
                                          <p:stCondLst>
                                            <p:cond delay="0"/>
                                          </p:stCondLst>
                                        </p:cTn>
                                        <p:tgtEl>
                                          <p:spTgt spid="227"/>
                                        </p:tgtEl>
                                        <p:attrNameLst>
                                          <p:attrName>style.visibility</p:attrName>
                                        </p:attrNameLst>
                                      </p:cBhvr>
                                      <p:to>
                                        <p:strVal val="visible"/>
                                      </p:to>
                                    </p:set>
                                    <p:animEffect transition="in" filter="wipe(left)">
                                      <p:cBhvr>
                                        <p:cTn id="14" dur="500"/>
                                        <p:tgtEl>
                                          <p:spTgt spid="227"/>
                                        </p:tgtEl>
                                      </p:cBhvr>
                                    </p:animEffect>
                                  </p:childTnLst>
                                </p:cTn>
                              </p:par>
                              <p:par>
                                <p:cTn id="15" presetID="22" presetClass="entr" presetSubtype="8" fill="hold" nodeType="withEffect">
                                  <p:stCondLst>
                                    <p:cond delay="0"/>
                                  </p:stCondLst>
                                  <p:childTnLst>
                                    <p:set>
                                      <p:cBhvr>
                                        <p:cTn id="16" dur="1" fill="hold">
                                          <p:stCondLst>
                                            <p:cond delay="0"/>
                                          </p:stCondLst>
                                        </p:cTn>
                                        <p:tgtEl>
                                          <p:spTgt spid="228"/>
                                        </p:tgtEl>
                                        <p:attrNameLst>
                                          <p:attrName>style.visibility</p:attrName>
                                        </p:attrNameLst>
                                      </p:cBhvr>
                                      <p:to>
                                        <p:strVal val="visible"/>
                                      </p:to>
                                    </p:set>
                                    <p:animEffect transition="in" filter="wipe(left)">
                                      <p:cBhvr>
                                        <p:cTn id="17" dur="500"/>
                                        <p:tgtEl>
                                          <p:spTgt spid="228"/>
                                        </p:tgtEl>
                                      </p:cBhvr>
                                    </p:animEffect>
                                  </p:childTnLst>
                                </p:cTn>
                              </p:par>
                              <p:par>
                                <p:cTn id="18" presetID="22" presetClass="entr" presetSubtype="8" fill="hold" nodeType="withEffect">
                                  <p:stCondLst>
                                    <p:cond delay="0"/>
                                  </p:stCondLst>
                                  <p:childTnLst>
                                    <p:set>
                                      <p:cBhvr>
                                        <p:cTn id="19" dur="1" fill="hold">
                                          <p:stCondLst>
                                            <p:cond delay="0"/>
                                          </p:stCondLst>
                                        </p:cTn>
                                        <p:tgtEl>
                                          <p:spTgt spid="229"/>
                                        </p:tgtEl>
                                        <p:attrNameLst>
                                          <p:attrName>style.visibility</p:attrName>
                                        </p:attrNameLst>
                                      </p:cBhvr>
                                      <p:to>
                                        <p:strVal val="visible"/>
                                      </p:to>
                                    </p:set>
                                    <p:animEffect transition="in" filter="wipe(left)">
                                      <p:cBhvr>
                                        <p:cTn id="20" dur="500"/>
                                        <p:tgtEl>
                                          <p:spTgt spid="229"/>
                                        </p:tgtEl>
                                      </p:cBhvr>
                                    </p:animEffect>
                                  </p:childTnLst>
                                </p:cTn>
                              </p:par>
                            </p:childTnLst>
                          </p:cTn>
                        </p:par>
                        <p:par>
                          <p:cTn id="21" fill="hold">
                            <p:stCondLst>
                              <p:cond delay="1500"/>
                            </p:stCondLst>
                            <p:childTnLst>
                              <p:par>
                                <p:cTn id="22" presetID="10" presetClass="entr" presetSubtype="0" fill="hold" nodeType="afterEffect">
                                  <p:stCondLst>
                                    <p:cond delay="0"/>
                                  </p:stCondLst>
                                  <p:childTnLst>
                                    <p:set>
                                      <p:cBhvr>
                                        <p:cTn id="23" dur="1" fill="hold">
                                          <p:stCondLst>
                                            <p:cond delay="0"/>
                                          </p:stCondLst>
                                        </p:cTn>
                                        <p:tgtEl>
                                          <p:spTgt spid="246"/>
                                        </p:tgtEl>
                                        <p:attrNameLst>
                                          <p:attrName>style.visibility</p:attrName>
                                        </p:attrNameLst>
                                      </p:cBhvr>
                                      <p:to>
                                        <p:strVal val="visible"/>
                                      </p:to>
                                    </p:set>
                                    <p:animEffect transition="in" filter="fade">
                                      <p:cBhvr>
                                        <p:cTn id="24" dur="1000"/>
                                        <p:tgtEl>
                                          <p:spTgt spid="246"/>
                                        </p:tgtEl>
                                      </p:cBhvr>
                                    </p:animEffect>
                                  </p:childTnLst>
                                </p:cTn>
                              </p:par>
                            </p:childTnLst>
                          </p:cTn>
                        </p:par>
                        <p:par>
                          <p:cTn id="25" fill="hold">
                            <p:stCondLst>
                              <p:cond delay="2500"/>
                            </p:stCondLst>
                            <p:childTnLst>
                              <p:par>
                                <p:cTn id="26" presetID="22" presetClass="entr" presetSubtype="8" fill="hold" nodeType="afterEffect">
                                  <p:stCondLst>
                                    <p:cond delay="0"/>
                                  </p:stCondLst>
                                  <p:childTnLst>
                                    <p:set>
                                      <p:cBhvr>
                                        <p:cTn id="27" dur="1" fill="hold">
                                          <p:stCondLst>
                                            <p:cond delay="0"/>
                                          </p:stCondLst>
                                        </p:cTn>
                                        <p:tgtEl>
                                          <p:spTgt spid="249"/>
                                        </p:tgtEl>
                                        <p:attrNameLst>
                                          <p:attrName>style.visibility</p:attrName>
                                        </p:attrNameLst>
                                      </p:cBhvr>
                                      <p:to>
                                        <p:strVal val="visible"/>
                                      </p:to>
                                    </p:set>
                                    <p:animEffect transition="in" filter="wipe(left)">
                                      <p:cBhvr>
                                        <p:cTn id="28" dur="500"/>
                                        <p:tgtEl>
                                          <p:spTgt spid="249"/>
                                        </p:tgtEl>
                                      </p:cBhvr>
                                    </p:animEffect>
                                  </p:childTnLst>
                                </p:cTn>
                              </p:par>
                            </p:childTnLst>
                          </p:cTn>
                        </p:par>
                        <p:par>
                          <p:cTn id="29" fill="hold">
                            <p:stCondLst>
                              <p:cond delay="3000"/>
                            </p:stCondLst>
                            <p:childTnLst>
                              <p:par>
                                <p:cTn id="30" presetID="10" presetClass="entr" presetSubtype="0" fill="hold" nodeType="afterEffect">
                                  <p:stCondLst>
                                    <p:cond delay="0"/>
                                  </p:stCondLst>
                                  <p:childTnLst>
                                    <p:set>
                                      <p:cBhvr>
                                        <p:cTn id="31" dur="1" fill="hold">
                                          <p:stCondLst>
                                            <p:cond delay="0"/>
                                          </p:stCondLst>
                                        </p:cTn>
                                        <p:tgtEl>
                                          <p:spTgt spid="230"/>
                                        </p:tgtEl>
                                        <p:attrNameLst>
                                          <p:attrName>style.visibility</p:attrName>
                                        </p:attrNameLst>
                                      </p:cBhvr>
                                      <p:to>
                                        <p:strVal val="visible"/>
                                      </p:to>
                                    </p:set>
                                    <p:animEffect transition="in" filter="fade">
                                      <p:cBhvr>
                                        <p:cTn id="32" dur="500"/>
                                        <p:tgtEl>
                                          <p:spTgt spid="230"/>
                                        </p:tgtEl>
                                      </p:cBhvr>
                                    </p:animEffect>
                                  </p:childTnLst>
                                </p:cTn>
                              </p:par>
                            </p:childTnLst>
                          </p:cTn>
                        </p:par>
                        <p:par>
                          <p:cTn id="33" fill="hold">
                            <p:stCondLst>
                              <p:cond delay="3500"/>
                            </p:stCondLst>
                            <p:childTnLst>
                              <p:par>
                                <p:cTn id="34" presetID="10" presetClass="entr" presetSubtype="0" fill="hold" grpId="0" nodeType="afterEffect">
                                  <p:stCondLst>
                                    <p:cond delay="0"/>
                                  </p:stCondLst>
                                  <p:childTnLst>
                                    <p:set>
                                      <p:cBhvr>
                                        <p:cTn id="35" dur="1" fill="hold">
                                          <p:stCondLst>
                                            <p:cond delay="0"/>
                                          </p:stCondLst>
                                        </p:cTn>
                                        <p:tgtEl>
                                          <p:spTgt spid="132"/>
                                        </p:tgtEl>
                                        <p:attrNameLst>
                                          <p:attrName>style.visibility</p:attrName>
                                        </p:attrNameLst>
                                      </p:cBhvr>
                                      <p:to>
                                        <p:strVal val="visible"/>
                                      </p:to>
                                    </p:set>
                                    <p:animEffect transition="in" filter="fade">
                                      <p:cBhvr>
                                        <p:cTn id="36" dur="500"/>
                                        <p:tgtEl>
                                          <p:spTgt spid="1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p:cNvSpPr txBox="1">
            <a:spLocks/>
          </p:cNvSpPr>
          <p:nvPr/>
        </p:nvSpPr>
        <p:spPr>
          <a:xfrm>
            <a:off x="269240" y="289512"/>
            <a:ext cx="11655078" cy="899665"/>
          </a:xfrm>
          <a:prstGeom prst="rect">
            <a:avLst/>
          </a:prstGeom>
        </p:spPr>
        <p:txBody>
          <a:bodyPr vert="horz" wrap="square" lIns="146304" tIns="91440" rIns="146304" bIns="91440" rtlCol="0" anchor="t">
            <a:noAutofit/>
          </a:bodyPr>
          <a:lst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marL="0" marR="0" lvl="0" indent="0" algn="l" defTabSz="913505" rtl="0" eaLnBrk="1" fontAlgn="base" latinLnBrk="0" hangingPunct="1">
              <a:lnSpc>
                <a:spcPct val="90000"/>
              </a:lnSpc>
              <a:spcBef>
                <a:spcPct val="0"/>
              </a:spcBef>
              <a:spcAft>
                <a:spcPct val="0"/>
              </a:spcAft>
              <a:buClrTx/>
              <a:buSzTx/>
              <a:buFontTx/>
              <a:buNone/>
              <a:tabLst/>
              <a:defRPr/>
            </a:pPr>
            <a:r>
              <a:rPr kumimoji="0" lang="en-GB" sz="4800" b="0" i="0" u="none" strike="noStrike" kern="1200" cap="none" spc="-100" normalizeH="0" baseline="0" noProof="0" dirty="0">
                <a:ln w="3175">
                  <a:noFill/>
                </a:ln>
                <a:solidFill>
                  <a:srgbClr val="0070C0"/>
                </a:solidFill>
                <a:effectLst/>
                <a:uLnTx/>
                <a:uFillTx/>
                <a:latin typeface="Segoe UI Light"/>
                <a:ea typeface="ＭＳ Ｐゴシック" charset="0"/>
                <a:cs typeface="Segoe UI" pitchFamily="34" charset="0"/>
              </a:rPr>
              <a:t>Developing scripting applications</a:t>
            </a:r>
          </a:p>
        </p:txBody>
      </p:sp>
      <p:sp>
        <p:nvSpPr>
          <p:cNvPr id="4" name="Text Placeholder 5"/>
          <p:cNvSpPr txBox="1">
            <a:spLocks/>
          </p:cNvSpPr>
          <p:nvPr/>
        </p:nvSpPr>
        <p:spPr bwMode="auto">
          <a:xfrm>
            <a:off x="266922" y="1284251"/>
            <a:ext cx="5244878" cy="5079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0" rIns="182880" bIns="146304" numCol="1" anchor="t" anchorCtr="0" compatLnSpc="1">
            <a:prstTxWarp prst="textNoShape">
              <a:avLst/>
            </a:prstTxWarp>
          </a:bodyPr>
          <a:lstStyle>
            <a:lvl1pPr marL="0" indent="0" algn="l" defTabSz="913505" rtl="0" eaLnBrk="1" fontAlgn="base" hangingPunct="1">
              <a:lnSpc>
                <a:spcPct val="90000"/>
              </a:lnSpc>
              <a:spcBef>
                <a:spcPct val="20000"/>
              </a:spcBef>
              <a:spcAft>
                <a:spcPct val="0"/>
              </a:spcAft>
              <a:buSzPct val="90000"/>
              <a:buFont typeface="Arial" charset="0"/>
              <a:buNone/>
              <a:defRPr sz="4000" kern="1200">
                <a:gradFill>
                  <a:gsLst>
                    <a:gs pos="2920">
                      <a:schemeClr val="tx2"/>
                    </a:gs>
                    <a:gs pos="39000">
                      <a:schemeClr val="tx2"/>
                    </a:gs>
                  </a:gsLst>
                  <a:lin ang="5400000" scaled="0"/>
                </a:gradFill>
                <a:latin typeface="+mj-lt"/>
                <a:ea typeface="ＭＳ Ｐゴシック" charset="0"/>
                <a:cs typeface="ＭＳ Ｐゴシック" charset="0"/>
              </a:defRPr>
            </a:lvl1pPr>
            <a:lvl2pPr marL="28012" indent="0" algn="l" defTabSz="913505" rtl="0" eaLnBrk="1" fontAlgn="base" hangingPunct="1">
              <a:lnSpc>
                <a:spcPct val="90000"/>
              </a:lnSpc>
              <a:spcBef>
                <a:spcPct val="20000"/>
              </a:spcBef>
              <a:spcAft>
                <a:spcPct val="0"/>
              </a:spcAft>
              <a:buSzPct val="90000"/>
              <a:buFont typeface="Arial" charset="0"/>
              <a:buNone/>
              <a:defRPr sz="2000" kern="1200">
                <a:solidFill>
                  <a:schemeClr val="tx2"/>
                </a:solidFill>
                <a:latin typeface="+mn-lt"/>
                <a:ea typeface="ＭＳ Ｐゴシック" charset="0"/>
                <a:cs typeface="+mn-cs"/>
              </a:defRPr>
            </a:lvl2pPr>
            <a:lvl3pPr marL="219428" indent="0" algn="l" defTabSz="913505" rtl="0" eaLnBrk="1" fontAlgn="base" hangingPunct="1">
              <a:lnSpc>
                <a:spcPct val="90000"/>
              </a:lnSpc>
              <a:spcBef>
                <a:spcPct val="20000"/>
              </a:spcBef>
              <a:spcAft>
                <a:spcPct val="0"/>
              </a:spcAft>
              <a:buSzPct val="90000"/>
              <a:buFont typeface="Arial" charset="0"/>
              <a:buNone/>
              <a:defRPr sz="2000" kern="1200">
                <a:solidFill>
                  <a:schemeClr val="tx2"/>
                </a:solidFill>
                <a:latin typeface="+mn-lt"/>
                <a:ea typeface="ＭＳ Ｐゴシック" charset="0"/>
                <a:cs typeface="+mn-cs"/>
              </a:defRPr>
            </a:lvl3pPr>
            <a:lvl4pPr marL="466868" indent="0" algn="l" defTabSz="913505" rtl="0" eaLnBrk="1" fontAlgn="base" hangingPunct="1">
              <a:lnSpc>
                <a:spcPct val="90000"/>
              </a:lnSpc>
              <a:spcBef>
                <a:spcPct val="20000"/>
              </a:spcBef>
              <a:spcAft>
                <a:spcPct val="0"/>
              </a:spcAft>
              <a:buSzPct val="90000"/>
              <a:buFont typeface="Arial" charset="0"/>
              <a:buNone/>
              <a:defRPr sz="1800" kern="1200">
                <a:solidFill>
                  <a:schemeClr val="tx2"/>
                </a:solidFill>
                <a:latin typeface="+mn-lt"/>
                <a:ea typeface="ＭＳ Ｐゴシック" charset="0"/>
                <a:cs typeface="+mn-cs"/>
              </a:defRPr>
            </a:lvl4pPr>
            <a:lvl5pPr marL="725201" indent="0" algn="l" defTabSz="913505" rtl="0" eaLnBrk="1" fontAlgn="base" hangingPunct="1">
              <a:lnSpc>
                <a:spcPct val="90000"/>
              </a:lnSpc>
              <a:spcBef>
                <a:spcPct val="20000"/>
              </a:spcBef>
              <a:spcAft>
                <a:spcPct val="0"/>
              </a:spcAft>
              <a:buSzPct val="90000"/>
              <a:buFont typeface="Arial" charset="0"/>
              <a:buNone/>
              <a:defRPr sz="18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505" rtl="0" eaLnBrk="1" fontAlgn="base" latinLnBrk="0" hangingPunct="1">
              <a:lnSpc>
                <a:spcPct val="100000"/>
              </a:lnSpc>
              <a:spcBef>
                <a:spcPts val="1200"/>
              </a:spcBef>
              <a:spcAft>
                <a:spcPct val="0"/>
              </a:spcAft>
              <a:buClrTx/>
              <a:buSzPct val="90000"/>
              <a:buFont typeface="Arial" charset="0"/>
              <a:buNone/>
              <a:tabLst/>
              <a:defRPr/>
            </a:pPr>
            <a:r>
              <a:rPr kumimoji="0" lang="en-US" sz="2800" b="0" i="0" u="none" strike="noStrike" kern="1200" cap="none" spc="0" normalizeH="0" baseline="0" noProof="0" dirty="0">
                <a:ln>
                  <a:noFill/>
                </a:ln>
                <a:solidFill>
                  <a:srgbClr val="00B0F0"/>
                </a:solidFill>
                <a:effectLst/>
                <a:uLnTx/>
                <a:uFillTx/>
                <a:latin typeface="Segoe UI Light"/>
                <a:ea typeface="ＭＳ Ｐゴシック" charset="0"/>
              </a:rPr>
              <a:t>Provides native Windows and cross-platform (Mac, Linux) scripting experience</a:t>
            </a:r>
          </a:p>
          <a:p>
            <a:pPr marL="0" marR="0" lvl="0" indent="0" algn="l" defTabSz="913505" rtl="0" eaLnBrk="1" fontAlgn="base" latinLnBrk="0" hangingPunct="1">
              <a:lnSpc>
                <a:spcPct val="100000"/>
              </a:lnSpc>
              <a:spcBef>
                <a:spcPts val="1200"/>
              </a:spcBef>
              <a:spcAft>
                <a:spcPct val="0"/>
              </a:spcAft>
              <a:buClrTx/>
              <a:buSzPct val="90000"/>
              <a:buFont typeface="Arial" charset="0"/>
              <a:buNone/>
              <a:tabLst/>
              <a:defRPr/>
            </a:pPr>
            <a:r>
              <a:rPr kumimoji="0" lang="en-US" sz="2800" b="0" i="0" u="none" strike="noStrike" kern="1200" cap="none" spc="0" normalizeH="0" baseline="0" noProof="0" dirty="0">
                <a:ln>
                  <a:noFill/>
                </a:ln>
                <a:solidFill>
                  <a:srgbClr val="505050"/>
                </a:solidFill>
                <a:effectLst/>
                <a:uLnTx/>
                <a:uFillTx/>
                <a:latin typeface="Segoe UI Light"/>
                <a:ea typeface="ＭＳ Ｐゴシック" charset="0"/>
              </a:rPr>
              <a:t>Scripting operations include</a:t>
            </a:r>
          </a:p>
          <a:p>
            <a:pPr marL="576072" marR="0" lvl="0" indent="-457200" algn="l" defTabSz="914400" rtl="0" eaLnBrk="1" fontAlgn="base" latinLnBrk="0" hangingPunct="1">
              <a:lnSpc>
                <a:spcPct val="100000"/>
              </a:lnSpc>
              <a:spcBef>
                <a:spcPts val="200"/>
              </a:spcBef>
              <a:spcAft>
                <a:spcPts val="400"/>
              </a:spcAft>
              <a:buClr>
                <a:srgbClr val="50B347"/>
              </a:buClr>
              <a:buSzPct val="100000"/>
              <a:buFont typeface="Arial" charset="0"/>
              <a:buBlip>
                <a:blip r:embed="rId3"/>
              </a:buBlip>
              <a:tabLst>
                <a:tab pos="658368" algn="l"/>
              </a:tabLst>
              <a:defRPr/>
            </a:pPr>
            <a:r>
              <a:rPr kumimoji="0" lang="en-US" sz="2400" b="0" i="0" u="none" strike="noStrike" kern="1200" cap="none" spc="0" normalizeH="0" baseline="0" noProof="0" dirty="0">
                <a:ln>
                  <a:noFill/>
                </a:ln>
                <a:solidFill>
                  <a:srgbClr val="505050"/>
                </a:solidFill>
                <a:effectLst/>
                <a:uLnTx/>
                <a:uFillTx/>
                <a:latin typeface="Segoe UI Light" panose="020B0502040204020203" pitchFamily="34" charset="0"/>
                <a:ea typeface="Segoe UI" pitchFamily="34" charset="0"/>
                <a:cs typeface="Segoe UI Light" panose="020B0502040204020203" pitchFamily="34" charset="0"/>
              </a:rPr>
              <a:t>Create new directories</a:t>
            </a:r>
          </a:p>
          <a:p>
            <a:pPr marL="576072" marR="0" lvl="0" indent="-457200" algn="l" defTabSz="914400" rtl="0" eaLnBrk="1" fontAlgn="base" latinLnBrk="0" hangingPunct="1">
              <a:lnSpc>
                <a:spcPct val="100000"/>
              </a:lnSpc>
              <a:spcBef>
                <a:spcPts val="200"/>
              </a:spcBef>
              <a:spcAft>
                <a:spcPts val="400"/>
              </a:spcAft>
              <a:buClr>
                <a:srgbClr val="50B347"/>
              </a:buClr>
              <a:buSzPct val="100000"/>
              <a:buFont typeface="Arial" charset="0"/>
              <a:buBlip>
                <a:blip r:embed="rId3"/>
              </a:buBlip>
              <a:tabLst>
                <a:tab pos="658368" algn="l"/>
              </a:tabLst>
              <a:defRPr/>
            </a:pPr>
            <a:r>
              <a:rPr kumimoji="0" lang="en-US" sz="2400" b="0" i="0" u="none" strike="noStrike" kern="1200" cap="none" spc="0" normalizeH="0" baseline="0" noProof="0" dirty="0">
                <a:ln>
                  <a:noFill/>
                </a:ln>
                <a:solidFill>
                  <a:srgbClr val="505050"/>
                </a:solidFill>
                <a:effectLst/>
                <a:uLnTx/>
                <a:uFillTx/>
                <a:latin typeface="Segoe UI Light" panose="020B0502040204020203" pitchFamily="34" charset="0"/>
                <a:ea typeface="Segoe UI" pitchFamily="34" charset="0"/>
                <a:cs typeface="Segoe UI Light" panose="020B0502040204020203" pitchFamily="34" charset="0"/>
              </a:rPr>
              <a:t>Listing the contents of a directory</a:t>
            </a:r>
          </a:p>
          <a:p>
            <a:pPr marL="576072" marR="0" lvl="0" indent="-457200" algn="l" defTabSz="914400" rtl="0" eaLnBrk="1" fontAlgn="base" latinLnBrk="0" hangingPunct="1">
              <a:lnSpc>
                <a:spcPct val="100000"/>
              </a:lnSpc>
              <a:spcBef>
                <a:spcPts val="200"/>
              </a:spcBef>
              <a:spcAft>
                <a:spcPts val="400"/>
              </a:spcAft>
              <a:buClr>
                <a:srgbClr val="50B347"/>
              </a:buClr>
              <a:buSzPct val="100000"/>
              <a:buFont typeface="Arial" charset="0"/>
              <a:buBlip>
                <a:blip r:embed="rId3"/>
              </a:buBlip>
              <a:tabLst>
                <a:tab pos="658368" algn="l"/>
              </a:tabLst>
              <a:defRPr/>
            </a:pPr>
            <a:r>
              <a:rPr kumimoji="0" lang="en-US" sz="2400" b="0" i="0" u="none" strike="noStrike" kern="1200" cap="none" spc="0" normalizeH="0" baseline="0" noProof="0" dirty="0">
                <a:ln>
                  <a:noFill/>
                </a:ln>
                <a:solidFill>
                  <a:srgbClr val="505050"/>
                </a:solidFill>
                <a:effectLst/>
                <a:uLnTx/>
                <a:uFillTx/>
                <a:latin typeface="Segoe UI Light" panose="020B0502040204020203" pitchFamily="34" charset="0"/>
                <a:ea typeface="Segoe UI" pitchFamily="34" charset="0"/>
                <a:cs typeface="Segoe UI Light" panose="020B0502040204020203" pitchFamily="34" charset="0"/>
              </a:rPr>
              <a:t>Upload files to directory</a:t>
            </a:r>
          </a:p>
          <a:p>
            <a:pPr marL="576072" marR="0" lvl="0" indent="-457200" algn="l" defTabSz="914400" rtl="0" eaLnBrk="1" fontAlgn="base" latinLnBrk="0" hangingPunct="1">
              <a:lnSpc>
                <a:spcPct val="100000"/>
              </a:lnSpc>
              <a:spcBef>
                <a:spcPts val="200"/>
              </a:spcBef>
              <a:spcAft>
                <a:spcPts val="400"/>
              </a:spcAft>
              <a:buClr>
                <a:srgbClr val="50B347"/>
              </a:buClr>
              <a:buSzPct val="100000"/>
              <a:buFont typeface="Arial" charset="0"/>
              <a:buBlip>
                <a:blip r:embed="rId3"/>
              </a:buBlip>
              <a:tabLst>
                <a:tab pos="658368" algn="l"/>
              </a:tabLst>
              <a:defRPr/>
            </a:pPr>
            <a:r>
              <a:rPr kumimoji="0" lang="en-US" sz="2400" b="0" i="0" u="none" strike="noStrike" kern="1200" cap="none" spc="0" normalizeH="0" baseline="0" noProof="0" dirty="0">
                <a:ln>
                  <a:noFill/>
                </a:ln>
                <a:solidFill>
                  <a:srgbClr val="505050"/>
                </a:solidFill>
                <a:effectLst/>
                <a:uLnTx/>
                <a:uFillTx/>
                <a:latin typeface="Segoe UI Light" panose="020B0502040204020203" pitchFamily="34" charset="0"/>
                <a:ea typeface="Segoe UI" pitchFamily="34" charset="0"/>
                <a:cs typeface="Segoe UI Light" panose="020B0502040204020203" pitchFamily="34" charset="0"/>
              </a:rPr>
              <a:t>Delete files/directories</a:t>
            </a:r>
          </a:p>
          <a:p>
            <a:pPr marL="576072" marR="0" lvl="0" indent="-457200" algn="l" defTabSz="914400" rtl="0" eaLnBrk="1" fontAlgn="base" latinLnBrk="0" hangingPunct="1">
              <a:lnSpc>
                <a:spcPct val="100000"/>
              </a:lnSpc>
              <a:spcBef>
                <a:spcPts val="200"/>
              </a:spcBef>
              <a:spcAft>
                <a:spcPts val="400"/>
              </a:spcAft>
              <a:buClr>
                <a:srgbClr val="50B347"/>
              </a:buClr>
              <a:buSzPct val="100000"/>
              <a:buFont typeface="Arial" charset="0"/>
              <a:buBlip>
                <a:blip r:embed="rId3"/>
              </a:buBlip>
              <a:tabLst>
                <a:tab pos="658368" algn="l"/>
              </a:tabLst>
              <a:defRPr/>
            </a:pPr>
            <a:r>
              <a:rPr kumimoji="0" lang="en-US" sz="2400" b="0" i="0" u="none" strike="noStrike" kern="1200" cap="none" spc="0" normalizeH="0" baseline="0" noProof="0" dirty="0">
                <a:ln>
                  <a:noFill/>
                </a:ln>
                <a:solidFill>
                  <a:srgbClr val="505050"/>
                </a:solidFill>
                <a:effectLst/>
                <a:uLnTx/>
                <a:uFillTx/>
                <a:latin typeface="Segoe UI Light" panose="020B0502040204020203" pitchFamily="34" charset="0"/>
                <a:ea typeface="Segoe UI" pitchFamily="34" charset="0"/>
                <a:cs typeface="Segoe UI Light" panose="020B0502040204020203" pitchFamily="34" charset="0"/>
              </a:rPr>
              <a:t>Rename files/directories</a:t>
            </a:r>
          </a:p>
          <a:p>
            <a:pPr marL="576072" marR="0" lvl="0" indent="-457200" algn="l" defTabSz="914400" rtl="0" eaLnBrk="1" fontAlgn="base" latinLnBrk="0" hangingPunct="1">
              <a:lnSpc>
                <a:spcPct val="100000"/>
              </a:lnSpc>
              <a:spcBef>
                <a:spcPts val="200"/>
              </a:spcBef>
              <a:spcAft>
                <a:spcPts val="400"/>
              </a:spcAft>
              <a:buClr>
                <a:srgbClr val="50B347"/>
              </a:buClr>
              <a:buSzPct val="100000"/>
              <a:buFont typeface="Arial" charset="0"/>
              <a:buBlip>
                <a:blip r:embed="rId3"/>
              </a:buBlip>
              <a:tabLst>
                <a:tab pos="658368" algn="l"/>
              </a:tabLst>
              <a:defRPr/>
            </a:pPr>
            <a:r>
              <a:rPr kumimoji="0" lang="en-US" sz="2400" b="0" i="0" u="none" strike="noStrike" kern="1200" cap="none" spc="0" normalizeH="0" baseline="0" noProof="0" dirty="0">
                <a:ln>
                  <a:noFill/>
                </a:ln>
                <a:solidFill>
                  <a:srgbClr val="505050"/>
                </a:solidFill>
                <a:effectLst/>
                <a:uLnTx/>
                <a:uFillTx/>
                <a:latin typeface="Segoe UI Light" panose="020B0502040204020203" pitchFamily="34" charset="0"/>
                <a:ea typeface="Segoe UI" pitchFamily="34" charset="0"/>
                <a:cs typeface="Segoe UI Light" panose="020B0502040204020203" pitchFamily="34" charset="0"/>
              </a:rPr>
              <a:t>…</a:t>
            </a:r>
          </a:p>
        </p:txBody>
      </p:sp>
      <p:grpSp>
        <p:nvGrpSpPr>
          <p:cNvPr id="6" name="Group 5"/>
          <p:cNvGrpSpPr/>
          <p:nvPr/>
        </p:nvGrpSpPr>
        <p:grpSpPr>
          <a:xfrm>
            <a:off x="5538254" y="1284251"/>
            <a:ext cx="6218771" cy="4410949"/>
            <a:chOff x="5538254" y="1284251"/>
            <a:chExt cx="6218771" cy="4410949"/>
          </a:xfrm>
        </p:grpSpPr>
        <p:sp>
          <p:nvSpPr>
            <p:cNvPr id="7" name="Rectangle 6"/>
            <p:cNvSpPr/>
            <p:nvPr/>
          </p:nvSpPr>
          <p:spPr bwMode="auto">
            <a:xfrm>
              <a:off x="5538254" y="3864183"/>
              <a:ext cx="6218771" cy="1813043"/>
            </a:xfrm>
            <a:prstGeom prst="rect">
              <a:avLst/>
            </a:prstGeom>
            <a:solidFill>
              <a:srgbClr val="002050"/>
            </a:solidFill>
            <a:ln w="9525" cap="flat" cmpd="sng" algn="ctr">
              <a:solidFill>
                <a:srgbClr val="002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 name="TextBox 7"/>
            <p:cNvSpPr txBox="1"/>
            <p:nvPr/>
          </p:nvSpPr>
          <p:spPr>
            <a:xfrm>
              <a:off x="7050997" y="5061101"/>
              <a:ext cx="3193285" cy="634099"/>
            </a:xfrm>
            <a:prstGeom prst="rect">
              <a:avLst/>
            </a:prstGeom>
            <a:noFill/>
          </p:spPr>
          <p:txBody>
            <a:bodyPr wrap="square" lIns="179285" tIns="143428" rIns="179285" bIns="143428"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Azure Data Lake Store</a:t>
              </a:r>
            </a:p>
          </p:txBody>
        </p:sp>
        <p:sp>
          <p:nvSpPr>
            <p:cNvPr id="9" name="Rectangle 8"/>
            <p:cNvSpPr/>
            <p:nvPr/>
          </p:nvSpPr>
          <p:spPr bwMode="auto">
            <a:xfrm>
              <a:off x="8695779" y="1284687"/>
              <a:ext cx="3061246" cy="2188928"/>
            </a:xfrm>
            <a:prstGeom prst="rect">
              <a:avLst/>
            </a:prstGeom>
            <a:solidFill>
              <a:srgbClr val="FFFFFF"/>
            </a:solidFill>
            <a:ln w="952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auto" latinLnBrk="0" hangingPunct="1">
                <a:lnSpc>
                  <a:spcPct val="9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pic>
          <p:nvPicPr>
            <p:cNvPr id="10" name="Picture 4" descr="http://mean.io/system/assets/img/logos/nodejs.png"/>
            <p:cNvPicPr>
              <a:picLocks noChangeAspect="1" noChangeArrowheads="1"/>
            </p:cNvPicPr>
            <p:nvPr/>
          </p:nvPicPr>
          <p:blipFill>
            <a:blip r:embed="rId4" cstate="print">
              <a:duotone>
                <a:srgbClr val="00BCF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57361" y="2505393"/>
              <a:ext cx="2103825" cy="565403"/>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9122116" y="3100264"/>
              <a:ext cx="2208573" cy="307778"/>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a:ln>
                    <a:noFill/>
                  </a:ln>
                  <a:solidFill>
                    <a:srgbClr val="505050"/>
                  </a:solidFill>
                  <a:effectLst/>
                  <a:uLnTx/>
                  <a:uFillTx/>
                </a:rPr>
                <a:t>JavaScript CLI</a:t>
              </a:r>
              <a:endParaRPr kumimoji="0" lang="en-US" sz="1400" b="0" i="0" u="none" strike="noStrike" kern="0" cap="none" spc="0" normalizeH="0" baseline="0" noProof="0" dirty="0">
                <a:ln>
                  <a:noFill/>
                </a:ln>
                <a:solidFill>
                  <a:srgbClr val="505050"/>
                </a:solidFill>
                <a:effectLst/>
                <a:uLnTx/>
                <a:uFillTx/>
              </a:endParaRPr>
            </a:p>
          </p:txBody>
        </p:sp>
        <p:pic>
          <p:nvPicPr>
            <p:cNvPr id="12" name="Picture 2" descr="http://hardsoftpcrepair.com/images/misc/linux.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78760" y="1479284"/>
              <a:ext cx="686471" cy="80736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http://farm1.static.flickr.com/56/120704019_162b7f0a2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890807" y="1479284"/>
              <a:ext cx="596319" cy="78512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https://cdn2.iconfinder.com/data/icons/metro-uinvert-dock/128/OS_Windows_8.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84066" y="1482538"/>
              <a:ext cx="781867" cy="781868"/>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5538254" y="1284251"/>
              <a:ext cx="3112667" cy="2188928"/>
            </a:xfrm>
            <a:prstGeom prst="rect">
              <a:avLst/>
            </a:prstGeom>
            <a:solidFill>
              <a:srgbClr val="FFFFFF"/>
            </a:solidFill>
            <a:ln w="952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auto" latinLnBrk="0" hangingPunct="1">
                <a:lnSpc>
                  <a:spcPct val="9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16" name="Rectangle 15"/>
            <p:cNvSpPr/>
            <p:nvPr/>
          </p:nvSpPr>
          <p:spPr>
            <a:xfrm>
              <a:off x="5970374" y="3139159"/>
              <a:ext cx="2248427" cy="30777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a:ln>
                    <a:noFill/>
                  </a:ln>
                  <a:solidFill>
                    <a:srgbClr val="505050"/>
                  </a:solidFill>
                  <a:effectLst/>
                  <a:uLnTx/>
                  <a:uFillTx/>
                </a:rPr>
                <a:t>Azure PowerShell cmdlets</a:t>
              </a:r>
              <a:endParaRPr kumimoji="0" lang="en-US" sz="1400" b="0" i="0" u="none" strike="noStrike" kern="0" cap="none" spc="0" normalizeH="0" baseline="0" noProof="0" dirty="0">
                <a:ln>
                  <a:noFill/>
                </a:ln>
                <a:solidFill>
                  <a:srgbClr val="505050"/>
                </a:solidFill>
                <a:effectLst/>
                <a:uLnTx/>
                <a:uFillTx/>
              </a:endParaRPr>
            </a:p>
          </p:txBody>
        </p:sp>
        <p:pic>
          <p:nvPicPr>
            <p:cNvPr id="17" name="Picture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825017" y="2534524"/>
              <a:ext cx="637272" cy="611501"/>
            </a:xfrm>
            <a:prstGeom prst="rect">
              <a:avLst/>
            </a:prstGeom>
            <a:noFill/>
            <a:ln>
              <a:noFill/>
            </a:ln>
          </p:spPr>
        </p:pic>
        <p:pic>
          <p:nvPicPr>
            <p:cNvPr id="18" name="Picture 6" descr="https://cdn2.iconfinder.com/data/icons/metro-uinvert-dock/128/OS_Windows_8.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21298" y="1361106"/>
              <a:ext cx="781867" cy="781868"/>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p:nvSpPr>
          <p:spPr bwMode="auto">
            <a:xfrm>
              <a:off x="5538254" y="3503083"/>
              <a:ext cx="6218771" cy="361100"/>
            </a:xfrm>
            <a:prstGeom prst="rect">
              <a:avLst/>
            </a:prstGeom>
            <a:solidFill>
              <a:srgbClr val="A5ACAF"/>
            </a:solidFill>
            <a:ln w="9525" cap="flat" cmpd="sng" algn="ctr">
              <a:solidFill>
                <a:srgbClr val="A5ACA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cripting</a:t>
              </a: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pic>
          <p:nvPicPr>
            <p:cNvPr id="20" name="Picture 19"/>
            <p:cNvPicPr>
              <a:picLocks noChangeAspect="1"/>
            </p:cNvPicPr>
            <p:nvPr/>
          </p:nvPicPr>
          <p:blipFill>
            <a:blip r:embed="rId9">
              <a:biLevel thresh="50000"/>
              <a:extLst>
                <a:ext uri="{28A0092B-C50C-407E-A947-70E740481C1C}">
                  <a14:useLocalDpi xmlns:a14="http://schemas.microsoft.com/office/drawing/2010/main" val="0"/>
                </a:ext>
              </a:extLst>
            </a:blip>
            <a:stretch>
              <a:fillRect/>
            </a:stretch>
          </p:blipFill>
          <p:spPr>
            <a:xfrm>
              <a:off x="8306994" y="4305993"/>
              <a:ext cx="681290" cy="681290"/>
            </a:xfrm>
            <a:prstGeom prst="rect">
              <a:avLst/>
            </a:prstGeom>
          </p:spPr>
        </p:pic>
      </p:grpSp>
    </p:spTree>
    <p:extLst>
      <p:ext uri="{BB962C8B-B14F-4D97-AF65-F5344CB8AC3E}">
        <p14:creationId xmlns:p14="http://schemas.microsoft.com/office/powerpoint/2010/main" val="1317589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wipe(left)">
                                      <p:cBhvr>
                                        <p:cTn id="19" dur="750"/>
                                        <p:tgtEl>
                                          <p:spTgt spid="4">
                                            <p:txEl>
                                              <p:pRg st="2" end="2"/>
                                            </p:txEl>
                                          </p:spTgt>
                                        </p:tgtEl>
                                      </p:cBhvr>
                                    </p:animEffect>
                                  </p:childTnLst>
                                </p:cTn>
                              </p:par>
                            </p:childTnLst>
                          </p:cTn>
                        </p:par>
                        <p:par>
                          <p:cTn id="20" fill="hold">
                            <p:stCondLst>
                              <p:cond delay="2750"/>
                            </p:stCondLst>
                            <p:childTnLst>
                              <p:par>
                                <p:cTn id="21" presetID="22" presetClass="entr" presetSubtype="8" fill="hold" nodeType="after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animEffect transition="in" filter="wipe(left)">
                                      <p:cBhvr>
                                        <p:cTn id="23" dur="750"/>
                                        <p:tgtEl>
                                          <p:spTgt spid="4">
                                            <p:txEl>
                                              <p:pRg st="3" end="3"/>
                                            </p:txEl>
                                          </p:spTgt>
                                        </p:tgtEl>
                                      </p:cBhvr>
                                    </p:animEffect>
                                  </p:childTnLst>
                                </p:cTn>
                              </p:par>
                            </p:childTnLst>
                          </p:cTn>
                        </p:par>
                        <p:par>
                          <p:cTn id="24" fill="hold">
                            <p:stCondLst>
                              <p:cond delay="3500"/>
                            </p:stCondLst>
                            <p:childTnLst>
                              <p:par>
                                <p:cTn id="25" presetID="22" presetClass="entr" presetSubtype="8" fill="hold" nodeType="after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wipe(left)">
                                      <p:cBhvr>
                                        <p:cTn id="27" dur="750"/>
                                        <p:tgtEl>
                                          <p:spTgt spid="4">
                                            <p:txEl>
                                              <p:pRg st="4" end="4"/>
                                            </p:txEl>
                                          </p:spTgt>
                                        </p:tgtEl>
                                      </p:cBhvr>
                                    </p:animEffect>
                                  </p:childTnLst>
                                </p:cTn>
                              </p:par>
                            </p:childTnLst>
                          </p:cTn>
                        </p:par>
                        <p:par>
                          <p:cTn id="28" fill="hold">
                            <p:stCondLst>
                              <p:cond delay="4250"/>
                            </p:stCondLst>
                            <p:childTnLst>
                              <p:par>
                                <p:cTn id="29" presetID="22" presetClass="entr" presetSubtype="8" fill="hold" nodeType="afterEffect">
                                  <p:stCondLst>
                                    <p:cond delay="0"/>
                                  </p:stCondLst>
                                  <p:childTnLst>
                                    <p:set>
                                      <p:cBhvr>
                                        <p:cTn id="30" dur="1" fill="hold">
                                          <p:stCondLst>
                                            <p:cond delay="0"/>
                                          </p:stCondLst>
                                        </p:cTn>
                                        <p:tgtEl>
                                          <p:spTgt spid="4">
                                            <p:txEl>
                                              <p:pRg st="5" end="5"/>
                                            </p:txEl>
                                          </p:spTgt>
                                        </p:tgtEl>
                                        <p:attrNameLst>
                                          <p:attrName>style.visibility</p:attrName>
                                        </p:attrNameLst>
                                      </p:cBhvr>
                                      <p:to>
                                        <p:strVal val="visible"/>
                                      </p:to>
                                    </p:set>
                                    <p:animEffect transition="in" filter="wipe(left)">
                                      <p:cBhvr>
                                        <p:cTn id="31" dur="750"/>
                                        <p:tgtEl>
                                          <p:spTgt spid="4">
                                            <p:txEl>
                                              <p:pRg st="5" end="5"/>
                                            </p:txEl>
                                          </p:spTgt>
                                        </p:tgtEl>
                                      </p:cBhvr>
                                    </p:animEffect>
                                  </p:childTnLst>
                                </p:cTn>
                              </p:par>
                            </p:childTnLst>
                          </p:cTn>
                        </p:par>
                        <p:par>
                          <p:cTn id="32" fill="hold">
                            <p:stCondLst>
                              <p:cond delay="5000"/>
                            </p:stCondLst>
                            <p:childTnLst>
                              <p:par>
                                <p:cTn id="33" presetID="22" presetClass="entr" presetSubtype="8" fill="hold" nodeType="afterEffect">
                                  <p:stCondLst>
                                    <p:cond delay="0"/>
                                  </p:stCondLst>
                                  <p:childTnLst>
                                    <p:set>
                                      <p:cBhvr>
                                        <p:cTn id="34" dur="1" fill="hold">
                                          <p:stCondLst>
                                            <p:cond delay="0"/>
                                          </p:stCondLst>
                                        </p:cTn>
                                        <p:tgtEl>
                                          <p:spTgt spid="4">
                                            <p:txEl>
                                              <p:pRg st="6" end="6"/>
                                            </p:txEl>
                                          </p:spTgt>
                                        </p:tgtEl>
                                        <p:attrNameLst>
                                          <p:attrName>style.visibility</p:attrName>
                                        </p:attrNameLst>
                                      </p:cBhvr>
                                      <p:to>
                                        <p:strVal val="visible"/>
                                      </p:to>
                                    </p:set>
                                    <p:animEffect transition="in" filter="wipe(left)">
                                      <p:cBhvr>
                                        <p:cTn id="35" dur="750"/>
                                        <p:tgtEl>
                                          <p:spTgt spid="4">
                                            <p:txEl>
                                              <p:pRg st="6" end="6"/>
                                            </p:txEl>
                                          </p:spTgt>
                                        </p:tgtEl>
                                      </p:cBhvr>
                                    </p:animEffect>
                                  </p:childTnLst>
                                </p:cTn>
                              </p:par>
                            </p:childTnLst>
                          </p:cTn>
                        </p:par>
                        <p:par>
                          <p:cTn id="36" fill="hold">
                            <p:stCondLst>
                              <p:cond delay="5750"/>
                            </p:stCondLst>
                            <p:childTnLst>
                              <p:par>
                                <p:cTn id="37" presetID="22" presetClass="entr" presetSubtype="8" fill="hold" nodeType="afterEffect">
                                  <p:stCondLst>
                                    <p:cond delay="0"/>
                                  </p:stCondLst>
                                  <p:childTnLst>
                                    <p:set>
                                      <p:cBhvr>
                                        <p:cTn id="38" dur="1" fill="hold">
                                          <p:stCondLst>
                                            <p:cond delay="0"/>
                                          </p:stCondLst>
                                        </p:cTn>
                                        <p:tgtEl>
                                          <p:spTgt spid="4">
                                            <p:txEl>
                                              <p:pRg st="7" end="7"/>
                                            </p:txEl>
                                          </p:spTgt>
                                        </p:tgtEl>
                                        <p:attrNameLst>
                                          <p:attrName>style.visibility</p:attrName>
                                        </p:attrNameLst>
                                      </p:cBhvr>
                                      <p:to>
                                        <p:strVal val="visible"/>
                                      </p:to>
                                    </p:set>
                                    <p:animEffect transition="in" filter="wipe(left)">
                                      <p:cBhvr>
                                        <p:cTn id="39" dur="750"/>
                                        <p:tgtEl>
                                          <p:spTgt spid="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1000" y="217263"/>
            <a:ext cx="10515600" cy="1325563"/>
          </a:xfrm>
        </p:spPr>
        <p:txBody>
          <a:bodyPr/>
          <a:lstStyle/>
          <a:p>
            <a:r>
              <a:rPr lang="en-US" dirty="0">
                <a:solidFill>
                  <a:srgbClr val="0070C0"/>
                </a:solidFill>
              </a:rPr>
              <a:t>ADLS Ingestion – Getting started</a:t>
            </a:r>
          </a:p>
        </p:txBody>
      </p:sp>
      <p:sp>
        <p:nvSpPr>
          <p:cNvPr id="4" name="Rectangle 3"/>
          <p:cNvSpPr/>
          <p:nvPr/>
        </p:nvSpPr>
        <p:spPr bwMode="auto">
          <a:xfrm>
            <a:off x="909283" y="2421300"/>
            <a:ext cx="2091658" cy="1195233"/>
          </a:xfrm>
          <a:prstGeom prst="rect">
            <a:avLst/>
          </a:prstGeom>
          <a:solidFill>
            <a:srgbClr val="2D0CB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r>
              <a:rPr lang="en-US" sz="1961">
                <a:gradFill>
                  <a:gsLst>
                    <a:gs pos="0">
                      <a:srgbClr val="FFFFFF"/>
                    </a:gs>
                    <a:gs pos="100000">
                      <a:srgbClr val="FFFFFF"/>
                    </a:gs>
                  </a:gsLst>
                  <a:lin ang="5400000" scaled="0"/>
                </a:gradFill>
              </a:rPr>
              <a:t>Data on </a:t>
            </a:r>
            <a:r>
              <a:rPr lang="en-US" sz="1961" dirty="0">
                <a:gradFill>
                  <a:gsLst>
                    <a:gs pos="0">
                      <a:srgbClr val="FFFFFF"/>
                    </a:gs>
                    <a:gs pos="100000">
                      <a:srgbClr val="FFFFFF"/>
                    </a:gs>
                  </a:gsLst>
                  <a:lin ang="5400000" scaled="0"/>
                </a:gradFill>
              </a:rPr>
              <a:t>your desktop</a:t>
            </a:r>
          </a:p>
        </p:txBody>
      </p:sp>
      <p:sp>
        <p:nvSpPr>
          <p:cNvPr id="6" name="Rectangle 5"/>
          <p:cNvSpPr/>
          <p:nvPr/>
        </p:nvSpPr>
        <p:spPr bwMode="auto">
          <a:xfrm>
            <a:off x="899665" y="5147148"/>
            <a:ext cx="2091658" cy="1195233"/>
          </a:xfrm>
          <a:prstGeom prst="rect">
            <a:avLst/>
          </a:prstGeom>
          <a:solidFill>
            <a:srgbClr val="2D0CB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r>
              <a:rPr lang="en-US" sz="1961">
                <a:gradFill>
                  <a:gsLst>
                    <a:gs pos="0">
                      <a:srgbClr val="FFFFFF"/>
                    </a:gs>
                    <a:gs pos="100000">
                      <a:srgbClr val="FFFFFF"/>
                    </a:gs>
                  </a:gsLst>
                  <a:lin ang="5400000" scaled="0"/>
                </a:gradFill>
              </a:rPr>
              <a:t>Data located </a:t>
            </a:r>
            <a:r>
              <a:rPr lang="en-US" sz="1961" dirty="0">
                <a:gradFill>
                  <a:gsLst>
                    <a:gs pos="0">
                      <a:srgbClr val="FFFFFF"/>
                    </a:gs>
                    <a:gs pos="100000">
                      <a:srgbClr val="FFFFFF"/>
                    </a:gs>
                  </a:gsLst>
                  <a:lin ang="5400000" scaled="0"/>
                </a:gradFill>
              </a:rPr>
              <a:t>in other stores</a:t>
            </a:r>
          </a:p>
        </p:txBody>
      </p:sp>
      <p:sp>
        <p:nvSpPr>
          <p:cNvPr id="7" name="Rectangle 6"/>
          <p:cNvSpPr/>
          <p:nvPr/>
        </p:nvSpPr>
        <p:spPr bwMode="auto">
          <a:xfrm>
            <a:off x="4589541" y="1340336"/>
            <a:ext cx="1525946" cy="514096"/>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r>
              <a:rPr lang="en-US" sz="1568" dirty="0">
                <a:gradFill>
                  <a:gsLst>
                    <a:gs pos="0">
                      <a:srgbClr val="FFFFFF"/>
                    </a:gs>
                    <a:gs pos="100000">
                      <a:srgbClr val="FFFFFF"/>
                    </a:gs>
                  </a:gsLst>
                  <a:lin ang="5400000" scaled="0"/>
                </a:gradFill>
              </a:rPr>
              <a:t>Azure Portal</a:t>
            </a:r>
          </a:p>
        </p:txBody>
      </p:sp>
      <p:sp>
        <p:nvSpPr>
          <p:cNvPr id="8" name="Rectangle 7"/>
          <p:cNvSpPr/>
          <p:nvPr/>
        </p:nvSpPr>
        <p:spPr bwMode="auto">
          <a:xfrm>
            <a:off x="4569663" y="2408590"/>
            <a:ext cx="1525946" cy="572198"/>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r>
              <a:rPr lang="en-US" sz="1568" dirty="0" err="1">
                <a:gradFill>
                  <a:gsLst>
                    <a:gs pos="0">
                      <a:srgbClr val="FFFFFF"/>
                    </a:gs>
                    <a:gs pos="100000">
                      <a:srgbClr val="FFFFFF"/>
                    </a:gs>
                  </a:gsLst>
                  <a:lin ang="5400000" scaled="0"/>
                </a:gradFill>
              </a:rPr>
              <a:t>Powershell</a:t>
            </a:r>
            <a:endParaRPr lang="en-US" sz="1568" dirty="0">
              <a:gradFill>
                <a:gsLst>
                  <a:gs pos="0">
                    <a:srgbClr val="FFFFFF"/>
                  </a:gs>
                  <a:gs pos="100000">
                    <a:srgbClr val="FFFFFF"/>
                  </a:gs>
                </a:gsLst>
                <a:lin ang="5400000" scaled="0"/>
              </a:gradFill>
            </a:endParaRPr>
          </a:p>
        </p:txBody>
      </p:sp>
      <p:sp>
        <p:nvSpPr>
          <p:cNvPr id="9" name="Rectangle 8"/>
          <p:cNvSpPr/>
          <p:nvPr/>
        </p:nvSpPr>
        <p:spPr bwMode="auto">
          <a:xfrm>
            <a:off x="4569664" y="3354298"/>
            <a:ext cx="1547215" cy="971127"/>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r>
              <a:rPr lang="en-US" sz="1568" dirty="0">
                <a:gradFill>
                  <a:gsLst>
                    <a:gs pos="0">
                      <a:srgbClr val="FFFFFF"/>
                    </a:gs>
                    <a:gs pos="100000">
                      <a:srgbClr val="FFFFFF"/>
                    </a:gs>
                  </a:gsLst>
                  <a:lin ang="5400000" scaled="0"/>
                </a:gradFill>
              </a:rPr>
              <a:t>ADL Tools for Visual Studio</a:t>
            </a:r>
          </a:p>
        </p:txBody>
      </p:sp>
      <p:sp>
        <p:nvSpPr>
          <p:cNvPr id="10" name="Rectangle 9"/>
          <p:cNvSpPr/>
          <p:nvPr/>
        </p:nvSpPr>
        <p:spPr bwMode="auto">
          <a:xfrm>
            <a:off x="4569663" y="5147148"/>
            <a:ext cx="1525946" cy="448212"/>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r>
              <a:rPr lang="en-US" sz="1568" dirty="0" err="1">
                <a:gradFill>
                  <a:gsLst>
                    <a:gs pos="0">
                      <a:srgbClr val="FFFFFF"/>
                    </a:gs>
                    <a:gs pos="100000">
                      <a:srgbClr val="FFFFFF"/>
                    </a:gs>
                  </a:gsLst>
                  <a:lin ang="5400000" scaled="0"/>
                </a:gradFill>
              </a:rPr>
              <a:t>AdlCopy</a:t>
            </a:r>
            <a:endParaRPr lang="en-US" sz="1568" dirty="0">
              <a:gradFill>
                <a:gsLst>
                  <a:gs pos="0">
                    <a:srgbClr val="FFFFFF"/>
                  </a:gs>
                  <a:gs pos="100000">
                    <a:srgbClr val="FFFFFF"/>
                  </a:gs>
                </a:gsLst>
                <a:lin ang="5400000" scaled="0"/>
              </a:gradFill>
            </a:endParaRPr>
          </a:p>
        </p:txBody>
      </p:sp>
      <p:sp>
        <p:nvSpPr>
          <p:cNvPr id="12" name="Rectangle 11"/>
          <p:cNvSpPr/>
          <p:nvPr/>
        </p:nvSpPr>
        <p:spPr bwMode="auto">
          <a:xfrm>
            <a:off x="7086600" y="1159687"/>
            <a:ext cx="3976162" cy="849974"/>
          </a:xfrm>
          <a:prstGeom prst="rect">
            <a:avLst/>
          </a:prstGeom>
          <a:solidFill>
            <a:schemeClr val="accent5">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defTabSz="914102"/>
            <a:r>
              <a:rPr lang="en-US" sz="1372" dirty="0">
                <a:gradFill>
                  <a:gsLst>
                    <a:gs pos="0">
                      <a:srgbClr val="FFFFFF"/>
                    </a:gs>
                    <a:gs pos="100000">
                      <a:srgbClr val="FFFFFF"/>
                    </a:gs>
                  </a:gsLst>
                  <a:lin ang="5400000" scaled="0"/>
                </a:gradFill>
              </a:rPr>
              <a:t>Easy to use</a:t>
            </a:r>
          </a:p>
          <a:p>
            <a:pPr defTabSz="914102"/>
            <a:r>
              <a:rPr lang="en-US" sz="1372" dirty="0">
                <a:gradFill>
                  <a:gsLst>
                    <a:gs pos="0">
                      <a:srgbClr val="FFFFFF"/>
                    </a:gs>
                    <a:gs pos="100000">
                      <a:srgbClr val="FFFFFF"/>
                    </a:gs>
                  </a:gsLst>
                  <a:lin ang="5400000" scaled="0"/>
                </a:gradFill>
              </a:rPr>
              <a:t>Good for small amount of data (visualization is possible for top * data)</a:t>
            </a:r>
          </a:p>
          <a:p>
            <a:pPr defTabSz="914102"/>
            <a:r>
              <a:rPr lang="en-US" sz="1372" dirty="0">
                <a:gradFill>
                  <a:gsLst>
                    <a:gs pos="0">
                      <a:srgbClr val="FFFFFF"/>
                    </a:gs>
                    <a:gs pos="100000">
                      <a:srgbClr val="FFFFFF"/>
                    </a:gs>
                  </a:gsLst>
                  <a:lin ang="5400000" scaled="0"/>
                </a:gradFill>
              </a:rPr>
              <a:t>Analyzing data using Portal</a:t>
            </a:r>
          </a:p>
        </p:txBody>
      </p:sp>
      <p:sp>
        <p:nvSpPr>
          <p:cNvPr id="16" name="Rectangle 15"/>
          <p:cNvSpPr/>
          <p:nvPr/>
        </p:nvSpPr>
        <p:spPr bwMode="auto">
          <a:xfrm>
            <a:off x="7107199" y="2056111"/>
            <a:ext cx="3941801" cy="1248905"/>
          </a:xfrm>
          <a:prstGeom prst="rect">
            <a:avLst/>
          </a:prstGeom>
          <a:solidFill>
            <a:schemeClr val="accent5">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defTabSz="914102"/>
            <a:r>
              <a:rPr lang="en-US" sz="1372" dirty="0">
                <a:gradFill>
                  <a:gsLst>
                    <a:gs pos="0">
                      <a:srgbClr val="FFFFFF"/>
                    </a:gs>
                    <a:gs pos="100000">
                      <a:srgbClr val="FFFFFF"/>
                    </a:gs>
                  </a:gsLst>
                  <a:lin ang="5400000" scaled="0"/>
                </a:gradFill>
              </a:rPr>
              <a:t>Upload file and folders</a:t>
            </a:r>
          </a:p>
          <a:p>
            <a:pPr defTabSz="914102"/>
            <a:r>
              <a:rPr lang="en-US" sz="1372" dirty="0">
                <a:gradFill>
                  <a:gsLst>
                    <a:gs pos="0">
                      <a:srgbClr val="FFFFFF"/>
                    </a:gs>
                    <a:gs pos="100000">
                      <a:srgbClr val="FFFFFF"/>
                    </a:gs>
                  </a:gsLst>
                  <a:lin ang="5400000" scaled="0"/>
                </a:gradFill>
              </a:rPr>
              <a:t>Control parallelism</a:t>
            </a:r>
          </a:p>
          <a:p>
            <a:pPr defTabSz="914102"/>
            <a:r>
              <a:rPr lang="en-US" sz="1372" dirty="0">
                <a:gradFill>
                  <a:gsLst>
                    <a:gs pos="0">
                      <a:srgbClr val="FFFFFF"/>
                    </a:gs>
                    <a:gs pos="100000">
                      <a:srgbClr val="FFFFFF"/>
                    </a:gs>
                  </a:gsLst>
                  <a:lin ang="5400000" scaled="0"/>
                </a:gradFill>
              </a:rPr>
              <a:t>Control format of upload</a:t>
            </a:r>
          </a:p>
          <a:p>
            <a:pPr defTabSz="914102"/>
            <a:r>
              <a:rPr lang="en-US" sz="1372" dirty="0">
                <a:gradFill>
                  <a:gsLst>
                    <a:gs pos="0">
                      <a:srgbClr val="FFFFFF"/>
                    </a:gs>
                    <a:gs pos="100000">
                      <a:srgbClr val="FFFFFF"/>
                    </a:gs>
                  </a:gsLst>
                  <a:lin ang="5400000" scaled="0"/>
                </a:gradFill>
              </a:rPr>
              <a:t>Need to use other services</a:t>
            </a:r>
          </a:p>
        </p:txBody>
      </p:sp>
      <p:sp>
        <p:nvSpPr>
          <p:cNvPr id="17" name="Rectangle 16"/>
          <p:cNvSpPr/>
          <p:nvPr/>
        </p:nvSpPr>
        <p:spPr bwMode="auto">
          <a:xfrm>
            <a:off x="7107198" y="3399736"/>
            <a:ext cx="3955563" cy="880252"/>
          </a:xfrm>
          <a:prstGeom prst="rect">
            <a:avLst/>
          </a:prstGeom>
          <a:solidFill>
            <a:schemeClr val="accent5">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defTabSz="914102"/>
            <a:r>
              <a:rPr lang="en-US" sz="1372" dirty="0">
                <a:gradFill>
                  <a:gsLst>
                    <a:gs pos="0">
                      <a:srgbClr val="FFFFFF"/>
                    </a:gs>
                    <a:gs pos="100000">
                      <a:srgbClr val="FFFFFF"/>
                    </a:gs>
                  </a:gsLst>
                  <a:lin ang="5400000" scaled="0"/>
                </a:gradFill>
              </a:rPr>
              <a:t>Integrated experience</a:t>
            </a:r>
          </a:p>
          <a:p>
            <a:pPr lvl="1" defTabSz="914102"/>
            <a:r>
              <a:rPr lang="en-US" sz="1372" dirty="0">
                <a:gradFill>
                  <a:gsLst>
                    <a:gs pos="0">
                      <a:srgbClr val="FFFFFF"/>
                    </a:gs>
                    <a:gs pos="100000">
                      <a:srgbClr val="FFFFFF"/>
                    </a:gs>
                  </a:gsLst>
                  <a:lin ang="5400000" scaled="0"/>
                </a:gradFill>
              </a:rPr>
              <a:t>Drag-and-drop</a:t>
            </a:r>
          </a:p>
          <a:p>
            <a:pPr lvl="1" defTabSz="914102"/>
            <a:r>
              <a:rPr lang="en-US" sz="1372" dirty="0">
                <a:gradFill>
                  <a:gsLst>
                    <a:gs pos="0">
                      <a:srgbClr val="FFFFFF"/>
                    </a:gs>
                    <a:gs pos="100000">
                      <a:srgbClr val="FFFFFF"/>
                    </a:gs>
                  </a:gsLst>
                  <a:lin ang="5400000" scaled="0"/>
                </a:gradFill>
              </a:rPr>
              <a:t>Programmatic</a:t>
            </a:r>
          </a:p>
          <a:p>
            <a:pPr lvl="1" defTabSz="914102"/>
            <a:r>
              <a:rPr lang="en-US" sz="1372" dirty="0">
                <a:gradFill>
                  <a:gsLst>
                    <a:gs pos="0">
                      <a:srgbClr val="FFFFFF"/>
                    </a:gs>
                    <a:gs pos="100000">
                      <a:srgbClr val="FFFFFF"/>
                    </a:gs>
                  </a:gsLst>
                  <a:lin ang="5400000" scaled="0"/>
                </a:gradFill>
              </a:rPr>
              <a:t>Analytics</a:t>
            </a:r>
          </a:p>
        </p:txBody>
      </p:sp>
      <p:sp>
        <p:nvSpPr>
          <p:cNvPr id="18" name="Rectangle 17"/>
          <p:cNvSpPr/>
          <p:nvPr/>
        </p:nvSpPr>
        <p:spPr bwMode="auto">
          <a:xfrm>
            <a:off x="7121464" y="5072446"/>
            <a:ext cx="3941298" cy="597617"/>
          </a:xfrm>
          <a:prstGeom prst="rect">
            <a:avLst/>
          </a:prstGeom>
          <a:solidFill>
            <a:schemeClr val="accent5">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defTabSz="914102"/>
            <a:r>
              <a:rPr lang="en-US" sz="1372" dirty="0">
                <a:gradFill>
                  <a:gsLst>
                    <a:gs pos="0">
                      <a:srgbClr val="FFFFFF"/>
                    </a:gs>
                    <a:gs pos="100000">
                      <a:srgbClr val="FFFFFF"/>
                    </a:gs>
                  </a:gsLst>
                  <a:lin ang="5400000" scaled="0"/>
                </a:gradFill>
              </a:rPr>
              <a:t>Copy data easily from Azure Storage at least cost</a:t>
            </a:r>
          </a:p>
        </p:txBody>
      </p:sp>
      <p:sp>
        <p:nvSpPr>
          <p:cNvPr id="19" name="Rectangle 18"/>
          <p:cNvSpPr/>
          <p:nvPr/>
        </p:nvSpPr>
        <p:spPr bwMode="auto">
          <a:xfrm>
            <a:off x="4569664" y="4460646"/>
            <a:ext cx="1518683" cy="460404"/>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r>
              <a:rPr lang="en-US" sz="1568" dirty="0">
                <a:gradFill>
                  <a:gsLst>
                    <a:gs pos="0">
                      <a:srgbClr val="FFFFFF"/>
                    </a:gs>
                    <a:gs pos="100000">
                      <a:srgbClr val="FFFFFF"/>
                    </a:gs>
                  </a:gsLst>
                  <a:lin ang="5400000" scaled="0"/>
                </a:gradFill>
              </a:rPr>
              <a:t>CLI</a:t>
            </a:r>
          </a:p>
        </p:txBody>
      </p:sp>
      <p:sp>
        <p:nvSpPr>
          <p:cNvPr id="20" name="Rectangle 19"/>
          <p:cNvSpPr/>
          <p:nvPr/>
        </p:nvSpPr>
        <p:spPr bwMode="auto">
          <a:xfrm>
            <a:off x="7109272" y="4400127"/>
            <a:ext cx="3953490" cy="581443"/>
          </a:xfrm>
          <a:prstGeom prst="rect">
            <a:avLst/>
          </a:prstGeom>
          <a:solidFill>
            <a:schemeClr val="accent5">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defTabSz="914102"/>
            <a:r>
              <a:rPr lang="en-US" sz="1372" dirty="0">
                <a:gradFill>
                  <a:gsLst>
                    <a:gs pos="0">
                      <a:srgbClr val="FFFFFF"/>
                    </a:gs>
                    <a:gs pos="100000">
                      <a:srgbClr val="FFFFFF"/>
                    </a:gs>
                  </a:gsLst>
                  <a:lin ang="5400000" scaled="0"/>
                </a:gradFill>
              </a:rPr>
              <a:t>You love Linux, Mac</a:t>
            </a:r>
          </a:p>
          <a:p>
            <a:pPr defTabSz="914102"/>
            <a:r>
              <a:rPr lang="en-US" sz="1372" dirty="0">
                <a:gradFill>
                  <a:gsLst>
                    <a:gs pos="0">
                      <a:srgbClr val="FFFFFF"/>
                    </a:gs>
                    <a:gs pos="100000">
                      <a:srgbClr val="FFFFFF"/>
                    </a:gs>
                  </a:gsLst>
                  <a:lin ang="5400000" scaled="0"/>
                </a:gradFill>
              </a:rPr>
              <a:t>Most features of </a:t>
            </a:r>
            <a:r>
              <a:rPr lang="en-US" sz="1372" dirty="0" err="1">
                <a:gradFill>
                  <a:gsLst>
                    <a:gs pos="0">
                      <a:srgbClr val="FFFFFF"/>
                    </a:gs>
                    <a:gs pos="100000">
                      <a:srgbClr val="FFFFFF"/>
                    </a:gs>
                  </a:gsLst>
                  <a:lin ang="5400000" scaled="0"/>
                </a:gradFill>
              </a:rPr>
              <a:t>Powershell</a:t>
            </a:r>
            <a:endParaRPr lang="en-US" sz="1372" dirty="0">
              <a:gradFill>
                <a:gsLst>
                  <a:gs pos="0">
                    <a:srgbClr val="FFFFFF"/>
                  </a:gs>
                  <a:gs pos="100000">
                    <a:srgbClr val="FFFFFF"/>
                  </a:gs>
                </a:gsLst>
                <a:lin ang="5400000" scaled="0"/>
              </a:gradFill>
            </a:endParaRPr>
          </a:p>
        </p:txBody>
      </p:sp>
      <p:sp>
        <p:nvSpPr>
          <p:cNvPr id="22" name="Rectangle 21"/>
          <p:cNvSpPr/>
          <p:nvPr/>
        </p:nvSpPr>
        <p:spPr bwMode="auto">
          <a:xfrm>
            <a:off x="4569663" y="6043573"/>
            <a:ext cx="1525946" cy="448212"/>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r>
              <a:rPr lang="en-US" sz="1568" dirty="0" err="1">
                <a:gradFill>
                  <a:gsLst>
                    <a:gs pos="0">
                      <a:srgbClr val="FFFFFF"/>
                    </a:gs>
                    <a:gs pos="100000">
                      <a:srgbClr val="FFFFFF"/>
                    </a:gs>
                  </a:gsLst>
                  <a:lin ang="5400000" scaled="0"/>
                </a:gradFill>
              </a:rPr>
              <a:t>Distcp</a:t>
            </a:r>
            <a:r>
              <a:rPr lang="en-US" sz="1568" dirty="0">
                <a:gradFill>
                  <a:gsLst>
                    <a:gs pos="0">
                      <a:srgbClr val="FFFFFF"/>
                    </a:gs>
                    <a:gs pos="100000">
                      <a:srgbClr val="FFFFFF"/>
                    </a:gs>
                  </a:gsLst>
                  <a:lin ang="5400000" scaled="0"/>
                </a:gradFill>
              </a:rPr>
              <a:t> on HDI</a:t>
            </a:r>
          </a:p>
        </p:txBody>
      </p:sp>
      <p:sp>
        <p:nvSpPr>
          <p:cNvPr id="23" name="Rectangle 22"/>
          <p:cNvSpPr/>
          <p:nvPr/>
        </p:nvSpPr>
        <p:spPr bwMode="auto">
          <a:xfrm>
            <a:off x="7107198" y="5968870"/>
            <a:ext cx="3955564" cy="597617"/>
          </a:xfrm>
          <a:prstGeom prst="rect">
            <a:avLst/>
          </a:prstGeom>
          <a:solidFill>
            <a:schemeClr val="accent5">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defTabSz="914102"/>
            <a:r>
              <a:rPr lang="en-US" sz="1372" dirty="0">
                <a:gradFill>
                  <a:gsLst>
                    <a:gs pos="0">
                      <a:srgbClr val="FFFFFF"/>
                    </a:gs>
                    <a:gs pos="100000">
                      <a:srgbClr val="FFFFFF"/>
                    </a:gs>
                  </a:gsLst>
                  <a:lin ang="5400000" scaled="0"/>
                </a:gradFill>
              </a:rPr>
              <a:t>Analyzing data using HDI (</a:t>
            </a:r>
            <a:r>
              <a:rPr lang="en-US" sz="1372" dirty="0" err="1">
                <a:gradFill>
                  <a:gsLst>
                    <a:gs pos="0">
                      <a:srgbClr val="FFFFFF"/>
                    </a:gs>
                    <a:gs pos="100000">
                      <a:srgbClr val="FFFFFF"/>
                    </a:gs>
                  </a:gsLst>
                  <a:lin ang="5400000" scaled="0"/>
                </a:gradFill>
              </a:rPr>
              <a:t>eg</a:t>
            </a:r>
            <a:r>
              <a:rPr lang="en-US" sz="1372" dirty="0">
                <a:gradFill>
                  <a:gsLst>
                    <a:gs pos="0">
                      <a:srgbClr val="FFFFFF"/>
                    </a:gs>
                    <a:gs pos="100000">
                      <a:srgbClr val="FFFFFF"/>
                    </a:gs>
                  </a:gsLst>
                  <a:lin ang="5400000" scaled="0"/>
                </a:gradFill>
              </a:rPr>
              <a:t>, </a:t>
            </a:r>
            <a:r>
              <a:rPr lang="en-US" sz="1372" dirty="0" err="1">
                <a:gradFill>
                  <a:gsLst>
                    <a:gs pos="0">
                      <a:srgbClr val="FFFFFF"/>
                    </a:gs>
                    <a:gs pos="100000">
                      <a:srgbClr val="FFFFFF"/>
                    </a:gs>
                  </a:gsLst>
                  <a:lin ang="5400000" scaled="0"/>
                </a:gradFill>
              </a:rPr>
              <a:t>discp</a:t>
            </a:r>
            <a:r>
              <a:rPr lang="en-US" sz="1372" dirty="0">
                <a:gradFill>
                  <a:gsLst>
                    <a:gs pos="0">
                      <a:srgbClr val="FFFFFF"/>
                    </a:gs>
                    <a:gs pos="100000">
                      <a:srgbClr val="FFFFFF"/>
                    </a:gs>
                  </a:gsLst>
                  <a:lin ang="5400000" scaled="0"/>
                </a:gradFill>
              </a:rPr>
              <a:t>, </a:t>
            </a:r>
            <a:r>
              <a:rPr lang="en-US" sz="1372" dirty="0" err="1">
                <a:gradFill>
                  <a:gsLst>
                    <a:gs pos="0">
                      <a:srgbClr val="FFFFFF"/>
                    </a:gs>
                    <a:gs pos="100000">
                      <a:srgbClr val="FFFFFF"/>
                    </a:gs>
                  </a:gsLst>
                  <a:lin ang="5400000" scaled="0"/>
                </a:gradFill>
              </a:rPr>
              <a:t>sqoop</a:t>
            </a:r>
            <a:r>
              <a:rPr lang="en-US" sz="1372" dirty="0">
                <a:gradFill>
                  <a:gsLst>
                    <a:gs pos="0">
                      <a:srgbClr val="FFFFFF"/>
                    </a:gs>
                    <a:gs pos="100000">
                      <a:srgbClr val="FFFFFF"/>
                    </a:gs>
                  </a:gsLst>
                  <a:lin ang="5400000" scaled="0"/>
                </a:gradFill>
              </a:rPr>
              <a:t> etc.)</a:t>
            </a:r>
          </a:p>
          <a:p>
            <a:pPr defTabSz="914102"/>
            <a:r>
              <a:rPr lang="en-US" sz="1372" dirty="0">
                <a:gradFill>
                  <a:gsLst>
                    <a:gs pos="0">
                      <a:srgbClr val="FFFFFF"/>
                    </a:gs>
                    <a:gs pos="100000">
                      <a:srgbClr val="FFFFFF"/>
                    </a:gs>
                  </a:gsLst>
                  <a:lin ang="5400000" scaled="0"/>
                </a:gradFill>
              </a:rPr>
              <a:t>Familiarity with OSS tools</a:t>
            </a:r>
          </a:p>
        </p:txBody>
      </p:sp>
      <p:sp>
        <p:nvSpPr>
          <p:cNvPr id="24" name="Right Brace 23"/>
          <p:cNvSpPr/>
          <p:nvPr/>
        </p:nvSpPr>
        <p:spPr>
          <a:xfrm rot="10800000">
            <a:off x="3505200" y="5015097"/>
            <a:ext cx="448212" cy="1614302"/>
          </a:xfrm>
          <a:prstGeom prst="rightBrac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 name="Right Brace 24"/>
          <p:cNvSpPr/>
          <p:nvPr/>
        </p:nvSpPr>
        <p:spPr>
          <a:xfrm rot="10800000">
            <a:off x="3468444" y="1270223"/>
            <a:ext cx="448212" cy="3509440"/>
          </a:xfrm>
          <a:prstGeom prst="rightBrac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3" name="Straight Connector 12"/>
          <p:cNvCxnSpPr>
            <a:stCxn id="7" idx="3"/>
          </p:cNvCxnSpPr>
          <p:nvPr/>
        </p:nvCxnSpPr>
        <p:spPr>
          <a:xfrm flipV="1">
            <a:off x="6115487" y="1584674"/>
            <a:ext cx="991711" cy="1271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stCxn id="8" idx="3"/>
            <a:endCxn id="16" idx="1"/>
          </p:cNvCxnSpPr>
          <p:nvPr/>
        </p:nvCxnSpPr>
        <p:spPr>
          <a:xfrm flipV="1">
            <a:off x="6095609" y="2680564"/>
            <a:ext cx="1011590" cy="1412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9" idx="3"/>
            <a:endCxn id="17" idx="1"/>
          </p:cNvCxnSpPr>
          <p:nvPr/>
        </p:nvCxnSpPr>
        <p:spPr>
          <a:xfrm>
            <a:off x="6116879" y="3839862"/>
            <a:ext cx="990319"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19" idx="3"/>
            <a:endCxn id="20" idx="1"/>
          </p:cNvCxnSpPr>
          <p:nvPr/>
        </p:nvCxnSpPr>
        <p:spPr>
          <a:xfrm>
            <a:off x="6088347" y="4690848"/>
            <a:ext cx="1020925" cy="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10" idx="3"/>
            <a:endCxn id="18" idx="1"/>
          </p:cNvCxnSpPr>
          <p:nvPr/>
        </p:nvCxnSpPr>
        <p:spPr>
          <a:xfrm>
            <a:off x="6095609" y="5371254"/>
            <a:ext cx="1025855" cy="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3" idx="1"/>
          </p:cNvCxnSpPr>
          <p:nvPr/>
        </p:nvCxnSpPr>
        <p:spPr>
          <a:xfrm>
            <a:off x="6095609" y="6267679"/>
            <a:ext cx="1011589"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4064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27"/>
                                        </p:tgtEl>
                                        <p:attrNameLst>
                                          <p:attrName>style.visibility</p:attrName>
                                        </p:attrNameLst>
                                      </p:cBhvr>
                                      <p:to>
                                        <p:strVal val="visible"/>
                                      </p:to>
                                    </p:set>
                                    <p:animEffect transition="in" filter="fade">
                                      <p:cBhvr>
                                        <p:cTn id="43" dur="500"/>
                                        <p:tgtEl>
                                          <p:spTgt spid="2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fade">
                                      <p:cBhvr>
                                        <p:cTn id="46" dur="500"/>
                                        <p:tgtEl>
                                          <p:spTgt spid="17"/>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29"/>
                                        </p:tgtEl>
                                        <p:attrNameLst>
                                          <p:attrName>style.visibility</p:attrName>
                                        </p:attrNameLst>
                                      </p:cBhvr>
                                      <p:to>
                                        <p:strVal val="visible"/>
                                      </p:to>
                                    </p:set>
                                    <p:animEffect transition="in" filter="fade">
                                      <p:cBhvr>
                                        <p:cTn id="56" dur="500"/>
                                        <p:tgtEl>
                                          <p:spTgt spid="29"/>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500"/>
                                        <p:tgtEl>
                                          <p:spTgt spid="20"/>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25"/>
                                        </p:tgtEl>
                                        <p:attrNameLst>
                                          <p:attrName>style.visibility</p:attrName>
                                        </p:attrNameLst>
                                      </p:cBhvr>
                                      <p:to>
                                        <p:strVal val="visible"/>
                                      </p:to>
                                    </p:set>
                                    <p:animEffect transition="in" filter="fade">
                                      <p:cBhvr>
                                        <p:cTn id="64" dur="500"/>
                                        <p:tgtEl>
                                          <p:spTgt spid="25"/>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6"/>
                                        </p:tgtEl>
                                        <p:attrNameLst>
                                          <p:attrName>style.visibility</p:attrName>
                                        </p:attrNameLst>
                                      </p:cBhvr>
                                      <p:to>
                                        <p:strVal val="visible"/>
                                      </p:to>
                                    </p:set>
                                    <p:animEffect transition="in" filter="fade">
                                      <p:cBhvr>
                                        <p:cTn id="69" dur="500"/>
                                        <p:tgtEl>
                                          <p:spTgt spid="6"/>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10"/>
                                        </p:tgtEl>
                                        <p:attrNameLst>
                                          <p:attrName>style.visibility</p:attrName>
                                        </p:attrNameLst>
                                      </p:cBhvr>
                                      <p:to>
                                        <p:strVal val="visible"/>
                                      </p:to>
                                    </p:set>
                                    <p:animEffect transition="in" filter="fade">
                                      <p:cBhvr>
                                        <p:cTn id="74" dur="500"/>
                                        <p:tgtEl>
                                          <p:spTgt spid="10"/>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nodeType="clickEffect">
                                  <p:stCondLst>
                                    <p:cond delay="0"/>
                                  </p:stCondLst>
                                  <p:childTnLst>
                                    <p:set>
                                      <p:cBhvr>
                                        <p:cTn id="78" dur="1" fill="hold">
                                          <p:stCondLst>
                                            <p:cond delay="0"/>
                                          </p:stCondLst>
                                        </p:cTn>
                                        <p:tgtEl>
                                          <p:spTgt spid="32"/>
                                        </p:tgtEl>
                                        <p:attrNameLst>
                                          <p:attrName>style.visibility</p:attrName>
                                        </p:attrNameLst>
                                      </p:cBhvr>
                                      <p:to>
                                        <p:strVal val="visible"/>
                                      </p:to>
                                    </p:set>
                                    <p:animEffect transition="in" filter="fade">
                                      <p:cBhvr>
                                        <p:cTn id="79" dur="500"/>
                                        <p:tgtEl>
                                          <p:spTgt spid="32"/>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18"/>
                                        </p:tgtEl>
                                        <p:attrNameLst>
                                          <p:attrName>style.visibility</p:attrName>
                                        </p:attrNameLst>
                                      </p:cBhvr>
                                      <p:to>
                                        <p:strVal val="visible"/>
                                      </p:to>
                                    </p:set>
                                    <p:animEffect transition="in" filter="fade">
                                      <p:cBhvr>
                                        <p:cTn id="82" dur="500"/>
                                        <p:tgtEl>
                                          <p:spTgt spid="18"/>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22"/>
                                        </p:tgtEl>
                                        <p:attrNameLst>
                                          <p:attrName>style.visibility</p:attrName>
                                        </p:attrNameLst>
                                      </p:cBhvr>
                                      <p:to>
                                        <p:strVal val="visible"/>
                                      </p:to>
                                    </p:set>
                                    <p:animEffect transition="in" filter="fade">
                                      <p:cBhvr>
                                        <p:cTn id="87" dur="500"/>
                                        <p:tgtEl>
                                          <p:spTgt spid="22"/>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34"/>
                                        </p:tgtEl>
                                        <p:attrNameLst>
                                          <p:attrName>style.visibility</p:attrName>
                                        </p:attrNameLst>
                                      </p:cBhvr>
                                      <p:to>
                                        <p:strVal val="visible"/>
                                      </p:to>
                                    </p:set>
                                    <p:animEffect transition="in" filter="fade">
                                      <p:cBhvr>
                                        <p:cTn id="92" dur="500"/>
                                        <p:tgtEl>
                                          <p:spTgt spid="34"/>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23"/>
                                        </p:tgtEl>
                                        <p:attrNameLst>
                                          <p:attrName>style.visibility</p:attrName>
                                        </p:attrNameLst>
                                      </p:cBhvr>
                                      <p:to>
                                        <p:strVal val="visible"/>
                                      </p:to>
                                    </p:set>
                                    <p:animEffect transition="in" filter="fade">
                                      <p:cBhvr>
                                        <p:cTn id="95" dur="500"/>
                                        <p:tgtEl>
                                          <p:spTgt spid="23"/>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grpId="0" nodeType="clickEffect">
                                  <p:stCondLst>
                                    <p:cond delay="0"/>
                                  </p:stCondLst>
                                  <p:childTnLst>
                                    <p:set>
                                      <p:cBhvr>
                                        <p:cTn id="99" dur="1" fill="hold">
                                          <p:stCondLst>
                                            <p:cond delay="0"/>
                                          </p:stCondLst>
                                        </p:cTn>
                                        <p:tgtEl>
                                          <p:spTgt spid="24"/>
                                        </p:tgtEl>
                                        <p:attrNameLst>
                                          <p:attrName>style.visibility</p:attrName>
                                        </p:attrNameLst>
                                      </p:cBhvr>
                                      <p:to>
                                        <p:strVal val="visible"/>
                                      </p:to>
                                    </p:set>
                                    <p:animEffect transition="in" filter="fade">
                                      <p:cBhvr>
                                        <p:cTn id="100"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9" grpId="0" animBg="1"/>
      <p:bldP spid="10" grpId="0" animBg="1"/>
      <p:bldP spid="12" grpId="0" animBg="1"/>
      <p:bldP spid="16" grpId="0" animBg="1"/>
      <p:bldP spid="17" grpId="0" animBg="1"/>
      <p:bldP spid="18" grpId="0" animBg="1"/>
      <p:bldP spid="19" grpId="0" animBg="1"/>
      <p:bldP spid="20" grpId="0" animBg="1"/>
      <p:bldP spid="22" grpId="0" animBg="1"/>
      <p:bldP spid="23" grpId="0" animBg="1"/>
      <p:bldP spid="24" grpId="0" animBg="1"/>
      <p:bldP spid="2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28600" y="361950"/>
            <a:ext cx="11811000" cy="5962650"/>
          </a:xfrm>
          <a:prstGeom prst="rect">
            <a:avLst/>
          </a:prstGeom>
        </p:spPr>
        <p:txBody>
          <a:bodyPr>
            <a:normAutofit/>
          </a:bodyPr>
          <a:lstStyle>
            <a:lvl1pPr marL="112713" indent="6350">
              <a:lnSpc>
                <a:spcPct val="120000"/>
              </a:lnSpc>
              <a:spcBef>
                <a:spcPct val="20000"/>
              </a:spcBef>
              <a:defRPr sz="1400">
                <a:solidFill>
                  <a:srgbClr val="FFFFFF"/>
                </a:solidFill>
                <a:latin typeface="Segoe UI" panose="020B0502040204020203" pitchFamily="34" charset="0"/>
                <a:ea typeface="Segoe Pro Light"/>
                <a:cs typeface="Segoe Pro Light"/>
              </a:defRPr>
            </a:lvl1pPr>
            <a:lvl2pPr marL="112713" indent="6350">
              <a:lnSpc>
                <a:spcPct val="120000"/>
              </a:lnSpc>
              <a:spcBef>
                <a:spcPct val="20000"/>
              </a:spcBef>
              <a:defRPr sz="1400">
                <a:solidFill>
                  <a:srgbClr val="FFFFFF"/>
                </a:solidFill>
                <a:latin typeface="Segoe UI" panose="020B0502040204020203" pitchFamily="34" charset="0"/>
                <a:ea typeface="Segoe Pro Light"/>
                <a:cs typeface="Segoe Pro Light"/>
              </a:defRPr>
            </a:lvl2pPr>
            <a:lvl3pPr marL="112713" indent="6350">
              <a:lnSpc>
                <a:spcPct val="120000"/>
              </a:lnSpc>
              <a:spcBef>
                <a:spcPct val="20000"/>
              </a:spcBef>
              <a:defRPr sz="1400">
                <a:solidFill>
                  <a:srgbClr val="FFFFFF"/>
                </a:solidFill>
                <a:latin typeface="Segoe UI" panose="020B0502040204020203" pitchFamily="34" charset="0"/>
                <a:ea typeface="Segoe Pro Light"/>
                <a:cs typeface="Segoe Pro Light"/>
              </a:defRPr>
            </a:lvl3pPr>
            <a:lvl4pPr marL="112713" indent="6350">
              <a:lnSpc>
                <a:spcPct val="120000"/>
              </a:lnSpc>
              <a:spcBef>
                <a:spcPct val="20000"/>
              </a:spcBef>
              <a:defRPr sz="1400">
                <a:solidFill>
                  <a:srgbClr val="FFFFFF"/>
                </a:solidFill>
                <a:latin typeface="Segoe UI" panose="020B0502040204020203" pitchFamily="34" charset="0"/>
                <a:ea typeface="Segoe Pro Light"/>
                <a:cs typeface="Segoe Pro Light"/>
              </a:defRPr>
            </a:lvl4pPr>
            <a:lvl5pPr marL="112713" indent="6350">
              <a:lnSpc>
                <a:spcPct val="120000"/>
              </a:lnSpc>
              <a:spcBef>
                <a:spcPct val="20000"/>
              </a:spcBef>
              <a:defRPr sz="1400">
                <a:solidFill>
                  <a:srgbClr val="FFFFFF"/>
                </a:solidFill>
                <a:latin typeface="Segoe UI" panose="020B0502040204020203" pitchFamily="34" charset="0"/>
                <a:ea typeface="Segoe Pro Light"/>
                <a:cs typeface="Segoe Pro Light"/>
              </a:defRPr>
            </a:lvl5pPr>
            <a:lvl6pPr marL="569913" indent="6350" fontAlgn="base">
              <a:lnSpc>
                <a:spcPct val="120000"/>
              </a:lnSpc>
              <a:spcBef>
                <a:spcPct val="20000"/>
              </a:spcBef>
              <a:spcAft>
                <a:spcPct val="0"/>
              </a:spcAft>
              <a:defRPr sz="1400">
                <a:solidFill>
                  <a:srgbClr val="FFFFFF"/>
                </a:solidFill>
                <a:latin typeface="Segoe UI" panose="020B0502040204020203" pitchFamily="34" charset="0"/>
                <a:ea typeface="Segoe Pro Light"/>
                <a:cs typeface="Segoe Pro Light"/>
              </a:defRPr>
            </a:lvl6pPr>
            <a:lvl7pPr marL="1027113" indent="6350" fontAlgn="base">
              <a:lnSpc>
                <a:spcPct val="120000"/>
              </a:lnSpc>
              <a:spcBef>
                <a:spcPct val="20000"/>
              </a:spcBef>
              <a:spcAft>
                <a:spcPct val="0"/>
              </a:spcAft>
              <a:defRPr sz="1400">
                <a:solidFill>
                  <a:srgbClr val="FFFFFF"/>
                </a:solidFill>
                <a:latin typeface="Segoe UI" panose="020B0502040204020203" pitchFamily="34" charset="0"/>
                <a:ea typeface="Segoe Pro Light"/>
                <a:cs typeface="Segoe Pro Light"/>
              </a:defRPr>
            </a:lvl7pPr>
            <a:lvl8pPr marL="1484313" indent="6350" fontAlgn="base">
              <a:lnSpc>
                <a:spcPct val="120000"/>
              </a:lnSpc>
              <a:spcBef>
                <a:spcPct val="20000"/>
              </a:spcBef>
              <a:spcAft>
                <a:spcPct val="0"/>
              </a:spcAft>
              <a:defRPr sz="1400">
                <a:solidFill>
                  <a:srgbClr val="FFFFFF"/>
                </a:solidFill>
                <a:latin typeface="Segoe UI" panose="020B0502040204020203" pitchFamily="34" charset="0"/>
                <a:ea typeface="Segoe Pro Light"/>
                <a:cs typeface="Segoe Pro Light"/>
              </a:defRPr>
            </a:lvl8pPr>
            <a:lvl9pPr marL="1941513" indent="6350" fontAlgn="base">
              <a:lnSpc>
                <a:spcPct val="120000"/>
              </a:lnSpc>
              <a:spcBef>
                <a:spcPct val="20000"/>
              </a:spcBef>
              <a:spcAft>
                <a:spcPct val="0"/>
              </a:spcAft>
              <a:defRPr sz="1400">
                <a:solidFill>
                  <a:srgbClr val="FFFFFF"/>
                </a:solidFill>
                <a:latin typeface="Segoe UI" panose="020B0502040204020203" pitchFamily="34" charset="0"/>
                <a:ea typeface="Segoe Pro Light"/>
                <a:cs typeface="Segoe Pro Light"/>
              </a:defRPr>
            </a:lvl9pPr>
          </a:lstStyle>
          <a:p>
            <a:pPr defTabSz="914400" eaLnBrk="1" hangingPunct="1">
              <a:lnSpc>
                <a:spcPct val="80000"/>
              </a:lnSpc>
              <a:spcAft>
                <a:spcPts val="300"/>
              </a:spcAft>
            </a:pPr>
            <a:r>
              <a:rPr lang="en-US" sz="1800" b="1" dirty="0">
                <a:solidFill>
                  <a:schemeClr val="bg1"/>
                </a:solidFill>
                <a:latin typeface="Calibri Light" panose="020F0302020204030204" pitchFamily="34" charset="0"/>
              </a:rPr>
              <a:t>Conditions and Terms of Use</a:t>
            </a:r>
          </a:p>
          <a:p>
            <a:pPr defTabSz="914400" eaLnBrk="1" hangingPunct="1">
              <a:lnSpc>
                <a:spcPct val="80000"/>
              </a:lnSpc>
              <a:spcAft>
                <a:spcPts val="300"/>
              </a:spcAft>
            </a:pPr>
            <a:r>
              <a:rPr lang="en-US" sz="1200" dirty="0">
                <a:solidFill>
                  <a:schemeClr val="accent1"/>
                </a:solidFill>
                <a:latin typeface="Calibri Light" panose="020F0302020204030204" pitchFamily="34" charset="0"/>
              </a:rPr>
              <a:t>Microsoft Confidential</a:t>
            </a:r>
          </a:p>
          <a:p>
            <a:pPr defTabSz="914400" eaLnBrk="1" hangingPunct="1">
              <a:lnSpc>
                <a:spcPct val="80000"/>
              </a:lnSpc>
              <a:spcAft>
                <a:spcPts val="300"/>
              </a:spcAft>
            </a:pPr>
            <a:r>
              <a:rPr lang="en-US" dirty="0">
                <a:solidFill>
                  <a:schemeClr val="bg1"/>
                </a:solidFill>
                <a:latin typeface="Calibri Light" panose="020F0302020204030204"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914400" eaLnBrk="1" hangingPunct="1">
              <a:lnSpc>
                <a:spcPct val="80000"/>
              </a:lnSpc>
              <a:spcAft>
                <a:spcPts val="300"/>
              </a:spcAft>
            </a:pPr>
            <a:r>
              <a:rPr lang="en-US" dirty="0">
                <a:solidFill>
                  <a:schemeClr val="bg1"/>
                </a:solidFill>
                <a:latin typeface="Calibri Light" panose="020F0302020204030204"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914400" eaLnBrk="1" hangingPunct="1">
              <a:lnSpc>
                <a:spcPct val="80000"/>
              </a:lnSpc>
              <a:spcAft>
                <a:spcPts val="300"/>
              </a:spcAft>
            </a:pPr>
            <a:r>
              <a:rPr lang="en-US" dirty="0">
                <a:solidFill>
                  <a:schemeClr val="bg1"/>
                </a:solidFill>
                <a:latin typeface="Calibri Light" panose="020F0302020204030204" pitchFamily="34" charset="0"/>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defTabSz="914400" eaLnBrk="1" hangingPunct="1">
              <a:lnSpc>
                <a:spcPct val="80000"/>
              </a:lnSpc>
              <a:spcAft>
                <a:spcPts val="300"/>
              </a:spcAft>
            </a:pPr>
            <a:endParaRPr lang="en-US" dirty="0">
              <a:solidFill>
                <a:schemeClr val="bg1"/>
              </a:solidFill>
              <a:latin typeface="Calibri Light" panose="020F0302020204030204" pitchFamily="34" charset="0"/>
            </a:endParaRPr>
          </a:p>
          <a:p>
            <a:pPr defTabSz="914400" eaLnBrk="1" hangingPunct="1">
              <a:lnSpc>
                <a:spcPct val="80000"/>
              </a:lnSpc>
              <a:spcAft>
                <a:spcPts val="300"/>
              </a:spcAft>
            </a:pPr>
            <a:r>
              <a:rPr lang="en-US" sz="1800" b="1" dirty="0">
                <a:solidFill>
                  <a:schemeClr val="bg1"/>
                </a:solidFill>
                <a:latin typeface="Calibri Light" panose="020F0302020204030204" pitchFamily="34" charset="0"/>
              </a:rPr>
              <a:t>Copyright and Trademarks </a:t>
            </a:r>
          </a:p>
          <a:p>
            <a:pPr defTabSz="914400" eaLnBrk="1" hangingPunct="1">
              <a:lnSpc>
                <a:spcPct val="80000"/>
              </a:lnSpc>
              <a:spcAft>
                <a:spcPts val="300"/>
              </a:spcAft>
            </a:pPr>
            <a:r>
              <a:rPr lang="en-US" sz="1200" dirty="0">
                <a:solidFill>
                  <a:schemeClr val="accent1"/>
                </a:solidFill>
                <a:latin typeface="Calibri Light" panose="020F0302020204030204" pitchFamily="34" charset="0"/>
              </a:rPr>
              <a:t>© 2013 Microsoft Corporation. All rights reserved.</a:t>
            </a:r>
          </a:p>
          <a:p>
            <a:pPr defTabSz="914400" eaLnBrk="1" hangingPunct="1">
              <a:lnSpc>
                <a:spcPct val="80000"/>
              </a:lnSpc>
              <a:spcAft>
                <a:spcPts val="300"/>
              </a:spcAft>
            </a:pPr>
            <a:r>
              <a:rPr lang="en-US" dirty="0">
                <a:solidFill>
                  <a:schemeClr val="bg1"/>
                </a:solidFill>
                <a:latin typeface="Calibri Light" panose="020F0302020204030204"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914400" eaLnBrk="1" hangingPunct="1">
              <a:lnSpc>
                <a:spcPct val="80000"/>
              </a:lnSpc>
              <a:spcAft>
                <a:spcPts val="300"/>
              </a:spcAft>
            </a:pPr>
            <a:r>
              <a:rPr lang="en-US" dirty="0">
                <a:solidFill>
                  <a:schemeClr val="bg1"/>
                </a:solidFill>
                <a:latin typeface="Calibri Light" panose="020F0302020204030204"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914400" eaLnBrk="1" hangingPunct="1">
              <a:lnSpc>
                <a:spcPct val="80000"/>
              </a:lnSpc>
              <a:spcAft>
                <a:spcPts val="300"/>
              </a:spcAft>
            </a:pPr>
            <a:r>
              <a:rPr lang="en-US" dirty="0">
                <a:solidFill>
                  <a:schemeClr val="bg1"/>
                </a:solidFill>
                <a:latin typeface="Calibri Light" panose="020F0302020204030204" pitchFamily="34" charset="0"/>
              </a:rPr>
              <a:t>For more information, see </a:t>
            </a:r>
            <a:r>
              <a:rPr lang="en-US" b="1" dirty="0">
                <a:solidFill>
                  <a:schemeClr val="bg1"/>
                </a:solidFill>
                <a:latin typeface="Calibri Light" panose="020F0302020204030204" pitchFamily="34" charset="0"/>
              </a:rPr>
              <a:t>Use of Microsoft Copyrighted Content </a:t>
            </a:r>
            <a:r>
              <a:rPr lang="en-US" dirty="0">
                <a:solidFill>
                  <a:schemeClr val="bg1"/>
                </a:solidFill>
                <a:latin typeface="Calibri Light" panose="020F0302020204030204" pitchFamily="34" charset="0"/>
              </a:rPr>
              <a:t>at</a:t>
            </a:r>
            <a:br>
              <a:rPr lang="en-US" dirty="0">
                <a:solidFill>
                  <a:schemeClr val="bg1"/>
                </a:solidFill>
                <a:latin typeface="Calibri Light" panose="020F0302020204030204" pitchFamily="34" charset="0"/>
              </a:rPr>
            </a:br>
            <a:r>
              <a:rPr lang="en-US" dirty="0">
                <a:solidFill>
                  <a:srgbClr val="FF0000"/>
                </a:solidFill>
                <a:latin typeface="Calibri Light" panose="020F0302020204030204" pitchFamily="34" charset="0"/>
                <a:hlinkClick r:id="rId3"/>
              </a:rPr>
              <a:t>http://www.microsoft.com/about/legal/permissions/</a:t>
            </a:r>
            <a:endParaRPr lang="en-US" dirty="0">
              <a:solidFill>
                <a:srgbClr val="FF0000"/>
              </a:solidFill>
              <a:latin typeface="Calibri Light" panose="020F0302020204030204" pitchFamily="34" charset="0"/>
            </a:endParaRPr>
          </a:p>
          <a:p>
            <a:pPr defTabSz="914400" eaLnBrk="1" hangingPunct="1">
              <a:lnSpc>
                <a:spcPct val="80000"/>
              </a:lnSpc>
              <a:spcAft>
                <a:spcPts val="300"/>
              </a:spcAft>
            </a:pPr>
            <a:r>
              <a:rPr lang="en-US" dirty="0">
                <a:solidFill>
                  <a:schemeClr val="bg1"/>
                </a:solidFill>
                <a:latin typeface="Calibri Light" panose="020F0302020204030204" pitchFamily="34" charset="0"/>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Slide Number Placeholder 1"/>
          <p:cNvSpPr>
            <a:spLocks noGrp="1"/>
          </p:cNvSpPr>
          <p:nvPr>
            <p:ph type="sldNum" sz="quarter" idx="19"/>
          </p:nvPr>
        </p:nvSpPr>
        <p:spPr/>
        <p:txBody>
          <a:bodyPr/>
          <a:lstStyle/>
          <a:p>
            <a:pPr>
              <a:defRPr/>
            </a:pPr>
            <a:fld id="{3D1B5734-3614-4DC6-A13F-4700EA017BC8}" type="slidenum">
              <a:rPr lang="en-US" smtClean="0"/>
              <a:pPr>
                <a:defRPr/>
              </a:pPr>
              <a:t>2</a:t>
            </a:fld>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8643" y="244540"/>
            <a:ext cx="11655840" cy="899537"/>
          </a:xfrm>
        </p:spPr>
        <p:txBody>
          <a:bodyPr/>
          <a:lstStyle/>
          <a:p>
            <a:r>
              <a:rPr lang="en-US" dirty="0">
                <a:solidFill>
                  <a:srgbClr val="0070C0"/>
                </a:solidFill>
              </a:rPr>
              <a:t>ADLS Ingestion – Operationalizing</a:t>
            </a:r>
          </a:p>
        </p:txBody>
      </p:sp>
      <p:sp>
        <p:nvSpPr>
          <p:cNvPr id="4" name="Rectangle 3"/>
          <p:cNvSpPr/>
          <p:nvPr/>
        </p:nvSpPr>
        <p:spPr bwMode="auto">
          <a:xfrm>
            <a:off x="919119" y="2508352"/>
            <a:ext cx="2091658" cy="1195233"/>
          </a:xfrm>
          <a:prstGeom prst="rect">
            <a:avLst/>
          </a:prstGeom>
          <a:solidFill>
            <a:srgbClr val="2D0CB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r>
              <a:rPr lang="en-US" sz="1961" dirty="0">
                <a:gradFill>
                  <a:gsLst>
                    <a:gs pos="0">
                      <a:srgbClr val="FFFFFF"/>
                    </a:gs>
                    <a:gs pos="100000">
                      <a:srgbClr val="FFFFFF"/>
                    </a:gs>
                  </a:gsLst>
                  <a:lin ang="5400000" scaled="0"/>
                </a:gradFill>
              </a:rPr>
              <a:t>Out-of-the-box tools</a:t>
            </a:r>
          </a:p>
        </p:txBody>
      </p:sp>
      <p:sp>
        <p:nvSpPr>
          <p:cNvPr id="7" name="Rectangle 6"/>
          <p:cNvSpPr/>
          <p:nvPr/>
        </p:nvSpPr>
        <p:spPr bwMode="auto">
          <a:xfrm>
            <a:off x="4552449" y="1211308"/>
            <a:ext cx="2144832" cy="812905"/>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r>
              <a:rPr lang="en-US" sz="1568" dirty="0">
                <a:gradFill>
                  <a:gsLst>
                    <a:gs pos="0">
                      <a:srgbClr val="FFFFFF"/>
                    </a:gs>
                    <a:gs pos="100000">
                      <a:srgbClr val="FFFFFF"/>
                    </a:gs>
                  </a:gsLst>
                  <a:lin ang="5400000" scaled="0"/>
                </a:gradFill>
              </a:rPr>
              <a:t>Azure Data Factory</a:t>
            </a:r>
          </a:p>
        </p:txBody>
      </p:sp>
      <p:sp>
        <p:nvSpPr>
          <p:cNvPr id="12" name="Rectangle 11"/>
          <p:cNvSpPr/>
          <p:nvPr/>
        </p:nvSpPr>
        <p:spPr bwMode="auto">
          <a:xfrm>
            <a:off x="7435500" y="914400"/>
            <a:ext cx="3630645" cy="1406721"/>
          </a:xfrm>
          <a:prstGeom prst="rect">
            <a:avLst/>
          </a:prstGeom>
          <a:solidFill>
            <a:schemeClr val="accent5">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defTabSz="914102"/>
            <a:r>
              <a:rPr lang="en-US" sz="1372" b="1" dirty="0">
                <a:gradFill>
                  <a:gsLst>
                    <a:gs pos="0">
                      <a:srgbClr val="FFFFFF"/>
                    </a:gs>
                    <a:gs pos="100000">
                      <a:srgbClr val="FFFFFF"/>
                    </a:gs>
                  </a:gsLst>
                  <a:lin ang="5400000" scaled="0"/>
                </a:gradFill>
              </a:rPr>
              <a:t>First-class support for ADLS</a:t>
            </a:r>
          </a:p>
          <a:p>
            <a:pPr defTabSz="914102"/>
            <a:r>
              <a:rPr lang="en-US" sz="1372" b="1" dirty="0">
                <a:gradFill>
                  <a:gsLst>
                    <a:gs pos="0">
                      <a:srgbClr val="FFFFFF"/>
                    </a:gs>
                    <a:gs pos="100000">
                      <a:srgbClr val="FFFFFF"/>
                    </a:gs>
                  </a:gsLst>
                  <a:lin ang="5400000" scaled="0"/>
                </a:gradFill>
              </a:rPr>
              <a:t>Support variety of endpoints</a:t>
            </a:r>
          </a:p>
          <a:p>
            <a:pPr lvl="1" defTabSz="914102"/>
            <a:r>
              <a:rPr lang="en-US" sz="1372" b="1" dirty="0">
                <a:gradFill>
                  <a:gsLst>
                    <a:gs pos="0">
                      <a:srgbClr val="FFFFFF"/>
                    </a:gs>
                    <a:gs pos="100000">
                      <a:srgbClr val="FFFFFF"/>
                    </a:gs>
                  </a:gsLst>
                  <a:lin ang="5400000" scaled="0"/>
                </a:gradFill>
              </a:rPr>
              <a:t>WASB, </a:t>
            </a:r>
            <a:r>
              <a:rPr lang="en-US" sz="1372" b="1" dirty="0" err="1">
                <a:gradFill>
                  <a:gsLst>
                    <a:gs pos="0">
                      <a:srgbClr val="FFFFFF"/>
                    </a:gs>
                    <a:gs pos="100000">
                      <a:srgbClr val="FFFFFF"/>
                    </a:gs>
                  </a:gsLst>
                  <a:lin ang="5400000" scaled="0"/>
                </a:gradFill>
              </a:rPr>
              <a:t>OnPrem</a:t>
            </a:r>
            <a:r>
              <a:rPr lang="en-US" sz="1372" b="1" dirty="0">
                <a:gradFill>
                  <a:gsLst>
                    <a:gs pos="0">
                      <a:srgbClr val="FFFFFF"/>
                    </a:gs>
                    <a:gs pos="100000">
                      <a:srgbClr val="FFFFFF"/>
                    </a:gs>
                  </a:gsLst>
                  <a:lin ang="5400000" scaled="0"/>
                </a:gradFill>
              </a:rPr>
              <a:t>, Relational DB</a:t>
            </a:r>
          </a:p>
          <a:p>
            <a:pPr defTabSz="914102"/>
            <a:r>
              <a:rPr lang="en-US" sz="1372" b="1" dirty="0">
                <a:gradFill>
                  <a:gsLst>
                    <a:gs pos="0">
                      <a:srgbClr val="FFFFFF"/>
                    </a:gs>
                    <a:gs pos="100000">
                      <a:srgbClr val="FFFFFF"/>
                    </a:gs>
                  </a:gsLst>
                  <a:lin ang="5400000" scaled="0"/>
                </a:gradFill>
              </a:rPr>
              <a:t>Integrated with Analytic tools</a:t>
            </a:r>
          </a:p>
          <a:p>
            <a:pPr defTabSz="914102"/>
            <a:r>
              <a:rPr lang="en-US" sz="1372" b="1" dirty="0">
                <a:gradFill>
                  <a:gsLst>
                    <a:gs pos="0">
                      <a:srgbClr val="FFFFFF"/>
                    </a:gs>
                    <a:gs pos="100000">
                      <a:srgbClr val="FFFFFF"/>
                    </a:gs>
                  </a:gsLst>
                  <a:lin ang="5400000" scaled="0"/>
                </a:gradFill>
              </a:rPr>
              <a:t>Programmatic customization </a:t>
            </a:r>
          </a:p>
        </p:txBody>
      </p:sp>
      <p:sp>
        <p:nvSpPr>
          <p:cNvPr id="25" name="Right Brace 24"/>
          <p:cNvSpPr/>
          <p:nvPr/>
        </p:nvSpPr>
        <p:spPr>
          <a:xfrm rot="10800000">
            <a:off x="3400867" y="1119637"/>
            <a:ext cx="448212" cy="3726285"/>
          </a:xfrm>
          <a:prstGeom prst="rightBrac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Rectangle 20"/>
          <p:cNvSpPr/>
          <p:nvPr/>
        </p:nvSpPr>
        <p:spPr bwMode="auto">
          <a:xfrm>
            <a:off x="914400" y="5097715"/>
            <a:ext cx="2091658" cy="1195233"/>
          </a:xfrm>
          <a:prstGeom prst="rect">
            <a:avLst/>
          </a:prstGeom>
          <a:solidFill>
            <a:srgbClr val="2D0CB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r>
              <a:rPr lang="en-US" sz="1961" dirty="0">
                <a:gradFill>
                  <a:gsLst>
                    <a:gs pos="0">
                      <a:srgbClr val="FFFFFF"/>
                    </a:gs>
                    <a:gs pos="100000">
                      <a:srgbClr val="FFFFFF"/>
                    </a:gs>
                  </a:gsLst>
                  <a:lin ang="5400000" scaled="0"/>
                </a:gradFill>
              </a:rPr>
              <a:t>Custom &amp; LOB Apps</a:t>
            </a:r>
          </a:p>
        </p:txBody>
      </p:sp>
      <p:sp>
        <p:nvSpPr>
          <p:cNvPr id="26" name="Rectangle 25"/>
          <p:cNvSpPr/>
          <p:nvPr/>
        </p:nvSpPr>
        <p:spPr bwMode="auto">
          <a:xfrm>
            <a:off x="4558033" y="2856653"/>
            <a:ext cx="2144832" cy="577048"/>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r>
              <a:rPr lang="en-US" sz="1568" dirty="0">
                <a:gradFill>
                  <a:gsLst>
                    <a:gs pos="0">
                      <a:srgbClr val="FFFFFF"/>
                    </a:gs>
                    <a:gs pos="100000">
                      <a:srgbClr val="FFFFFF"/>
                    </a:gs>
                  </a:gsLst>
                  <a:lin ang="5400000" scaled="0"/>
                </a:gradFill>
              </a:rPr>
              <a:t>OSS tools</a:t>
            </a:r>
          </a:p>
        </p:txBody>
      </p:sp>
      <p:sp>
        <p:nvSpPr>
          <p:cNvPr id="27" name="Right Brace 26"/>
          <p:cNvSpPr/>
          <p:nvPr/>
        </p:nvSpPr>
        <p:spPr>
          <a:xfrm rot="10800000">
            <a:off x="3400867" y="5058477"/>
            <a:ext cx="448212" cy="1419339"/>
          </a:xfrm>
          <a:prstGeom prst="rightBrac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8" name="Rectangle 27"/>
          <p:cNvSpPr/>
          <p:nvPr/>
        </p:nvSpPr>
        <p:spPr bwMode="auto">
          <a:xfrm>
            <a:off x="4552449" y="4960685"/>
            <a:ext cx="2144832" cy="448212"/>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r>
              <a:rPr lang="en-US" sz="1568" dirty="0">
                <a:gradFill>
                  <a:gsLst>
                    <a:gs pos="0">
                      <a:srgbClr val="FFFFFF"/>
                    </a:gs>
                    <a:gs pos="100000">
                      <a:srgbClr val="FFFFFF"/>
                    </a:gs>
                  </a:gsLst>
                  <a:lin ang="5400000" scaled="0"/>
                </a:gradFill>
              </a:rPr>
              <a:t>ADLS SDK</a:t>
            </a:r>
          </a:p>
        </p:txBody>
      </p:sp>
      <p:sp>
        <p:nvSpPr>
          <p:cNvPr id="29" name="Rectangle 28"/>
          <p:cNvSpPr/>
          <p:nvPr/>
        </p:nvSpPr>
        <p:spPr bwMode="auto">
          <a:xfrm>
            <a:off x="4552449" y="5861534"/>
            <a:ext cx="2144832" cy="439365"/>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r>
              <a:rPr lang="en-US" sz="1568" dirty="0">
                <a:gradFill>
                  <a:gsLst>
                    <a:gs pos="0">
                      <a:srgbClr val="FFFFFF"/>
                    </a:gs>
                    <a:gs pos="100000">
                      <a:srgbClr val="FFFFFF"/>
                    </a:gs>
                  </a:gsLst>
                  <a:lin ang="5400000" scaled="0"/>
                </a:gradFill>
              </a:rPr>
              <a:t>REST APIs</a:t>
            </a:r>
          </a:p>
        </p:txBody>
      </p:sp>
      <p:sp>
        <p:nvSpPr>
          <p:cNvPr id="30" name="Rectangle 29"/>
          <p:cNvSpPr/>
          <p:nvPr/>
        </p:nvSpPr>
        <p:spPr bwMode="auto">
          <a:xfrm>
            <a:off x="7411819" y="4724205"/>
            <a:ext cx="3656156" cy="921174"/>
          </a:xfrm>
          <a:prstGeom prst="rect">
            <a:avLst/>
          </a:prstGeom>
          <a:solidFill>
            <a:schemeClr val="accent5">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defTabSz="914102"/>
            <a:r>
              <a:rPr lang="en-US" sz="1372" b="1" dirty="0">
                <a:gradFill>
                  <a:gsLst>
                    <a:gs pos="0">
                      <a:srgbClr val="FFFFFF"/>
                    </a:gs>
                    <a:gs pos="100000">
                      <a:srgbClr val="FFFFFF"/>
                    </a:gs>
                  </a:gsLst>
                  <a:lin ang="5400000" scaled="0"/>
                </a:gradFill>
              </a:rPr>
              <a:t>Available in various languages</a:t>
            </a:r>
          </a:p>
          <a:p>
            <a:pPr defTabSz="914102"/>
            <a:r>
              <a:rPr lang="en-US" sz="1372" b="1" dirty="0">
                <a:gradFill>
                  <a:gsLst>
                    <a:gs pos="0">
                      <a:srgbClr val="FFFFFF"/>
                    </a:gs>
                    <a:gs pos="100000">
                      <a:srgbClr val="FFFFFF"/>
                    </a:gs>
                  </a:gsLst>
                  <a:lin ang="5400000" scaled="0"/>
                </a:gradFill>
              </a:rPr>
              <a:t>Upload from distributed sources e.g. server logs</a:t>
            </a:r>
          </a:p>
        </p:txBody>
      </p:sp>
      <p:sp>
        <p:nvSpPr>
          <p:cNvPr id="31" name="Rectangle 30"/>
          <p:cNvSpPr/>
          <p:nvPr/>
        </p:nvSpPr>
        <p:spPr bwMode="auto">
          <a:xfrm>
            <a:off x="7397078" y="3977183"/>
            <a:ext cx="3672035" cy="597617"/>
          </a:xfrm>
          <a:prstGeom prst="rect">
            <a:avLst/>
          </a:prstGeom>
          <a:solidFill>
            <a:schemeClr val="accent5">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defTabSz="914102"/>
            <a:r>
              <a:rPr lang="en-US" sz="1372" b="1" dirty="0">
                <a:gradFill>
                  <a:gsLst>
                    <a:gs pos="0">
                      <a:srgbClr val="FFFFFF"/>
                    </a:gs>
                    <a:gs pos="100000">
                      <a:srgbClr val="FFFFFF"/>
                    </a:gs>
                  </a:gsLst>
                  <a:lin ang="5400000" scaled="0"/>
                </a:gradFill>
              </a:rPr>
              <a:t>Transfer data using disks if ExpressRoute is not feasible</a:t>
            </a:r>
          </a:p>
        </p:txBody>
      </p:sp>
      <p:sp>
        <p:nvSpPr>
          <p:cNvPr id="32" name="Rectangle 31"/>
          <p:cNvSpPr/>
          <p:nvPr/>
        </p:nvSpPr>
        <p:spPr bwMode="auto">
          <a:xfrm>
            <a:off x="4552449" y="3977183"/>
            <a:ext cx="2144832" cy="597617"/>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r>
              <a:rPr lang="en-US" sz="1568" dirty="0">
                <a:gradFill>
                  <a:gsLst>
                    <a:gs pos="0">
                      <a:srgbClr val="FFFFFF"/>
                    </a:gs>
                    <a:gs pos="100000">
                      <a:srgbClr val="FFFFFF"/>
                    </a:gs>
                  </a:gsLst>
                  <a:lin ang="5400000" scaled="0"/>
                </a:gradFill>
              </a:rPr>
              <a:t>Azure Import/Export Service</a:t>
            </a:r>
          </a:p>
        </p:txBody>
      </p:sp>
      <p:sp>
        <p:nvSpPr>
          <p:cNvPr id="33" name="Rectangle 32"/>
          <p:cNvSpPr/>
          <p:nvPr/>
        </p:nvSpPr>
        <p:spPr bwMode="auto">
          <a:xfrm>
            <a:off x="7411819" y="5794782"/>
            <a:ext cx="3656156" cy="572868"/>
          </a:xfrm>
          <a:prstGeom prst="rect">
            <a:avLst/>
          </a:prstGeom>
          <a:solidFill>
            <a:schemeClr val="accent5">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defTabSz="914102"/>
            <a:r>
              <a:rPr lang="en-US" sz="1372" b="1" dirty="0">
                <a:gradFill>
                  <a:gsLst>
                    <a:gs pos="0">
                      <a:srgbClr val="FFFFFF"/>
                    </a:gs>
                    <a:gs pos="100000">
                      <a:srgbClr val="FFFFFF"/>
                    </a:gs>
                  </a:gsLst>
                  <a:lin ang="5400000" scaled="0"/>
                </a:gradFill>
              </a:rPr>
              <a:t>For unsupported languages and platforms</a:t>
            </a:r>
          </a:p>
        </p:txBody>
      </p:sp>
      <p:sp>
        <p:nvSpPr>
          <p:cNvPr id="39" name="Rectangle 38"/>
          <p:cNvSpPr/>
          <p:nvPr/>
        </p:nvSpPr>
        <p:spPr bwMode="auto">
          <a:xfrm>
            <a:off x="7411819" y="2387872"/>
            <a:ext cx="3656156" cy="1514610"/>
          </a:xfrm>
          <a:prstGeom prst="rect">
            <a:avLst/>
          </a:prstGeom>
          <a:solidFill>
            <a:schemeClr val="accent5">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defTabSz="914102"/>
            <a:r>
              <a:rPr lang="en-US" sz="1372" b="1" dirty="0">
                <a:gradFill>
                  <a:gsLst>
                    <a:gs pos="0">
                      <a:srgbClr val="FFFFFF"/>
                    </a:gs>
                    <a:gs pos="100000">
                      <a:srgbClr val="FFFFFF"/>
                    </a:gs>
                  </a:gsLst>
                  <a:lin ang="5400000" scaled="0"/>
                </a:gradFill>
              </a:rPr>
              <a:t>Use </a:t>
            </a:r>
            <a:r>
              <a:rPr lang="en-US" sz="1372" b="1" dirty="0" err="1">
                <a:gradFill>
                  <a:gsLst>
                    <a:gs pos="0">
                      <a:srgbClr val="FFFFFF"/>
                    </a:gs>
                    <a:gs pos="100000">
                      <a:srgbClr val="FFFFFF"/>
                    </a:gs>
                  </a:gsLst>
                  <a:lin ang="5400000" scaled="0"/>
                </a:gradFill>
              </a:rPr>
              <a:t>Oozie</a:t>
            </a:r>
            <a:r>
              <a:rPr lang="en-US" sz="1372" b="1" dirty="0">
                <a:gradFill>
                  <a:gsLst>
                    <a:gs pos="0">
                      <a:srgbClr val="FFFFFF"/>
                    </a:gs>
                    <a:gs pos="100000">
                      <a:srgbClr val="FFFFFF"/>
                    </a:gs>
                  </a:gsLst>
                  <a:lin ang="5400000" scaled="0"/>
                </a:gradFill>
              </a:rPr>
              <a:t>  &amp; Falcon on HDI to manage</a:t>
            </a:r>
          </a:p>
          <a:p>
            <a:pPr lvl="1" defTabSz="914102"/>
            <a:r>
              <a:rPr lang="en-US" sz="1372" b="1" dirty="0" err="1">
                <a:gradFill>
                  <a:gsLst>
                    <a:gs pos="0">
                      <a:srgbClr val="FFFFFF"/>
                    </a:gs>
                    <a:gs pos="100000">
                      <a:srgbClr val="FFFFFF"/>
                    </a:gs>
                  </a:gsLst>
                  <a:lin ang="5400000" scaled="0"/>
                </a:gradFill>
              </a:rPr>
              <a:t>Sqoop</a:t>
            </a:r>
            <a:endParaRPr lang="en-US" sz="1372" b="1" dirty="0">
              <a:gradFill>
                <a:gsLst>
                  <a:gs pos="0">
                    <a:srgbClr val="FFFFFF"/>
                  </a:gs>
                  <a:gs pos="100000">
                    <a:srgbClr val="FFFFFF"/>
                  </a:gs>
                </a:gsLst>
                <a:lin ang="5400000" scaled="0"/>
              </a:gradFill>
            </a:endParaRPr>
          </a:p>
          <a:p>
            <a:pPr lvl="2" defTabSz="914102"/>
            <a:r>
              <a:rPr lang="en-US" sz="1372" b="1" dirty="0">
                <a:gradFill>
                  <a:gsLst>
                    <a:gs pos="0">
                      <a:srgbClr val="FFFFFF"/>
                    </a:gs>
                    <a:gs pos="100000">
                      <a:srgbClr val="FFFFFF"/>
                    </a:gs>
                  </a:gsLst>
                  <a:lin ang="5400000" scaled="0"/>
                </a:gradFill>
              </a:rPr>
              <a:t>Copy from relational DBs</a:t>
            </a:r>
          </a:p>
          <a:p>
            <a:pPr lvl="1" defTabSz="914102"/>
            <a:r>
              <a:rPr lang="en-US" sz="1372" b="1" dirty="0" err="1">
                <a:gradFill>
                  <a:gsLst>
                    <a:gs pos="0">
                      <a:srgbClr val="FFFFFF"/>
                    </a:gs>
                    <a:gs pos="100000">
                      <a:srgbClr val="FFFFFF"/>
                    </a:gs>
                  </a:gsLst>
                  <a:lin ang="5400000" scaled="0"/>
                </a:gradFill>
              </a:rPr>
              <a:t>Distcp</a:t>
            </a:r>
            <a:endParaRPr lang="en-US" sz="1372" b="1" dirty="0">
              <a:gradFill>
                <a:gsLst>
                  <a:gs pos="0">
                    <a:srgbClr val="FFFFFF"/>
                  </a:gs>
                  <a:gs pos="100000">
                    <a:srgbClr val="FFFFFF"/>
                  </a:gs>
                </a:gsLst>
                <a:lin ang="5400000" scaled="0"/>
              </a:gradFill>
            </a:endParaRPr>
          </a:p>
          <a:p>
            <a:pPr lvl="1" defTabSz="914102"/>
            <a:r>
              <a:rPr lang="en-US" sz="1372" b="1" dirty="0">
                <a:gradFill>
                  <a:gsLst>
                    <a:gs pos="0">
                      <a:srgbClr val="FFFFFF"/>
                    </a:gs>
                    <a:gs pos="100000">
                      <a:srgbClr val="FFFFFF"/>
                    </a:gs>
                  </a:gsLst>
                  <a:lin ang="5400000" scaled="0"/>
                </a:gradFill>
              </a:rPr>
              <a:t>	Copy from WASB</a:t>
            </a:r>
          </a:p>
          <a:p>
            <a:pPr defTabSz="914102"/>
            <a:r>
              <a:rPr lang="en-US" sz="1372" b="1" dirty="0">
                <a:gradFill>
                  <a:gsLst>
                    <a:gs pos="0">
                      <a:srgbClr val="FFFFFF"/>
                    </a:gs>
                    <a:gs pos="100000">
                      <a:srgbClr val="FFFFFF"/>
                    </a:gs>
                  </a:gsLst>
                  <a:lin ang="5400000" scaled="0"/>
                </a:gradFill>
              </a:rPr>
              <a:t>Use Storm to get streaming data from </a:t>
            </a:r>
            <a:r>
              <a:rPr lang="en-US" sz="1372" b="1" dirty="0" err="1">
                <a:gradFill>
                  <a:gsLst>
                    <a:gs pos="0">
                      <a:srgbClr val="FFFFFF"/>
                    </a:gs>
                    <a:gs pos="100000">
                      <a:srgbClr val="FFFFFF"/>
                    </a:gs>
                  </a:gsLst>
                  <a:lin ang="5400000" scaled="0"/>
                </a:gradFill>
              </a:rPr>
              <a:t>Eventhub</a:t>
            </a:r>
            <a:r>
              <a:rPr lang="en-US" sz="1372" b="1" dirty="0">
                <a:gradFill>
                  <a:gsLst>
                    <a:gs pos="0">
                      <a:srgbClr val="FFFFFF"/>
                    </a:gs>
                    <a:gs pos="100000">
                      <a:srgbClr val="FFFFFF"/>
                    </a:gs>
                  </a:gsLst>
                  <a:lin ang="5400000" scaled="0"/>
                </a:gradFill>
              </a:rPr>
              <a:t> / Kafka into ADLS</a:t>
            </a:r>
          </a:p>
        </p:txBody>
      </p:sp>
      <p:cxnSp>
        <p:nvCxnSpPr>
          <p:cNvPr id="5" name="Straight Connector 4"/>
          <p:cNvCxnSpPr>
            <a:stCxn id="7" idx="3"/>
            <a:endCxn id="12" idx="1"/>
          </p:cNvCxnSpPr>
          <p:nvPr/>
        </p:nvCxnSpPr>
        <p:spPr>
          <a:xfrm>
            <a:off x="6697281" y="1617761"/>
            <a:ext cx="738219"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stCxn id="26" idx="3"/>
            <a:endCxn id="39" idx="1"/>
          </p:cNvCxnSpPr>
          <p:nvPr/>
        </p:nvCxnSpPr>
        <p:spPr>
          <a:xfrm>
            <a:off x="6702865" y="3145177"/>
            <a:ext cx="70895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32" idx="3"/>
            <a:endCxn id="31" idx="1"/>
          </p:cNvCxnSpPr>
          <p:nvPr/>
        </p:nvCxnSpPr>
        <p:spPr>
          <a:xfrm>
            <a:off x="6697281" y="4275992"/>
            <a:ext cx="699797"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28" idx="3"/>
            <a:endCxn id="30" idx="1"/>
          </p:cNvCxnSpPr>
          <p:nvPr/>
        </p:nvCxnSpPr>
        <p:spPr>
          <a:xfrm>
            <a:off x="6697281" y="5184791"/>
            <a:ext cx="714538" cy="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29" idx="3"/>
            <a:endCxn id="33" idx="1"/>
          </p:cNvCxnSpPr>
          <p:nvPr/>
        </p:nvCxnSpPr>
        <p:spPr>
          <a:xfrm flipV="1">
            <a:off x="6697281" y="6081216"/>
            <a:ext cx="714538" cy="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0694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9"/>
                                        </p:tgtEl>
                                        <p:attrNameLst>
                                          <p:attrName>style.visibility</p:attrName>
                                        </p:attrNameLst>
                                      </p:cBhvr>
                                      <p:to>
                                        <p:strVal val="visible"/>
                                      </p:to>
                                    </p:set>
                                    <p:animEffect transition="in" filter="fade">
                                      <p:cBhvr>
                                        <p:cTn id="33" dur="500"/>
                                        <p:tgtEl>
                                          <p:spTgt spid="39"/>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fade">
                                      <p:cBhvr>
                                        <p:cTn id="38" dur="500"/>
                                        <p:tgtEl>
                                          <p:spTgt spid="32"/>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500"/>
                                        <p:tgtEl>
                                          <p:spTgt spid="31"/>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500"/>
                                        <p:tgtEl>
                                          <p:spTgt spid="25"/>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500"/>
                                        <p:tgtEl>
                                          <p:spTgt spid="21"/>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28"/>
                                        </p:tgtEl>
                                        <p:attrNameLst>
                                          <p:attrName>style.visibility</p:attrName>
                                        </p:attrNameLst>
                                      </p:cBhvr>
                                      <p:to>
                                        <p:strVal val="visible"/>
                                      </p:to>
                                    </p:set>
                                    <p:animEffect transition="in" filter="fade">
                                      <p:cBhvr>
                                        <p:cTn id="61" dur="500"/>
                                        <p:tgtEl>
                                          <p:spTgt spid="28"/>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nodeType="clickEffect">
                                  <p:stCondLst>
                                    <p:cond delay="0"/>
                                  </p:stCondLst>
                                  <p:childTnLst>
                                    <p:set>
                                      <p:cBhvr>
                                        <p:cTn id="65" dur="1" fill="hold">
                                          <p:stCondLst>
                                            <p:cond delay="0"/>
                                          </p:stCondLst>
                                        </p:cTn>
                                        <p:tgtEl>
                                          <p:spTgt spid="20"/>
                                        </p:tgtEl>
                                        <p:attrNameLst>
                                          <p:attrName>style.visibility</p:attrName>
                                        </p:attrNameLst>
                                      </p:cBhvr>
                                      <p:to>
                                        <p:strVal val="visible"/>
                                      </p:to>
                                    </p:set>
                                    <p:animEffect transition="in" filter="fade">
                                      <p:cBhvr>
                                        <p:cTn id="66" dur="500"/>
                                        <p:tgtEl>
                                          <p:spTgt spid="20"/>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30"/>
                                        </p:tgtEl>
                                        <p:attrNameLst>
                                          <p:attrName>style.visibility</p:attrName>
                                        </p:attrNameLst>
                                      </p:cBhvr>
                                      <p:to>
                                        <p:strVal val="visible"/>
                                      </p:to>
                                    </p:set>
                                    <p:animEffect transition="in" filter="fade">
                                      <p:cBhvr>
                                        <p:cTn id="69" dur="500"/>
                                        <p:tgtEl>
                                          <p:spTgt spid="30"/>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29"/>
                                        </p:tgtEl>
                                        <p:attrNameLst>
                                          <p:attrName>style.visibility</p:attrName>
                                        </p:attrNameLst>
                                      </p:cBhvr>
                                      <p:to>
                                        <p:strVal val="visible"/>
                                      </p:to>
                                    </p:set>
                                    <p:animEffect transition="in" filter="fade">
                                      <p:cBhvr>
                                        <p:cTn id="74" dur="500"/>
                                        <p:tgtEl>
                                          <p:spTgt spid="29"/>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nodeType="click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500"/>
                                        <p:tgtEl>
                                          <p:spTgt spid="23"/>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33"/>
                                        </p:tgtEl>
                                        <p:attrNameLst>
                                          <p:attrName>style.visibility</p:attrName>
                                        </p:attrNameLst>
                                      </p:cBhvr>
                                      <p:to>
                                        <p:strVal val="visible"/>
                                      </p:to>
                                    </p:set>
                                    <p:animEffect transition="in" filter="fade">
                                      <p:cBhvr>
                                        <p:cTn id="82" dur="500"/>
                                        <p:tgtEl>
                                          <p:spTgt spid="33"/>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27"/>
                                        </p:tgtEl>
                                        <p:attrNameLst>
                                          <p:attrName>style.visibility</p:attrName>
                                        </p:attrNameLst>
                                      </p:cBhvr>
                                      <p:to>
                                        <p:strVal val="visible"/>
                                      </p:to>
                                    </p:set>
                                    <p:animEffect transition="in" filter="fade">
                                      <p:cBhvr>
                                        <p:cTn id="8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12" grpId="0" animBg="1"/>
      <p:bldP spid="25" grpId="0" animBg="1"/>
      <p:bldP spid="21" grpId="0" animBg="1"/>
      <p:bldP spid="26" grpId="0" animBg="1"/>
      <p:bldP spid="27" grpId="0" animBg="1"/>
      <p:bldP spid="28" grpId="0" animBg="1"/>
      <p:bldP spid="29" grpId="0" animBg="1"/>
      <p:bldP spid="30" grpId="0" animBg="1"/>
      <p:bldP spid="31" grpId="0" animBg="1"/>
      <p:bldP spid="32" grpId="0" animBg="1"/>
      <p:bldP spid="33" grpId="0" animBg="1"/>
      <p:bldP spid="3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rgbClr val="0070C0"/>
                </a:solidFill>
              </a:rPr>
              <a:t>ADLS - Event Ingestion</a:t>
            </a:r>
          </a:p>
        </p:txBody>
      </p:sp>
      <p:sp>
        <p:nvSpPr>
          <p:cNvPr id="4" name="Rectangle 2"/>
          <p:cNvSpPr>
            <a:spLocks noChangeArrowheads="1"/>
          </p:cNvSpPr>
          <p:nvPr/>
        </p:nvSpPr>
        <p:spPr bwMode="auto">
          <a:xfrm flipV="1">
            <a:off x="1688578" y="2744737"/>
            <a:ext cx="16612988" cy="367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ctr" anchorCtr="0" compatLnSpc="1">
            <a:prstTxWarp prst="textNoShape">
              <a:avLst/>
            </a:prstTxWarp>
            <a:spAutoFit/>
          </a:bodyPr>
          <a:lstStyle/>
          <a:p>
            <a:endParaRPr lang="en-US"/>
          </a:p>
        </p:txBody>
      </p:sp>
      <p:graphicFrame>
        <p:nvGraphicFramePr>
          <p:cNvPr id="5" name="Object 4"/>
          <p:cNvGraphicFramePr>
            <a:graphicFrameLocks noChangeAspect="1"/>
          </p:cNvGraphicFramePr>
          <p:nvPr>
            <p:extLst>
              <p:ext uri="{D42A27DB-BD31-4B8C-83A1-F6EECF244321}">
                <p14:modId xmlns:p14="http://schemas.microsoft.com/office/powerpoint/2010/main" val="3957510428"/>
              </p:ext>
            </p:extLst>
          </p:nvPr>
        </p:nvGraphicFramePr>
        <p:xfrm>
          <a:off x="609600" y="1219200"/>
          <a:ext cx="10972800" cy="5535642"/>
        </p:xfrm>
        <a:graphic>
          <a:graphicData uri="http://schemas.openxmlformats.org/presentationml/2006/ole">
            <mc:AlternateContent xmlns:mc="http://schemas.openxmlformats.org/markup-compatibility/2006">
              <mc:Choice xmlns:v="urn:schemas-microsoft-com:vml" Requires="v">
                <p:oleObj spid="_x0000_s1102" name="Visio" r:id="rId4" imgW="6629302" imgH="3548030" progId="Visio.Drawing.15">
                  <p:embed/>
                </p:oleObj>
              </mc:Choice>
              <mc:Fallback>
                <p:oleObj name="Visio" r:id="rId4" imgW="6629302" imgH="3548030" progId="Visio.Drawing.15">
                  <p:embed/>
                  <p:pic>
                    <p:nvPicPr>
                      <p:cNvPr id="5" name="Object 4"/>
                      <p:cNvPicPr>
                        <a:picLocks noChangeAspect="1" noChangeArrowheads="1"/>
                      </p:cNvPicPr>
                      <p:nvPr/>
                    </p:nvPicPr>
                    <p:blipFill>
                      <a:blip r:embed="rId5"/>
                      <a:srcRect/>
                      <a:stretch>
                        <a:fillRect/>
                      </a:stretch>
                    </p:blipFill>
                    <p:spPr bwMode="auto">
                      <a:xfrm>
                        <a:off x="609600" y="1219200"/>
                        <a:ext cx="10972800" cy="5535642"/>
                      </a:xfrm>
                      <a:prstGeom prst="rect">
                        <a:avLst/>
                      </a:prstGeom>
                      <a:noFill/>
                    </p:spPr>
                  </p:pic>
                </p:oleObj>
              </mc:Fallback>
            </mc:AlternateContent>
          </a:graphicData>
        </a:graphic>
      </p:graphicFrame>
    </p:spTree>
    <p:extLst>
      <p:ext uri="{BB962C8B-B14F-4D97-AF65-F5344CB8AC3E}">
        <p14:creationId xmlns:p14="http://schemas.microsoft.com/office/powerpoint/2010/main" val="27016004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148319" y="2321327"/>
            <a:ext cx="348337" cy="2133124"/>
            <a:chOff x="10611830" y="3082745"/>
            <a:chExt cx="355373"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V="1">
              <a:off x="10840460" y="4103083"/>
              <a:ext cx="126743" cy="4084"/>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1106937" y="5468794"/>
            <a:ext cx="251736" cy="639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9066570" y="5005406"/>
            <a:ext cx="2095426" cy="1222327"/>
            <a:chOff x="8538017" y="4739224"/>
            <a:chExt cx="2137748" cy="1005840"/>
          </a:xfrm>
        </p:grpSpPr>
        <p:sp>
          <p:nvSpPr>
            <p:cNvPr id="45" name="Rectangle 44"/>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p>
          </p:txBody>
        </p:sp>
        <p:sp>
          <p:nvSpPr>
            <p:cNvPr id="129" name="Rectangle 128"/>
            <p:cNvSpPr/>
            <p:nvPr/>
          </p:nvSpPr>
          <p:spPr>
            <a:xfrm>
              <a:off x="9204618" y="5056791"/>
              <a:ext cx="1393474" cy="522361"/>
            </a:xfrm>
            <a:prstGeom prst="rect">
              <a:avLst/>
            </a:prstGeom>
          </p:spPr>
          <p:txBody>
            <a:bodyPr wrap="none">
              <a:spAutoFit/>
            </a:bodyPr>
            <a:lstStyle/>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Recommendations,</a:t>
              </a:r>
            </a:p>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customer churn,</a:t>
              </a:r>
            </a:p>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forecasting, etc.</a:t>
              </a:r>
            </a:p>
          </p:txBody>
        </p:sp>
        <p:grpSp>
          <p:nvGrpSpPr>
            <p:cNvPr id="128" name="Group 127"/>
            <p:cNvGrpSpPr/>
            <p:nvPr/>
          </p:nvGrpSpPr>
          <p:grpSpPr>
            <a:xfrm>
              <a:off x="8754885" y="5208429"/>
              <a:ext cx="433307" cy="352792"/>
              <a:chOff x="-2530475" y="305948"/>
              <a:chExt cx="1119187" cy="911226"/>
            </a:xfrm>
            <a:solidFill>
              <a:schemeClr val="bg1"/>
            </a:solidFill>
          </p:grpSpPr>
          <p:sp>
            <p:nvSpPr>
              <p:cNvPr id="15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896328"/>
                <a:endParaRPr lang="en-US" sz="1766" kern="0">
                  <a:solidFill>
                    <a:srgbClr val="FFFFFF"/>
                  </a:solidFill>
                  <a:ea typeface="MS PGothic" panose="020B0600070205080204" pitchFamily="34" charset="-128"/>
                </a:endParaRPr>
              </a:p>
            </p:txBody>
          </p:sp>
          <p:sp>
            <p:nvSpPr>
              <p:cNvPr id="15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896328"/>
                <a:endParaRPr lang="en-US" sz="1766" kern="0">
                  <a:solidFill>
                    <a:srgbClr val="FFFFFF"/>
                  </a:solidFill>
                  <a:ea typeface="MS PGothic" panose="020B0600070205080204" pitchFamily="34" charset="-128"/>
                </a:endParaRPr>
              </a:p>
            </p:txBody>
          </p:sp>
          <p:sp>
            <p:nvSpPr>
              <p:cNvPr id="15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896328"/>
                <a:endParaRPr lang="en-US" sz="1766" kern="0">
                  <a:solidFill>
                    <a:srgbClr val="FFFFFF"/>
                  </a:solidFill>
                  <a:ea typeface="MS PGothic" panose="020B0600070205080204" pitchFamily="34" charset="-128"/>
                </a:endParaRPr>
              </a:p>
            </p:txBody>
          </p:sp>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896328"/>
                <a:endParaRPr lang="en-US" sz="1766" kern="0">
                  <a:solidFill>
                    <a:srgbClr val="FFFFFF"/>
                  </a:solidFill>
                  <a:ea typeface="MS PGothic" panose="020B0600070205080204" pitchFamily="34" charset="-128"/>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896328"/>
                <a:endParaRPr lang="en-US" sz="1766" kern="0">
                  <a:solidFill>
                    <a:srgbClr val="FFFFFF"/>
                  </a:solidFill>
                  <a:ea typeface="MS PGothic" panose="020B0600070205080204" pitchFamily="34" charset="-128"/>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896328"/>
                <a:endParaRPr lang="en-US" sz="1766" kern="0">
                  <a:solidFill>
                    <a:srgbClr val="FFFFFF"/>
                  </a:solidFill>
                  <a:ea typeface="MS PGothic" panose="020B0600070205080204" pitchFamily="34" charset="-128"/>
                </a:endParaRPr>
              </a:p>
            </p:txBody>
          </p:sp>
        </p:grpSp>
      </p:grpSp>
      <p:grpSp>
        <p:nvGrpSpPr>
          <p:cNvPr id="15" name="Group 14"/>
          <p:cNvGrpSpPr/>
          <p:nvPr/>
        </p:nvGrpSpPr>
        <p:grpSpPr>
          <a:xfrm>
            <a:off x="9066570" y="3913835"/>
            <a:ext cx="2095428" cy="985927"/>
            <a:chOff x="8538016" y="3277427"/>
            <a:chExt cx="2137749" cy="1005840"/>
          </a:xfrm>
        </p:grpSpPr>
        <p:sp>
          <p:nvSpPr>
            <p:cNvPr id="96" name="Rectangle 95"/>
            <p:cNvSpPr/>
            <p:nvPr/>
          </p:nvSpPr>
          <p:spPr bwMode="auto">
            <a:xfrm>
              <a:off x="8538016" y="327742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Intelligence</a:t>
              </a:r>
            </a:p>
          </p:txBody>
        </p:sp>
        <p:sp>
          <p:nvSpPr>
            <p:cNvPr id="125" name="Rectangle 124"/>
            <p:cNvSpPr/>
            <p:nvPr/>
          </p:nvSpPr>
          <p:spPr>
            <a:xfrm>
              <a:off x="9204619" y="3670433"/>
              <a:ext cx="887228" cy="276910"/>
            </a:xfrm>
            <a:prstGeom prst="rect">
              <a:avLst/>
            </a:prstGeom>
          </p:spPr>
          <p:txBody>
            <a:bodyPr wrap="none">
              <a:spAutoFit/>
            </a:bodyPr>
            <a:lstStyle/>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Face, vision</a:t>
              </a:r>
            </a:p>
          </p:txBody>
        </p:sp>
        <p:sp>
          <p:nvSpPr>
            <p:cNvPr id="126" name="Rectangle 125"/>
            <p:cNvSpPr/>
            <p:nvPr/>
          </p:nvSpPr>
          <p:spPr>
            <a:xfrm>
              <a:off x="9204619" y="3990981"/>
              <a:ext cx="933721" cy="276910"/>
            </a:xfrm>
            <a:prstGeom prst="rect">
              <a:avLst/>
            </a:prstGeom>
          </p:spPr>
          <p:txBody>
            <a:bodyPr wrap="none">
              <a:spAutoFit/>
            </a:bodyPr>
            <a:lstStyle/>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peech, text</a:t>
              </a:r>
            </a:p>
          </p:txBody>
        </p:sp>
        <p:grpSp>
          <p:nvGrpSpPr>
            <p:cNvPr id="95" name="Group 94"/>
            <p:cNvGrpSpPr/>
            <p:nvPr/>
          </p:nvGrpSpPr>
          <p:grpSpPr>
            <a:xfrm>
              <a:off x="8892356" y="367609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896291"/>
                  <a:endParaRPr lang="en-US" sz="1667" kern="0">
                    <a:solidFill>
                      <a:srgbClr val="FFFFFF"/>
                    </a:solidFill>
                    <a:ea typeface="MS PGothic" panose="020B0600070205080204" pitchFamily="34" charset="-128"/>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896291"/>
                  <a:endParaRPr lang="en-US" sz="1667" kern="0">
                    <a:solidFill>
                      <a:srgbClr val="FFFFFF"/>
                    </a:solidFill>
                    <a:ea typeface="MS PGothic" panose="020B0600070205080204" pitchFamily="34" charset="-128"/>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896291"/>
                  <a:endParaRPr lang="en-US" sz="1667" kern="0">
                    <a:solidFill>
                      <a:srgbClr val="FFFFFF"/>
                    </a:solidFill>
                    <a:ea typeface="MS PGothic" panose="020B0600070205080204" pitchFamily="34" charset="-128"/>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5" name="Group 24"/>
          <p:cNvGrpSpPr/>
          <p:nvPr/>
        </p:nvGrpSpPr>
        <p:grpSpPr>
          <a:xfrm>
            <a:off x="9056668" y="2852660"/>
            <a:ext cx="2105332" cy="965773"/>
            <a:chOff x="8527913" y="2888721"/>
            <a:chExt cx="2147853" cy="1005840"/>
          </a:xfrm>
        </p:grpSpPr>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p>
          </p:txBody>
        </p:sp>
        <p:sp>
          <p:nvSpPr>
            <p:cNvPr id="166" name="Rectangle 165"/>
            <p:cNvSpPr/>
            <p:nvPr/>
          </p:nvSpPr>
          <p:spPr>
            <a:xfrm>
              <a:off x="9194516" y="3376977"/>
              <a:ext cx="685158" cy="284484"/>
            </a:xfrm>
            <a:prstGeom prst="rect">
              <a:avLst/>
            </a:prstGeom>
          </p:spPr>
          <p:txBody>
            <a:bodyPr wrap="none">
              <a:spAutoFit/>
            </a:bodyPr>
            <a:lstStyle/>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sp>
        <p:nvSpPr>
          <p:cNvPr id="44" name="Rectangle 43"/>
          <p:cNvSpPr/>
          <p:nvPr/>
        </p:nvSpPr>
        <p:spPr bwMode="auto">
          <a:xfrm>
            <a:off x="9066571" y="1433379"/>
            <a:ext cx="2095429" cy="1305813"/>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iscovery &amp; Visualization</a:t>
            </a:r>
          </a:p>
        </p:txBody>
      </p:sp>
      <p:grpSp>
        <p:nvGrpSpPr>
          <p:cNvPr id="68" name="Group 67"/>
          <p:cNvGrpSpPr/>
          <p:nvPr/>
        </p:nvGrpSpPr>
        <p:grpSpPr>
          <a:xfrm>
            <a:off x="9369900" y="1900448"/>
            <a:ext cx="391208" cy="25004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endParaRPr lang="en-US" sz="1766" kern="0">
                <a:solidFill>
                  <a:srgbClr val="FFFFFF"/>
                </a:solidFill>
                <a:ea typeface="MS PGothic" panose="020B0600070205080204" pitchFamily="34" charset="-128"/>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endParaRPr lang="en-US" sz="1766" kern="0">
                <a:solidFill>
                  <a:srgbClr val="FFFFFF"/>
                </a:solidFill>
                <a:ea typeface="MS PGothic" panose="020B0600070205080204" pitchFamily="34" charset="-128"/>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endParaRPr lang="en-US" sz="1766" kern="0">
                <a:solidFill>
                  <a:srgbClr val="FFFFFF"/>
                </a:solidFill>
                <a:ea typeface="MS PGothic" panose="020B0600070205080204" pitchFamily="34" charset="-128"/>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endParaRPr lang="en-US" sz="1766" kern="0">
                <a:solidFill>
                  <a:srgbClr val="FFFFFF"/>
                </a:solidFill>
                <a:ea typeface="MS PGothic" panose="020B0600070205080204" pitchFamily="34" charset="-128"/>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endParaRPr lang="en-US" sz="1766" kern="0">
                <a:solidFill>
                  <a:srgbClr val="FFFFFF"/>
                </a:solidFill>
                <a:ea typeface="MS PGothic" panose="020B0600070205080204" pitchFamily="34" charset="-128"/>
              </a:endParaRPr>
            </a:p>
          </p:txBody>
        </p:sp>
      </p:grpSp>
      <p:sp>
        <p:nvSpPr>
          <p:cNvPr id="86" name="Rectangle 85"/>
          <p:cNvSpPr/>
          <p:nvPr/>
        </p:nvSpPr>
        <p:spPr>
          <a:xfrm>
            <a:off x="9719973" y="1887637"/>
            <a:ext cx="718172" cy="271428"/>
          </a:xfrm>
          <a:prstGeom prst="rect">
            <a:avLst/>
          </a:prstGeom>
        </p:spPr>
        <p:txBody>
          <a:bodyPr wrap="none">
            <a:spAutoFit/>
          </a:bodyPr>
          <a:lstStyle/>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Power BI</a:t>
            </a:r>
          </a:p>
        </p:txBody>
      </p:sp>
      <p:sp>
        <p:nvSpPr>
          <p:cNvPr id="43" name="Rectangle 42"/>
          <p:cNvSpPr/>
          <p:nvPr/>
        </p:nvSpPr>
        <p:spPr bwMode="auto">
          <a:xfrm>
            <a:off x="4098330" y="1439701"/>
            <a:ext cx="4477857" cy="2864912"/>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reparation, Analytics and Machine Learning</a:t>
            </a:r>
          </a:p>
        </p:txBody>
      </p:sp>
      <p:sp>
        <p:nvSpPr>
          <p:cNvPr id="183" name="Freeform 389"/>
          <p:cNvSpPr>
            <a:spLocks noEditPoints="1"/>
          </p:cNvSpPr>
          <p:nvPr/>
        </p:nvSpPr>
        <p:spPr bwMode="auto">
          <a:xfrm>
            <a:off x="9582795" y="338353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896291"/>
            <a:endParaRPr lang="en-US" sz="1667" kern="0">
              <a:solidFill>
                <a:srgbClr val="FFFFFF"/>
              </a:solidFill>
              <a:ea typeface="MS PGothic" panose="020B0600070205080204" pitchFamily="34" charset="-128"/>
            </a:endParaRPr>
          </a:p>
        </p:txBody>
      </p:sp>
      <p:sp>
        <p:nvSpPr>
          <p:cNvPr id="5" name="Title 1"/>
          <p:cNvSpPr>
            <a:spLocks noGrp="1"/>
          </p:cNvSpPr>
          <p:nvPr>
            <p:ph type="title"/>
          </p:nvPr>
        </p:nvSpPr>
        <p:spPr>
          <a:xfrm>
            <a:off x="266213" y="222560"/>
            <a:ext cx="11654187" cy="899537"/>
          </a:xfrm>
          <a:prstGeom prst="rect">
            <a:avLst/>
          </a:prstGeom>
        </p:spPr>
        <p:txBody>
          <a:bodyPr/>
          <a:lstStyle/>
          <a:p>
            <a:r>
              <a:rPr lang="en-US" dirty="0">
                <a:solidFill>
                  <a:srgbClr val="0070C0"/>
                </a:solidFill>
              </a:rPr>
              <a:t>Big Data Analytics – Pipelines</a:t>
            </a:r>
            <a:endParaRPr lang="en-US" sz="3527" dirty="0">
              <a:solidFill>
                <a:srgbClr val="0070C0"/>
              </a:solidFill>
            </a:endParaRPr>
          </a:p>
        </p:txBody>
      </p:sp>
      <p:sp>
        <p:nvSpPr>
          <p:cNvPr id="20" name="Rectangle 19"/>
          <p:cNvSpPr/>
          <p:nvPr/>
        </p:nvSpPr>
        <p:spPr>
          <a:xfrm>
            <a:off x="54910" y="6234714"/>
            <a:ext cx="662541" cy="331773"/>
          </a:xfrm>
          <a:prstGeom prst="rect">
            <a:avLst/>
          </a:prstGeom>
        </p:spPr>
        <p:txBody>
          <a:bodyPr wrap="none">
            <a:spAutoFit/>
          </a:bodyPr>
          <a:lstStyle/>
          <a:p>
            <a:pPr algn="ctr" defTabSz="710682">
              <a:spcAft>
                <a:spcPct val="35000"/>
              </a:spcAft>
            </a:pPr>
            <a:r>
              <a:rPr lang="en-US" sz="1567" b="1" kern="0" spc="-29" dirty="0">
                <a:solidFill>
                  <a:srgbClr val="00B0F0"/>
                </a:solidFill>
                <a:latin typeface="Segoe UI Semilight" panose="020B0402040204020203" pitchFamily="34" charset="0"/>
                <a:ea typeface="MS PGothic" panose="020B0600070205080204" pitchFamily="34" charset="-128"/>
                <a:cs typeface="Segoe UI Semilight" panose="020B0402040204020203" pitchFamily="34" charset="0"/>
              </a:rPr>
              <a:t>DATA</a:t>
            </a:r>
          </a:p>
        </p:txBody>
      </p:sp>
      <p:grpSp>
        <p:nvGrpSpPr>
          <p:cNvPr id="6" name="Group 5"/>
          <p:cNvGrpSpPr/>
          <p:nvPr/>
        </p:nvGrpSpPr>
        <p:grpSpPr>
          <a:xfrm>
            <a:off x="0" y="2046382"/>
            <a:ext cx="1520438" cy="3738682"/>
            <a:chOff x="257117" y="2132701"/>
            <a:chExt cx="1551146" cy="3814192"/>
          </a:xfrm>
        </p:grpSpPr>
        <p:cxnSp>
          <p:nvCxnSpPr>
            <p:cNvPr id="87" name="Straight Connector 86"/>
            <p:cNvCxnSpPr/>
            <p:nvPr/>
          </p:nvCxnSpPr>
          <p:spPr>
            <a:xfrm>
              <a:off x="1166860"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058843" y="2407298"/>
              <a:ext cx="101591"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952256" y="3768267"/>
              <a:ext cx="341645"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051804" y="5136855"/>
              <a:ext cx="122920"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endParaRPr lang="en-US" sz="1766" kern="0">
                <a:solidFill>
                  <a:srgbClr val="333333"/>
                </a:solidFill>
                <a:ea typeface="MS PGothic" panose="020B0600070205080204" pitchFamily="34" charset="-128"/>
              </a:endParaRPr>
            </a:p>
          </p:txBody>
        </p:sp>
        <p:sp>
          <p:nvSpPr>
            <p:cNvPr id="3" name="TextBox 2"/>
            <p:cNvSpPr txBox="1"/>
            <p:nvPr/>
          </p:nvSpPr>
          <p:spPr>
            <a:xfrm>
              <a:off x="290952" y="2519818"/>
              <a:ext cx="1239880" cy="614018"/>
            </a:xfrm>
            <a:prstGeom prst="rect">
              <a:avLst/>
            </a:prstGeom>
            <a:noFill/>
          </p:spPr>
          <p:txBody>
            <a:bodyPr wrap="square" lIns="179235" tIns="143388" rIns="179235" bIns="143388" rtlCol="0">
              <a:spAutoFit/>
            </a:bodyPr>
            <a:lstStyle/>
            <a:p>
              <a:pPr defTabSz="914132">
                <a:lnSpc>
                  <a:spcPct val="90000"/>
                </a:lnSpc>
                <a:spcAft>
                  <a:spcPts val="588"/>
                </a:spcAft>
              </a:pPr>
              <a:r>
                <a:rPr lang="en-US" sz="1127" kern="0" spc="-29" dirty="0">
                  <a:latin typeface="Segoe UI Semilight" panose="020B0402040204020203" pitchFamily="34" charset="0"/>
                  <a:ea typeface="MS PGothic" panose="020B0600070205080204" pitchFamily="34" charset="-128"/>
                  <a:cs typeface="Segoe UI Semilight" panose="020B0402040204020203" pitchFamily="34" charset="0"/>
                </a:rPr>
                <a:t>Business </a:t>
              </a:r>
              <a:br>
                <a:rPr lang="en-US" sz="1127" kern="0" spc="-29" dirty="0">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106" name="TextBox 105"/>
            <p:cNvSpPr txBox="1"/>
            <p:nvPr/>
          </p:nvSpPr>
          <p:spPr>
            <a:xfrm>
              <a:off x="286638" y="4033284"/>
              <a:ext cx="1239880" cy="614018"/>
            </a:xfrm>
            <a:prstGeom prst="rect">
              <a:avLst/>
            </a:prstGeom>
            <a:noFill/>
          </p:spPr>
          <p:txBody>
            <a:bodyPr wrap="square" lIns="179235" tIns="143388" rIns="179235" bIns="143388" rtlCol="0">
              <a:spAutoFit/>
            </a:bodyPr>
            <a:lstStyle/>
            <a:p>
              <a:pPr defTabSz="914132">
                <a:lnSpc>
                  <a:spcPct val="90000"/>
                </a:lnSpc>
                <a:spcAft>
                  <a:spcPts val="588"/>
                </a:spcAft>
              </a:pPr>
              <a:r>
                <a:rPr lang="en-US" sz="1127" kern="0" spc="-29" dirty="0">
                  <a:latin typeface="Segoe UI Semilight" panose="020B0402040204020203" pitchFamily="34" charset="0"/>
                  <a:ea typeface="MS PGothic" panose="020B0600070205080204" pitchFamily="34" charset="-128"/>
                  <a:cs typeface="Segoe UI Semilight" panose="020B0402040204020203" pitchFamily="34" charset="0"/>
                </a:rPr>
                <a:t>Custom </a:t>
              </a:r>
              <a:br>
                <a:rPr lang="en-US" sz="1127" kern="0" spc="-29" dirty="0">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endParaRPr lang="en-US" sz="1766" kern="0">
                <a:solidFill>
                  <a:srgbClr val="333333"/>
                </a:solidFill>
                <a:ea typeface="MS PGothic" panose="020B0600070205080204" pitchFamily="34" charset="-128"/>
              </a:endParaRPr>
            </a:p>
          </p:txBody>
        </p:sp>
        <p:sp>
          <p:nvSpPr>
            <p:cNvPr id="110" name="TextBox 109"/>
            <p:cNvSpPr txBox="1"/>
            <p:nvPr/>
          </p:nvSpPr>
          <p:spPr>
            <a:xfrm>
              <a:off x="257117" y="5332875"/>
              <a:ext cx="1551146" cy="614018"/>
            </a:xfrm>
            <a:prstGeom prst="rect">
              <a:avLst/>
            </a:prstGeom>
            <a:noFill/>
          </p:spPr>
          <p:txBody>
            <a:bodyPr wrap="square" lIns="179235" tIns="143388" rIns="179235" bIns="143388" rtlCol="0">
              <a:spAutoFit/>
            </a:bodyPr>
            <a:lstStyle/>
            <a:p>
              <a:pPr defTabSz="914132">
                <a:lnSpc>
                  <a:spcPct val="90000"/>
                </a:lnSpc>
                <a:spcAft>
                  <a:spcPts val="588"/>
                </a:spcAft>
              </a:pPr>
              <a:r>
                <a:rPr lang="en-US" sz="1127" kern="0" spc="-29" dirty="0">
                  <a:latin typeface="Segoe UI Semilight" panose="020B0402040204020203" pitchFamily="34" charset="0"/>
                  <a:ea typeface="MS PGothic" panose="020B0600070205080204" pitchFamily="34" charset="-128"/>
                  <a:cs typeface="Segoe UI Semilight" panose="020B0402040204020203" pitchFamily="34" charset="0"/>
                </a:rPr>
                <a:t>Sensors </a:t>
              </a:r>
              <a:br>
                <a:rPr lang="en-US" sz="1127" kern="0" spc="-29" dirty="0">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latin typeface="Segoe UI Semilight" panose="020B0402040204020203" pitchFamily="34" charset="0"/>
                  <a:ea typeface="MS PGothic" panose="020B0600070205080204" pitchFamily="34" charset="-128"/>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17" tIns="44808" rIns="89617" bIns="44808" numCol="1" anchor="t" anchorCtr="0" compatLnSpc="1">
              <a:prstTxWarp prst="textNoShape">
                <a:avLst/>
              </a:prstTxWarp>
            </a:bodyPr>
            <a:lstStyle/>
            <a:p>
              <a:pPr defTabSz="914132"/>
              <a:endParaRPr lang="en-US" sz="1766" kern="0">
                <a:solidFill>
                  <a:srgbClr val="333333"/>
                </a:solidFill>
                <a:ea typeface="MS PGothic" panose="020B0600070205080204" pitchFamily="34" charset="-128"/>
              </a:endParaRPr>
            </a:p>
          </p:txBody>
        </p:sp>
      </p:grpSp>
      <p:sp>
        <p:nvSpPr>
          <p:cNvPr id="21" name="Rectangle 20"/>
          <p:cNvSpPr/>
          <p:nvPr/>
        </p:nvSpPr>
        <p:spPr>
          <a:xfrm>
            <a:off x="5361287" y="6227734"/>
            <a:ext cx="1380398" cy="331773"/>
          </a:xfrm>
          <a:prstGeom prst="rect">
            <a:avLst/>
          </a:prstGeom>
        </p:spPr>
        <p:txBody>
          <a:bodyPr wrap="none">
            <a:spAutoFit/>
          </a:bodyPr>
          <a:lstStyle/>
          <a:p>
            <a:pPr algn="ctr" defTabSz="710682">
              <a:spcAft>
                <a:spcPct val="35000"/>
              </a:spcAft>
            </a:pPr>
            <a:r>
              <a:rPr lang="en-US" sz="1567" b="1" kern="0" spc="-29" dirty="0">
                <a:solidFill>
                  <a:srgbClr val="00B0F0"/>
                </a:solidFill>
                <a:latin typeface="Segoe UI Semilight" panose="020B0402040204020203" pitchFamily="34" charset="0"/>
                <a:ea typeface="MS PGothic" panose="020B0600070205080204" pitchFamily="34" charset="-128"/>
                <a:cs typeface="Segoe UI Semilight" panose="020B0402040204020203" pitchFamily="34" charset="0"/>
              </a:rPr>
              <a:t>INTELLIGENCE</a:t>
            </a:r>
          </a:p>
        </p:txBody>
      </p:sp>
      <p:sp>
        <p:nvSpPr>
          <p:cNvPr id="2" name="Right Arrow 1"/>
          <p:cNvSpPr/>
          <p:nvPr/>
        </p:nvSpPr>
        <p:spPr bwMode="auto">
          <a:xfrm>
            <a:off x="941558" y="6266397"/>
            <a:ext cx="4195818" cy="254476"/>
          </a:xfrm>
          <a:prstGeom prst="rightArrow">
            <a:avLst/>
          </a:prstGeom>
          <a:solidFill>
            <a:srgbClr val="0080EA"/>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Aft>
                <a:spcPct val="35000"/>
              </a:spcAft>
            </a:pPr>
            <a:endParaRPr lang="en-US" sz="1567" b="1" kern="0" spc="-29" dirty="0" err="1">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22" name="Rectangle 21"/>
          <p:cNvSpPr/>
          <p:nvPr/>
        </p:nvSpPr>
        <p:spPr>
          <a:xfrm>
            <a:off x="11175741" y="6227734"/>
            <a:ext cx="862434" cy="331773"/>
          </a:xfrm>
          <a:prstGeom prst="rect">
            <a:avLst/>
          </a:prstGeom>
        </p:spPr>
        <p:txBody>
          <a:bodyPr wrap="square">
            <a:spAutoFit/>
          </a:bodyPr>
          <a:lstStyle/>
          <a:p>
            <a:pPr algn="ctr" defTabSz="710682">
              <a:spcAft>
                <a:spcPct val="35000"/>
              </a:spcAft>
            </a:pPr>
            <a:r>
              <a:rPr lang="en-US" sz="1567" b="1" kern="0" spc="-29" dirty="0">
                <a:solidFill>
                  <a:srgbClr val="00B0F0"/>
                </a:solidFill>
                <a:latin typeface="Segoe UI Semilight" panose="020B0402040204020203" pitchFamily="34" charset="0"/>
                <a:ea typeface="MS PGothic" panose="020B0600070205080204" pitchFamily="34" charset="-128"/>
                <a:cs typeface="Segoe UI Semilight" panose="020B0402040204020203" pitchFamily="34" charset="0"/>
              </a:rPr>
              <a:t>ACTION</a:t>
            </a:r>
          </a:p>
        </p:txBody>
      </p:sp>
      <p:grpSp>
        <p:nvGrpSpPr>
          <p:cNvPr id="18" name="Group 17"/>
          <p:cNvGrpSpPr/>
          <p:nvPr/>
        </p:nvGrpSpPr>
        <p:grpSpPr>
          <a:xfrm>
            <a:off x="11175741" y="3016252"/>
            <a:ext cx="1215336" cy="1033565"/>
            <a:chOff x="10920388" y="2780901"/>
            <a:chExt cx="1239881" cy="1054439"/>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endParaRPr lang="en-US" sz="1766" kern="0">
                  <a:solidFill>
                    <a:srgbClr val="333333"/>
                  </a:solidFill>
                  <a:ea typeface="MS PGothic" panose="020B0600070205080204" pitchFamily="34" charset="-128"/>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endParaRPr lang="en-US" sz="1766" kern="0">
                  <a:solidFill>
                    <a:srgbClr val="333333"/>
                  </a:solidFill>
                  <a:ea typeface="MS PGothic" panose="020B0600070205080204" pitchFamily="34" charset="-128"/>
                </a:endParaRPr>
              </a:p>
            </p:txBody>
          </p:sp>
        </p:grpSp>
        <p:sp>
          <p:nvSpPr>
            <p:cNvPr id="119" name="TextBox 118"/>
            <p:cNvSpPr txBox="1"/>
            <p:nvPr/>
          </p:nvSpPr>
          <p:spPr>
            <a:xfrm>
              <a:off x="10920388" y="3380619"/>
              <a:ext cx="1239881" cy="454721"/>
            </a:xfrm>
            <a:prstGeom prst="rect">
              <a:avLst/>
            </a:prstGeom>
            <a:noFill/>
          </p:spPr>
          <p:txBody>
            <a:bodyPr wrap="square" lIns="179235" tIns="143388" rIns="179235" bIns="143388" rtlCol="0">
              <a:spAutoFit/>
            </a:bodyPr>
            <a:lstStyle/>
            <a:p>
              <a:pPr algn="ctr" defTabSz="914132">
                <a:lnSpc>
                  <a:spcPct val="90000"/>
                </a:lnSpc>
                <a:spcAft>
                  <a:spcPts val="588"/>
                </a:spcAft>
              </a:pPr>
              <a:r>
                <a:rPr lang="en-US" sz="1127" kern="0" spc="-29" dirty="0">
                  <a:latin typeface="Segoe UI Semilight" panose="020B0402040204020203" pitchFamily="34" charset="0"/>
                  <a:ea typeface="MS PGothic" panose="020B0600070205080204" pitchFamily="34" charset="-128"/>
                  <a:cs typeface="Segoe UI Semilight" panose="020B0402040204020203" pitchFamily="34" charset="0"/>
                </a:rPr>
                <a:t>People</a:t>
              </a:r>
            </a:p>
          </p:txBody>
        </p:sp>
      </p:grpSp>
      <p:grpSp>
        <p:nvGrpSpPr>
          <p:cNvPr id="19" name="Group 18"/>
          <p:cNvGrpSpPr/>
          <p:nvPr/>
        </p:nvGrpSpPr>
        <p:grpSpPr>
          <a:xfrm>
            <a:off x="11250442" y="4984885"/>
            <a:ext cx="1055725" cy="1282793"/>
            <a:chOff x="11084791" y="4760710"/>
            <a:chExt cx="1077047" cy="1308702"/>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89617" tIns="44808" rIns="89617" bIns="44808" numCol="1" anchor="t" anchorCtr="0" compatLnSpc="1">
                <a:prstTxWarp prst="textNoShape">
                  <a:avLst/>
                </a:prstTxWarp>
              </a:bodyPr>
              <a:lstStyle/>
              <a:p>
                <a:pPr defTabSz="914132"/>
                <a:endParaRPr lang="en-US" sz="1766" kern="0">
                  <a:solidFill>
                    <a:srgbClr val="333333"/>
                  </a:solidFill>
                  <a:ea typeface="MS PGothic" panose="020B0600070205080204" pitchFamily="34" charset="-128"/>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89617" tIns="44808" rIns="89617" bIns="44808" numCol="1" anchor="t" anchorCtr="0" compatLnSpc="1">
                <a:prstTxWarp prst="textNoShape">
                  <a:avLst/>
                </a:prstTxWarp>
              </a:bodyPr>
              <a:lstStyle/>
              <a:p>
                <a:pPr defTabSz="914132"/>
                <a:endParaRPr lang="en-US" sz="1766" kern="0">
                  <a:solidFill>
                    <a:srgbClr val="333333"/>
                  </a:solidFill>
                  <a:ea typeface="MS PGothic" panose="020B0600070205080204" pitchFamily="34" charset="-128"/>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89617" tIns="44808" rIns="89617" bIns="44808" numCol="1" anchor="t" anchorCtr="0" compatLnSpc="1">
                <a:prstTxWarp prst="textNoShape">
                  <a:avLst/>
                </a:prstTxWarp>
              </a:bodyPr>
              <a:lstStyle/>
              <a:p>
                <a:pPr defTabSz="914132"/>
                <a:endParaRPr lang="en-US" sz="1766" kern="0">
                  <a:solidFill>
                    <a:srgbClr val="333333"/>
                  </a:solidFill>
                  <a:ea typeface="MS PGothic" panose="020B0600070205080204" pitchFamily="34" charset="-128"/>
                </a:endParaRPr>
              </a:p>
            </p:txBody>
          </p:sp>
        </p:grpSp>
        <p:sp>
          <p:nvSpPr>
            <p:cNvPr id="124" name="TextBox 123"/>
            <p:cNvSpPr txBox="1"/>
            <p:nvPr/>
          </p:nvSpPr>
          <p:spPr>
            <a:xfrm>
              <a:off x="11084791" y="5455394"/>
              <a:ext cx="1077047" cy="614018"/>
            </a:xfrm>
            <a:prstGeom prst="rect">
              <a:avLst/>
            </a:prstGeom>
            <a:noFill/>
          </p:spPr>
          <p:txBody>
            <a:bodyPr wrap="square" lIns="179235" tIns="143388" rIns="179235" bIns="143388" rtlCol="0">
              <a:spAutoFit/>
            </a:bodyPr>
            <a:lstStyle/>
            <a:p>
              <a:pPr defTabSz="914132">
                <a:lnSpc>
                  <a:spcPct val="90000"/>
                </a:lnSpc>
                <a:spcAft>
                  <a:spcPts val="588"/>
                </a:spcAft>
              </a:pPr>
              <a:r>
                <a:rPr lang="en-US" sz="1127" kern="0" spc="-29" dirty="0">
                  <a:latin typeface="Segoe UI Semilight" panose="020B0402040204020203" pitchFamily="34" charset="0"/>
                  <a:ea typeface="MS PGothic" panose="020B0600070205080204" pitchFamily="34" charset="-128"/>
                  <a:cs typeface="Segoe UI Semilight" panose="020B0402040204020203" pitchFamily="34" charset="0"/>
                </a:rPr>
                <a:t>Automated </a:t>
              </a:r>
              <a:br>
                <a:rPr lang="en-US" sz="1127" kern="0" spc="-29" dirty="0">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latin typeface="Segoe UI Semilight" panose="020B0402040204020203" pitchFamily="34" charset="0"/>
                  <a:ea typeface="MS PGothic" panose="020B0600070205080204" pitchFamily="34" charset="-128"/>
                  <a:cs typeface="Segoe UI Semilight" panose="020B0402040204020203" pitchFamily="34" charset="0"/>
                </a:rPr>
                <a:t>Systems</a:t>
              </a:r>
            </a:p>
          </p:txBody>
        </p:sp>
      </p:grpSp>
      <p:sp>
        <p:nvSpPr>
          <p:cNvPr id="37" name="Right Arrow 36"/>
          <p:cNvSpPr/>
          <p:nvPr/>
        </p:nvSpPr>
        <p:spPr bwMode="auto">
          <a:xfrm>
            <a:off x="6875369" y="6266397"/>
            <a:ext cx="3714271" cy="254476"/>
          </a:xfrm>
          <a:prstGeom prst="rightArrow">
            <a:avLst/>
          </a:prstGeom>
          <a:solidFill>
            <a:srgbClr val="0080EA"/>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Aft>
                <a:spcPct val="35000"/>
              </a:spcAft>
            </a:pPr>
            <a:endParaRPr lang="en-US" sz="1567" b="1" kern="0" spc="-29" dirty="0" err="1">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42" name="Rectangle 41"/>
          <p:cNvSpPr/>
          <p:nvPr/>
        </p:nvSpPr>
        <p:spPr bwMode="auto">
          <a:xfrm>
            <a:off x="4086726" y="4650736"/>
            <a:ext cx="4480668" cy="1578921"/>
          </a:xfrm>
          <a:prstGeom prst="rect">
            <a:avLst/>
          </a:prstGeom>
          <a:solidFill>
            <a:schemeClr val="accent6"/>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Aft>
                <a:spcPct val="35000"/>
              </a:spcAft>
            </a:pPr>
            <a:endPar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81" name="Rectangle 80"/>
          <p:cNvSpPr/>
          <p:nvPr/>
        </p:nvSpPr>
        <p:spPr>
          <a:xfrm>
            <a:off x="5738257" y="5622741"/>
            <a:ext cx="1627679" cy="271428"/>
          </a:xfrm>
          <a:prstGeom prst="rect">
            <a:avLst/>
          </a:prstGeom>
        </p:spPr>
        <p:txBody>
          <a:bodyPr wrap="square">
            <a:spAutoFit/>
          </a:bodyPr>
          <a:lstStyle/>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Data Lake Store</a:t>
            </a:r>
            <a:endParaRPr lang="en-US" sz="1175" kern="0" dirty="0">
              <a:gradFill>
                <a:gsLst>
                  <a:gs pos="0">
                    <a:srgbClr val="FFFFFF"/>
                  </a:gs>
                  <a:gs pos="100000">
                    <a:srgbClr val="FFFFFF"/>
                  </a:gs>
                </a:gsLst>
                <a:lin ang="5400000" scaled="0"/>
              </a:gradFill>
              <a:ea typeface="MS PGothic" panose="020B0600070205080204" pitchFamily="34" charset="-128"/>
            </a:endParaRPr>
          </a:p>
        </p:txBody>
      </p:sp>
      <p:sp>
        <p:nvSpPr>
          <p:cNvPr id="41" name="Rectangle 40"/>
          <p:cNvSpPr/>
          <p:nvPr/>
        </p:nvSpPr>
        <p:spPr bwMode="auto">
          <a:xfrm>
            <a:off x="1037482" y="1430366"/>
            <a:ext cx="2750487" cy="4797368"/>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gestion</a:t>
            </a:r>
          </a:p>
        </p:txBody>
      </p:sp>
      <p:grpSp>
        <p:nvGrpSpPr>
          <p:cNvPr id="12" name="Group 11"/>
          <p:cNvGrpSpPr/>
          <p:nvPr/>
        </p:nvGrpSpPr>
        <p:grpSpPr>
          <a:xfrm>
            <a:off x="3789647" y="5106272"/>
            <a:ext cx="289398" cy="836775"/>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7" name="Group 26"/>
          <p:cNvGrpSpPr/>
          <p:nvPr/>
        </p:nvGrpSpPr>
        <p:grpSpPr>
          <a:xfrm>
            <a:off x="9092538" y="2153064"/>
            <a:ext cx="1658787" cy="679443"/>
            <a:chOff x="1598435" y="3806103"/>
            <a:chExt cx="1692049" cy="693067"/>
          </a:xfrm>
        </p:grpSpPr>
        <p:sp>
          <p:nvSpPr>
            <p:cNvPr id="79" name="Rectangle 78"/>
            <p:cNvSpPr/>
            <p:nvPr/>
          </p:nvSpPr>
          <p:spPr>
            <a:xfrm>
              <a:off x="2295981" y="3922223"/>
              <a:ext cx="994503" cy="461408"/>
            </a:xfrm>
            <a:prstGeom prst="rect">
              <a:avLst/>
            </a:prstGeom>
          </p:spPr>
          <p:txBody>
            <a:bodyPr wrap="none">
              <a:spAutoFit/>
            </a:bodyPr>
            <a:lstStyle/>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a:t>
              </a:r>
            </a:p>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Data Catalog</a:t>
              </a:r>
              <a:endParaRPr lang="en-US" sz="1175" kern="0" dirty="0">
                <a:gradFill>
                  <a:gsLst>
                    <a:gs pos="0">
                      <a:srgbClr val="FFFFFF"/>
                    </a:gs>
                    <a:gs pos="100000">
                      <a:srgbClr val="FFFFFF"/>
                    </a:gs>
                  </a:gsLst>
                  <a:lin ang="5400000" scaled="0"/>
                </a:gradFill>
                <a:ea typeface="MS PGothic" panose="020B0600070205080204" pitchFamily="34" charset="-128"/>
              </a:endParaRPr>
            </a:p>
          </p:txBody>
        </p:sp>
        <p:pic>
          <p:nvPicPr>
            <p:cNvPr id="143" name="Picture 1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98435" y="3806103"/>
              <a:ext cx="890803" cy="693067"/>
            </a:xfrm>
            <a:prstGeom prst="rect">
              <a:avLst/>
            </a:prstGeom>
          </p:spPr>
        </p:pic>
      </p:grpSp>
      <p:grpSp>
        <p:nvGrpSpPr>
          <p:cNvPr id="163" name="Group 162"/>
          <p:cNvGrpSpPr/>
          <p:nvPr/>
        </p:nvGrpSpPr>
        <p:grpSpPr>
          <a:xfrm>
            <a:off x="6037050" y="5016538"/>
            <a:ext cx="698020" cy="467607"/>
            <a:chOff x="8588655" y="3482322"/>
            <a:chExt cx="2571750" cy="2016125"/>
          </a:xfrm>
        </p:grpSpPr>
        <p:sp>
          <p:nvSpPr>
            <p:cNvPr id="16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a:p>
          </p:txBody>
        </p:sp>
        <p:sp>
          <p:nvSpPr>
            <p:cNvPr id="167"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a:p>
          </p:txBody>
        </p:sp>
      </p:grpSp>
      <p:sp>
        <p:nvSpPr>
          <p:cNvPr id="180" name="Isosceles Triangle 179"/>
          <p:cNvSpPr/>
          <p:nvPr/>
        </p:nvSpPr>
        <p:spPr bwMode="auto">
          <a:xfrm rot="10800000">
            <a:off x="5859699" y="4267200"/>
            <a:ext cx="983322" cy="358803"/>
          </a:xfrm>
          <a:prstGeom prst="triangle">
            <a:avLst>
              <a:gd name="adj" fmla="val 51823"/>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6" name="Isosceles Triangle 205"/>
          <p:cNvSpPr/>
          <p:nvPr/>
        </p:nvSpPr>
        <p:spPr bwMode="auto">
          <a:xfrm rot="5400000">
            <a:off x="8337711" y="1981078"/>
            <a:ext cx="1028339" cy="482561"/>
          </a:xfrm>
          <a:prstGeom prst="triangle">
            <a:avLst>
              <a:gd name="adj" fmla="val 51823"/>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13" name="Rectangle 212"/>
          <p:cNvSpPr/>
          <p:nvPr/>
        </p:nvSpPr>
        <p:spPr bwMode="auto">
          <a:xfrm>
            <a:off x="1114066" y="1794097"/>
            <a:ext cx="2599439" cy="2752418"/>
          </a:xfrm>
          <a:prstGeom prst="rect">
            <a:avLst/>
          </a:prstGeom>
          <a:solidFill>
            <a:schemeClr val="accent5"/>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Aft>
                <a:spcPct val="35000"/>
              </a:spcAft>
            </a:pPr>
            <a:r>
              <a:rPr lang="en-US" sz="1176"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lk Ingestion</a:t>
            </a:r>
          </a:p>
        </p:txBody>
      </p:sp>
      <p:grpSp>
        <p:nvGrpSpPr>
          <p:cNvPr id="98" name="Group 97"/>
          <p:cNvGrpSpPr/>
          <p:nvPr/>
        </p:nvGrpSpPr>
        <p:grpSpPr>
          <a:xfrm>
            <a:off x="1190575" y="2135120"/>
            <a:ext cx="1319726" cy="453482"/>
            <a:chOff x="1595802" y="2841543"/>
            <a:chExt cx="1346189" cy="462575"/>
          </a:xfrm>
        </p:grpSpPr>
        <p:pic>
          <p:nvPicPr>
            <p:cNvPr id="46" name="Picture 4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95802" y="2841543"/>
              <a:ext cx="375055" cy="375055"/>
            </a:xfrm>
            <a:prstGeom prst="rect">
              <a:avLst/>
            </a:prstGeom>
          </p:spPr>
        </p:pic>
        <p:sp>
          <p:nvSpPr>
            <p:cNvPr id="4" name="Rectangle 3"/>
            <p:cNvSpPr/>
            <p:nvPr/>
          </p:nvSpPr>
          <p:spPr>
            <a:xfrm>
              <a:off x="1935305" y="2842710"/>
              <a:ext cx="1006686" cy="461408"/>
            </a:xfrm>
            <a:prstGeom prst="rect">
              <a:avLst/>
            </a:prstGeom>
          </p:spPr>
          <p:txBody>
            <a:bodyPr wrap="none">
              <a:spAutoFit/>
            </a:bodyPr>
            <a:lstStyle/>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a:t>
              </a:r>
            </a:p>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Data Factory </a:t>
              </a:r>
              <a:endParaRPr lang="en-US" sz="1175" kern="0" dirty="0">
                <a:gradFill>
                  <a:gsLst>
                    <a:gs pos="0">
                      <a:srgbClr val="FFFFFF"/>
                    </a:gs>
                    <a:gs pos="100000">
                      <a:srgbClr val="FFFFFF"/>
                    </a:gs>
                  </a:gsLst>
                  <a:lin ang="5400000" scaled="0"/>
                </a:gradFill>
                <a:ea typeface="MS PGothic" panose="020B0600070205080204" pitchFamily="34" charset="-128"/>
              </a:endParaRPr>
            </a:p>
          </p:txBody>
        </p:sp>
      </p:grpSp>
      <p:sp>
        <p:nvSpPr>
          <p:cNvPr id="215" name="Rectangle 214"/>
          <p:cNvSpPr/>
          <p:nvPr/>
        </p:nvSpPr>
        <p:spPr bwMode="auto">
          <a:xfrm>
            <a:off x="1114066" y="4698935"/>
            <a:ext cx="2607956" cy="1397536"/>
          </a:xfrm>
          <a:prstGeom prst="rect">
            <a:avLst/>
          </a:prstGeom>
          <a:solidFill>
            <a:schemeClr val="accent5"/>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Aft>
                <a:spcPct val="35000"/>
              </a:spcAft>
            </a:pPr>
            <a:r>
              <a:rPr lang="en-US" sz="1176"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vent Ingestion</a:t>
            </a:r>
          </a:p>
        </p:txBody>
      </p:sp>
      <p:grpSp>
        <p:nvGrpSpPr>
          <p:cNvPr id="94" name="Group 93"/>
          <p:cNvGrpSpPr/>
          <p:nvPr/>
        </p:nvGrpSpPr>
        <p:grpSpPr>
          <a:xfrm>
            <a:off x="1165663" y="5006216"/>
            <a:ext cx="1115355" cy="452338"/>
            <a:chOff x="1595802" y="4908591"/>
            <a:chExt cx="1137720" cy="461408"/>
          </a:xfrm>
        </p:grpSpPr>
        <p:pic>
          <p:nvPicPr>
            <p:cNvPr id="78" name="Picture 7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95802" y="4955315"/>
              <a:ext cx="339600" cy="352763"/>
            </a:xfrm>
            <a:prstGeom prst="rect">
              <a:avLst/>
            </a:prstGeom>
          </p:spPr>
        </p:pic>
        <p:sp>
          <p:nvSpPr>
            <p:cNvPr id="80" name="Rectangle 79"/>
            <p:cNvSpPr/>
            <p:nvPr/>
          </p:nvSpPr>
          <p:spPr>
            <a:xfrm>
              <a:off x="1900602" y="4908591"/>
              <a:ext cx="832920" cy="461408"/>
            </a:xfrm>
            <a:prstGeom prst="rect">
              <a:avLst/>
            </a:prstGeom>
          </p:spPr>
          <p:txBody>
            <a:bodyPr wrap="none">
              <a:spAutoFit/>
            </a:bodyPr>
            <a:lstStyle/>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a:t>
              </a:r>
            </a:p>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Event Hub</a:t>
              </a:r>
              <a:endParaRPr lang="en-US" sz="1175" kern="0" dirty="0">
                <a:gradFill>
                  <a:gsLst>
                    <a:gs pos="0">
                      <a:srgbClr val="FFFFFF"/>
                    </a:gs>
                    <a:gs pos="100000">
                      <a:srgbClr val="FFFFFF"/>
                    </a:gs>
                  </a:gsLst>
                  <a:lin ang="5400000" scaled="0"/>
                </a:gradFill>
                <a:ea typeface="MS PGothic" panose="020B0600070205080204" pitchFamily="34" charset="-128"/>
              </a:endParaRPr>
            </a:p>
          </p:txBody>
        </p:sp>
      </p:grpSp>
      <p:pic>
        <p:nvPicPr>
          <p:cNvPr id="1042" name="Picture 18" descr="http://blog.parsely.com/wp-content/uploads/2014/07/storm_logo_winner.png"/>
          <p:cNvPicPr>
            <a:picLocks noChangeAspect="1" noChangeArrowheads="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2809110" y="5623616"/>
            <a:ext cx="807775" cy="294839"/>
          </a:xfrm>
          <a:prstGeom prst="rect">
            <a:avLst/>
          </a:prstGeom>
          <a:noFill/>
          <a:extLst>
            <a:ext uri="{909E8E84-426E-40DD-AFC4-6F175D3DCCD1}">
              <a14:hiddenFill xmlns:a14="http://schemas.microsoft.com/office/drawing/2010/main">
                <a:solidFill>
                  <a:srgbClr val="FFFFFF"/>
                </a:solidFill>
              </a14:hiddenFill>
            </a:ext>
          </a:extLst>
        </p:spPr>
      </p:pic>
      <p:grpSp>
        <p:nvGrpSpPr>
          <p:cNvPr id="109" name="Group 108"/>
          <p:cNvGrpSpPr/>
          <p:nvPr/>
        </p:nvGrpSpPr>
        <p:grpSpPr>
          <a:xfrm>
            <a:off x="1165664" y="5529136"/>
            <a:ext cx="1616287" cy="453971"/>
            <a:chOff x="1521861" y="4788454"/>
            <a:chExt cx="1744801" cy="463074"/>
          </a:xfrm>
        </p:grpSpPr>
        <p:grpSp>
          <p:nvGrpSpPr>
            <p:cNvPr id="23" name="Group 22"/>
            <p:cNvGrpSpPr/>
            <p:nvPr/>
          </p:nvGrpSpPr>
          <p:grpSpPr>
            <a:xfrm>
              <a:off x="1580866" y="4788454"/>
              <a:ext cx="1685796" cy="463074"/>
              <a:chOff x="6097227" y="4612556"/>
              <a:chExt cx="1685796" cy="463074"/>
            </a:xfrm>
          </p:grpSpPr>
          <p:pic>
            <p:nvPicPr>
              <p:cNvPr id="76" name="Picture 7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97227" y="4684270"/>
                <a:ext cx="474463" cy="367709"/>
              </a:xfrm>
              <a:prstGeom prst="rect">
                <a:avLst/>
              </a:prstGeom>
            </p:spPr>
          </p:pic>
          <p:sp>
            <p:nvSpPr>
              <p:cNvPr id="85" name="Rectangle 84"/>
              <p:cNvSpPr/>
              <p:nvPr/>
            </p:nvSpPr>
            <p:spPr>
              <a:xfrm>
                <a:off x="6495422" y="4612556"/>
                <a:ext cx="1287601" cy="463074"/>
              </a:xfrm>
              <a:prstGeom prst="rect">
                <a:avLst/>
              </a:prstGeom>
            </p:spPr>
            <p:txBody>
              <a:bodyPr wrap="none">
                <a:spAutoFit/>
              </a:bodyPr>
              <a:lstStyle/>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a:t>
                </a:r>
              </a:p>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tream Analytics</a:t>
                </a:r>
              </a:p>
            </p:txBody>
          </p:sp>
        </p:grpSp>
        <p:sp>
          <p:nvSpPr>
            <p:cNvPr id="217" name="Rectangle 216"/>
            <p:cNvSpPr/>
            <p:nvPr/>
          </p:nvSpPr>
          <p:spPr bwMode="auto">
            <a:xfrm>
              <a:off x="1521861" y="4810017"/>
              <a:ext cx="1676349" cy="437213"/>
            </a:xfrm>
            <a:prstGeom prst="rect">
              <a:avLst/>
            </a:prstGeom>
            <a:noFill/>
            <a:ln w="28575">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endParaRPr lang="en-US" sz="1961" dirty="0">
                <a:gradFill>
                  <a:gsLst>
                    <a:gs pos="0">
                      <a:srgbClr val="FFFFFF"/>
                    </a:gs>
                    <a:gs pos="100000">
                      <a:srgbClr val="FFFFFF"/>
                    </a:gs>
                  </a:gsLst>
                  <a:lin ang="5400000" scaled="0"/>
                </a:gradFill>
              </a:endParaRPr>
            </a:p>
          </p:txBody>
        </p:sp>
      </p:grpSp>
      <p:grpSp>
        <p:nvGrpSpPr>
          <p:cNvPr id="1039" name="Group 1038"/>
          <p:cNvGrpSpPr/>
          <p:nvPr/>
        </p:nvGrpSpPr>
        <p:grpSpPr>
          <a:xfrm>
            <a:off x="2518256" y="2154939"/>
            <a:ext cx="1159265" cy="452338"/>
            <a:chOff x="2629633" y="2163045"/>
            <a:chExt cx="1182511" cy="461408"/>
          </a:xfrm>
        </p:grpSpPr>
        <p:pic>
          <p:nvPicPr>
            <p:cNvPr id="1037" name="Picture 1036"/>
            <p:cNvPicPr>
              <a:picLocks noChangeAspect="1"/>
            </p:cNvPicPr>
            <p:nvPr/>
          </p:nvPicPr>
          <p:blipFill>
            <a:blip r:embed="rId9">
              <a:lum bright="70000" contrast="-70000"/>
              <a:extLst>
                <a:ext uri="{28A0092B-C50C-407E-A947-70E740481C1C}">
                  <a14:useLocalDpi xmlns:a14="http://schemas.microsoft.com/office/drawing/2010/main" val="0"/>
                </a:ext>
              </a:extLst>
            </a:blip>
            <a:stretch>
              <a:fillRect/>
            </a:stretch>
          </p:blipFill>
          <p:spPr>
            <a:xfrm>
              <a:off x="2629633" y="2227845"/>
              <a:ext cx="331829" cy="331829"/>
            </a:xfrm>
            <a:prstGeom prst="rect">
              <a:avLst/>
            </a:prstGeom>
          </p:spPr>
        </p:pic>
        <p:sp>
          <p:nvSpPr>
            <p:cNvPr id="230" name="Rectangle 229"/>
            <p:cNvSpPr/>
            <p:nvPr/>
          </p:nvSpPr>
          <p:spPr>
            <a:xfrm>
              <a:off x="2947805" y="2163045"/>
              <a:ext cx="864339" cy="461408"/>
            </a:xfrm>
            <a:prstGeom prst="rect">
              <a:avLst/>
            </a:prstGeom>
          </p:spPr>
          <p:txBody>
            <a:bodyPr wrap="none">
              <a:spAutoFit/>
            </a:bodyPr>
            <a:lstStyle/>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Developer </a:t>
              </a:r>
            </a:p>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DKs</a:t>
              </a:r>
              <a:endParaRPr lang="en-US" sz="1175" kern="0" dirty="0">
                <a:gradFill>
                  <a:gsLst>
                    <a:gs pos="0">
                      <a:srgbClr val="FFFFFF"/>
                    </a:gs>
                    <a:gs pos="100000">
                      <a:srgbClr val="FFFFFF"/>
                    </a:gs>
                  </a:gsLst>
                  <a:lin ang="5400000" scaled="0"/>
                </a:gradFill>
                <a:ea typeface="MS PGothic" panose="020B0600070205080204" pitchFamily="34" charset="-128"/>
              </a:endParaRPr>
            </a:p>
          </p:txBody>
        </p:sp>
      </p:grpSp>
      <p:grpSp>
        <p:nvGrpSpPr>
          <p:cNvPr id="1047" name="Group 1046"/>
          <p:cNvGrpSpPr/>
          <p:nvPr/>
        </p:nvGrpSpPr>
        <p:grpSpPr>
          <a:xfrm>
            <a:off x="1211761" y="2622107"/>
            <a:ext cx="1040131" cy="453970"/>
            <a:chOff x="1236059" y="2674191"/>
            <a:chExt cx="1060987" cy="463073"/>
          </a:xfrm>
        </p:grpSpPr>
        <p:pic>
          <p:nvPicPr>
            <p:cNvPr id="1041" name="Picture 1040"/>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1236059" y="2744659"/>
              <a:ext cx="376536" cy="376536"/>
            </a:xfrm>
            <a:prstGeom prst="rect">
              <a:avLst/>
            </a:prstGeom>
          </p:spPr>
        </p:pic>
        <p:sp>
          <p:nvSpPr>
            <p:cNvPr id="233" name="Rectangle 232"/>
            <p:cNvSpPr/>
            <p:nvPr/>
          </p:nvSpPr>
          <p:spPr>
            <a:xfrm>
              <a:off x="1563978" y="2674191"/>
              <a:ext cx="733068" cy="463073"/>
            </a:xfrm>
            <a:prstGeom prst="rect">
              <a:avLst/>
            </a:prstGeom>
          </p:spPr>
          <p:txBody>
            <a:bodyPr wrap="none">
              <a:spAutoFit/>
            </a:bodyPr>
            <a:lstStyle/>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Portal &amp; </a:t>
              </a:r>
            </a:p>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Tools</a:t>
              </a:r>
              <a:endParaRPr lang="en-US" sz="1175" kern="0" dirty="0">
                <a:gradFill>
                  <a:gsLst>
                    <a:gs pos="0">
                      <a:srgbClr val="FFFFFF"/>
                    </a:gs>
                    <a:gs pos="100000">
                      <a:srgbClr val="FFFFFF"/>
                    </a:gs>
                  </a:gsLst>
                  <a:lin ang="5400000" scaled="0"/>
                </a:gradFill>
                <a:ea typeface="MS PGothic" panose="020B0600070205080204" pitchFamily="34" charset="-128"/>
              </a:endParaRPr>
            </a:p>
          </p:txBody>
        </p:sp>
      </p:grpSp>
      <p:pic>
        <p:nvPicPr>
          <p:cNvPr id="1048" name="Picture 24" descr="http://hortonworks.com/wp-content/uploads/2014/08/kafka-logo-wide.png"/>
          <p:cNvPicPr>
            <a:picLocks noChangeAspect="1" noChangeArrowheads="1"/>
          </p:cNvPicPr>
          <p:nvPr/>
        </p:nvPicPr>
        <p:blipFill>
          <a:blip r:embed="rId11">
            <a:lum bright="70000" contrast="-70000"/>
            <a:extLst>
              <a:ext uri="{28A0092B-C50C-407E-A947-70E740481C1C}">
                <a14:useLocalDpi xmlns:a14="http://schemas.microsoft.com/office/drawing/2010/main" val="0"/>
              </a:ext>
            </a:extLst>
          </a:blip>
          <a:srcRect/>
          <a:stretch>
            <a:fillRect/>
          </a:stretch>
        </p:blipFill>
        <p:spPr bwMode="auto">
          <a:xfrm>
            <a:off x="2367833" y="4942214"/>
            <a:ext cx="1084673" cy="570148"/>
          </a:xfrm>
          <a:prstGeom prst="rect">
            <a:avLst/>
          </a:prstGeom>
          <a:noFill/>
          <a:extLst>
            <a:ext uri="{909E8E84-426E-40DD-AFC4-6F175D3DCCD1}">
              <a14:hiddenFill xmlns:a14="http://schemas.microsoft.com/office/drawing/2010/main">
                <a:solidFill>
                  <a:srgbClr val="FFFFFF"/>
                </a:solidFill>
              </a14:hiddenFill>
            </a:ext>
          </a:extLst>
        </p:spPr>
      </p:pic>
      <p:grpSp>
        <p:nvGrpSpPr>
          <p:cNvPr id="1050" name="Group 1049"/>
          <p:cNvGrpSpPr/>
          <p:nvPr/>
        </p:nvGrpSpPr>
        <p:grpSpPr>
          <a:xfrm>
            <a:off x="1197260" y="3135490"/>
            <a:ext cx="1021822" cy="452338"/>
            <a:chOff x="2565001" y="2664334"/>
            <a:chExt cx="1042312" cy="461408"/>
          </a:xfrm>
        </p:grpSpPr>
        <p:pic>
          <p:nvPicPr>
            <p:cNvPr id="1049" name="Picture 1048"/>
            <p:cNvPicPr>
              <a:picLocks noChangeAspect="1"/>
            </p:cNvPicPr>
            <p:nvPr/>
          </p:nvPicPr>
          <p:blipFill>
            <a:blip r:embed="rId12">
              <a:biLevel thresh="25000"/>
              <a:extLst>
                <a:ext uri="{28A0092B-C50C-407E-A947-70E740481C1C}">
                  <a14:useLocalDpi xmlns:a14="http://schemas.microsoft.com/office/drawing/2010/main" val="0"/>
                </a:ext>
              </a:extLst>
            </a:blip>
            <a:stretch>
              <a:fillRect/>
            </a:stretch>
          </p:blipFill>
          <p:spPr>
            <a:xfrm>
              <a:off x="2565001" y="2714832"/>
              <a:ext cx="343679" cy="343679"/>
            </a:xfrm>
            <a:prstGeom prst="rect">
              <a:avLst/>
            </a:prstGeom>
          </p:spPr>
        </p:pic>
        <p:sp>
          <p:nvSpPr>
            <p:cNvPr id="243" name="Rectangle 242"/>
            <p:cNvSpPr/>
            <p:nvPr/>
          </p:nvSpPr>
          <p:spPr>
            <a:xfrm>
              <a:off x="2886923" y="2664334"/>
              <a:ext cx="720390" cy="461408"/>
            </a:xfrm>
            <a:prstGeom prst="rect">
              <a:avLst/>
            </a:prstGeom>
          </p:spPr>
          <p:txBody>
            <a:bodyPr wrap="none">
              <a:spAutoFit/>
            </a:bodyPr>
            <a:lstStyle/>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dlCopy</a:t>
              </a:r>
            </a:p>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ervice</a:t>
              </a:r>
              <a:endParaRPr lang="en-US" sz="1175" kern="0" dirty="0">
                <a:gradFill>
                  <a:gsLst>
                    <a:gs pos="0">
                      <a:srgbClr val="FFFFFF"/>
                    </a:gs>
                    <a:gs pos="100000">
                      <a:srgbClr val="FFFFFF"/>
                    </a:gs>
                  </a:gsLst>
                  <a:lin ang="5400000" scaled="0"/>
                </a:gradFill>
                <a:ea typeface="MS PGothic" panose="020B0600070205080204" pitchFamily="34" charset="-128"/>
              </a:endParaRPr>
            </a:p>
          </p:txBody>
        </p:sp>
      </p:grpSp>
      <p:grpSp>
        <p:nvGrpSpPr>
          <p:cNvPr id="1051" name="Group 1050"/>
          <p:cNvGrpSpPr/>
          <p:nvPr/>
        </p:nvGrpSpPr>
        <p:grpSpPr>
          <a:xfrm>
            <a:off x="2342669" y="2582894"/>
            <a:ext cx="1437567" cy="452338"/>
            <a:chOff x="1182794" y="3192656"/>
            <a:chExt cx="1466393" cy="461408"/>
          </a:xfrm>
        </p:grpSpPr>
        <p:sp>
          <p:nvSpPr>
            <p:cNvPr id="237" name="Rectangle 236"/>
            <p:cNvSpPr/>
            <p:nvPr/>
          </p:nvSpPr>
          <p:spPr>
            <a:xfrm>
              <a:off x="1543115" y="3192656"/>
              <a:ext cx="1106072" cy="461408"/>
            </a:xfrm>
            <a:prstGeom prst="rect">
              <a:avLst/>
            </a:prstGeom>
          </p:spPr>
          <p:txBody>
            <a:bodyPr wrap="none">
              <a:spAutoFit/>
            </a:bodyPr>
            <a:lstStyle/>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pache Flume,</a:t>
              </a:r>
            </a:p>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qoop, DistCp</a:t>
              </a:r>
              <a:endParaRPr lang="en-US" sz="1175" kern="0" dirty="0">
                <a:gradFill>
                  <a:gsLst>
                    <a:gs pos="0">
                      <a:srgbClr val="FFFFFF"/>
                    </a:gs>
                    <a:gs pos="100000">
                      <a:srgbClr val="FFFFFF"/>
                    </a:gs>
                  </a:gsLst>
                  <a:lin ang="5400000" scaled="0"/>
                </a:gradFill>
                <a:ea typeface="MS PGothic" panose="020B0600070205080204" pitchFamily="34" charset="-128"/>
              </a:endParaRPr>
            </a:p>
          </p:txBody>
        </p:sp>
        <p:pic>
          <p:nvPicPr>
            <p:cNvPr id="245" name="Picture 24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182794" y="3303897"/>
              <a:ext cx="428208" cy="310082"/>
            </a:xfrm>
            <a:prstGeom prst="rect">
              <a:avLst/>
            </a:prstGeom>
          </p:spPr>
        </p:pic>
      </p:grpSp>
      <p:grpSp>
        <p:nvGrpSpPr>
          <p:cNvPr id="225" name="Group 224"/>
          <p:cNvGrpSpPr/>
          <p:nvPr/>
        </p:nvGrpSpPr>
        <p:grpSpPr>
          <a:xfrm>
            <a:off x="2360897" y="3117331"/>
            <a:ext cx="1364485" cy="452338"/>
            <a:chOff x="2327539" y="3179344"/>
            <a:chExt cx="1391846" cy="461408"/>
          </a:xfrm>
        </p:grpSpPr>
        <p:sp>
          <p:nvSpPr>
            <p:cNvPr id="247" name="Freeform 43"/>
            <p:cNvSpPr>
              <a:spLocks noEditPoints="1"/>
            </p:cNvSpPr>
            <p:nvPr/>
          </p:nvSpPr>
          <p:spPr bwMode="auto">
            <a:xfrm>
              <a:off x="2327539" y="3281357"/>
              <a:ext cx="385498" cy="292105"/>
            </a:xfrm>
            <a:custGeom>
              <a:avLst/>
              <a:gdLst>
                <a:gd name="T0" fmla="*/ 194 w 198"/>
                <a:gd name="T1" fmla="*/ 65 h 97"/>
                <a:gd name="T2" fmla="*/ 182 w 198"/>
                <a:gd name="T3" fmla="*/ 53 h 97"/>
                <a:gd name="T4" fmla="*/ 164 w 198"/>
                <a:gd name="T5" fmla="*/ 53 h 97"/>
                <a:gd name="T6" fmla="*/ 140 w 198"/>
                <a:gd name="T7" fmla="*/ 29 h 97"/>
                <a:gd name="T8" fmla="*/ 118 w 198"/>
                <a:gd name="T9" fmla="*/ 29 h 97"/>
                <a:gd name="T10" fmla="*/ 118 w 198"/>
                <a:gd name="T11" fmla="*/ 0 h 97"/>
                <a:gd name="T12" fmla="*/ 8 w 198"/>
                <a:gd name="T13" fmla="*/ 0 h 97"/>
                <a:gd name="T14" fmla="*/ 8 w 198"/>
                <a:gd name="T15" fmla="*/ 73 h 97"/>
                <a:gd name="T16" fmla="*/ 0 w 198"/>
                <a:gd name="T17" fmla="*/ 73 h 97"/>
                <a:gd name="T18" fmla="*/ 0 w 198"/>
                <a:gd name="T19" fmla="*/ 81 h 97"/>
                <a:gd name="T20" fmla="*/ 8 w 198"/>
                <a:gd name="T21" fmla="*/ 81 h 97"/>
                <a:gd name="T22" fmla="*/ 8 w 198"/>
                <a:gd name="T23" fmla="*/ 89 h 97"/>
                <a:gd name="T24" fmla="*/ 32 w 198"/>
                <a:gd name="T25" fmla="*/ 89 h 97"/>
                <a:gd name="T26" fmla="*/ 44 w 198"/>
                <a:gd name="T27" fmla="*/ 97 h 97"/>
                <a:gd name="T28" fmla="*/ 55 w 198"/>
                <a:gd name="T29" fmla="*/ 89 h 97"/>
                <a:gd name="T30" fmla="*/ 114 w 198"/>
                <a:gd name="T31" fmla="*/ 89 h 97"/>
                <a:gd name="T32" fmla="*/ 118 w 198"/>
                <a:gd name="T33" fmla="*/ 89 h 97"/>
                <a:gd name="T34" fmla="*/ 159 w 198"/>
                <a:gd name="T35" fmla="*/ 89 h 97"/>
                <a:gd name="T36" fmla="*/ 170 w 198"/>
                <a:gd name="T37" fmla="*/ 97 h 97"/>
                <a:gd name="T38" fmla="*/ 181 w 198"/>
                <a:gd name="T39" fmla="*/ 89 h 97"/>
                <a:gd name="T40" fmla="*/ 198 w 198"/>
                <a:gd name="T41" fmla="*/ 89 h 97"/>
                <a:gd name="T42" fmla="*/ 198 w 198"/>
                <a:gd name="T43" fmla="*/ 81 h 97"/>
                <a:gd name="T44" fmla="*/ 194 w 198"/>
                <a:gd name="T45" fmla="*/ 81 h 97"/>
                <a:gd name="T46" fmla="*/ 194 w 198"/>
                <a:gd name="T47" fmla="*/ 65 h 97"/>
                <a:gd name="T48" fmla="*/ 44 w 198"/>
                <a:gd name="T49" fmla="*/ 89 h 97"/>
                <a:gd name="T50" fmla="*/ 40 w 198"/>
                <a:gd name="T51" fmla="*/ 85 h 97"/>
                <a:gd name="T52" fmla="*/ 44 w 198"/>
                <a:gd name="T53" fmla="*/ 81 h 97"/>
                <a:gd name="T54" fmla="*/ 48 w 198"/>
                <a:gd name="T55" fmla="*/ 85 h 97"/>
                <a:gd name="T56" fmla="*/ 44 w 198"/>
                <a:gd name="T57" fmla="*/ 89 h 97"/>
                <a:gd name="T58" fmla="*/ 110 w 198"/>
                <a:gd name="T59" fmla="*/ 81 h 97"/>
                <a:gd name="T60" fmla="*/ 55 w 198"/>
                <a:gd name="T61" fmla="*/ 81 h 97"/>
                <a:gd name="T62" fmla="*/ 44 w 198"/>
                <a:gd name="T63" fmla="*/ 73 h 97"/>
                <a:gd name="T64" fmla="*/ 32 w 198"/>
                <a:gd name="T65" fmla="*/ 81 h 97"/>
                <a:gd name="T66" fmla="*/ 16 w 198"/>
                <a:gd name="T67" fmla="*/ 81 h 97"/>
                <a:gd name="T68" fmla="*/ 16 w 198"/>
                <a:gd name="T69" fmla="*/ 8 h 97"/>
                <a:gd name="T70" fmla="*/ 110 w 198"/>
                <a:gd name="T71" fmla="*/ 8 h 97"/>
                <a:gd name="T72" fmla="*/ 110 w 198"/>
                <a:gd name="T73" fmla="*/ 81 h 97"/>
                <a:gd name="T74" fmla="*/ 118 w 198"/>
                <a:gd name="T75" fmla="*/ 37 h 97"/>
                <a:gd name="T76" fmla="*/ 136 w 198"/>
                <a:gd name="T77" fmla="*/ 37 h 97"/>
                <a:gd name="T78" fmla="*/ 152 w 198"/>
                <a:gd name="T79" fmla="*/ 53 h 97"/>
                <a:gd name="T80" fmla="*/ 118 w 198"/>
                <a:gd name="T81" fmla="*/ 53 h 97"/>
                <a:gd name="T82" fmla="*/ 118 w 198"/>
                <a:gd name="T83" fmla="*/ 37 h 97"/>
                <a:gd name="T84" fmla="*/ 170 w 198"/>
                <a:gd name="T85" fmla="*/ 89 h 97"/>
                <a:gd name="T86" fmla="*/ 166 w 198"/>
                <a:gd name="T87" fmla="*/ 85 h 97"/>
                <a:gd name="T88" fmla="*/ 170 w 198"/>
                <a:gd name="T89" fmla="*/ 81 h 97"/>
                <a:gd name="T90" fmla="*/ 174 w 198"/>
                <a:gd name="T91" fmla="*/ 85 h 97"/>
                <a:gd name="T92" fmla="*/ 170 w 198"/>
                <a:gd name="T93" fmla="*/ 89 h 97"/>
                <a:gd name="T94" fmla="*/ 186 w 198"/>
                <a:gd name="T95" fmla="*/ 81 h 97"/>
                <a:gd name="T96" fmla="*/ 181 w 198"/>
                <a:gd name="T97" fmla="*/ 81 h 97"/>
                <a:gd name="T98" fmla="*/ 170 w 198"/>
                <a:gd name="T99" fmla="*/ 73 h 97"/>
                <a:gd name="T100" fmla="*/ 159 w 198"/>
                <a:gd name="T101" fmla="*/ 81 h 97"/>
                <a:gd name="T102" fmla="*/ 118 w 198"/>
                <a:gd name="T103" fmla="*/ 81 h 97"/>
                <a:gd name="T104" fmla="*/ 118 w 198"/>
                <a:gd name="T105" fmla="*/ 61 h 97"/>
                <a:gd name="T106" fmla="*/ 182 w 198"/>
                <a:gd name="T107" fmla="*/ 61 h 97"/>
                <a:gd name="T108" fmla="*/ 186 w 198"/>
                <a:gd name="T109" fmla="*/ 65 h 97"/>
                <a:gd name="T110" fmla="*/ 186 w 198"/>
                <a:gd name="T111" fmla="*/ 8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97">
                  <a:moveTo>
                    <a:pt x="194" y="65"/>
                  </a:moveTo>
                  <a:cubicBezTo>
                    <a:pt x="194" y="58"/>
                    <a:pt x="189" y="53"/>
                    <a:pt x="182" y="53"/>
                  </a:cubicBezTo>
                  <a:cubicBezTo>
                    <a:pt x="164" y="53"/>
                    <a:pt x="164" y="53"/>
                    <a:pt x="164" y="53"/>
                  </a:cubicBezTo>
                  <a:cubicBezTo>
                    <a:pt x="140" y="29"/>
                    <a:pt x="140" y="29"/>
                    <a:pt x="140" y="29"/>
                  </a:cubicBezTo>
                  <a:cubicBezTo>
                    <a:pt x="118" y="29"/>
                    <a:pt x="118" y="29"/>
                    <a:pt x="118" y="29"/>
                  </a:cubicBezTo>
                  <a:cubicBezTo>
                    <a:pt x="118" y="0"/>
                    <a:pt x="118" y="0"/>
                    <a:pt x="118" y="0"/>
                  </a:cubicBezTo>
                  <a:cubicBezTo>
                    <a:pt x="8" y="0"/>
                    <a:pt x="8" y="0"/>
                    <a:pt x="8" y="0"/>
                  </a:cubicBezTo>
                  <a:cubicBezTo>
                    <a:pt x="8" y="73"/>
                    <a:pt x="8" y="73"/>
                    <a:pt x="8" y="73"/>
                  </a:cubicBezTo>
                  <a:cubicBezTo>
                    <a:pt x="0" y="73"/>
                    <a:pt x="0" y="73"/>
                    <a:pt x="0" y="73"/>
                  </a:cubicBezTo>
                  <a:cubicBezTo>
                    <a:pt x="0" y="81"/>
                    <a:pt x="0" y="81"/>
                    <a:pt x="0" y="81"/>
                  </a:cubicBezTo>
                  <a:cubicBezTo>
                    <a:pt x="8" y="81"/>
                    <a:pt x="8" y="81"/>
                    <a:pt x="8" y="81"/>
                  </a:cubicBezTo>
                  <a:cubicBezTo>
                    <a:pt x="8" y="89"/>
                    <a:pt x="8" y="89"/>
                    <a:pt x="8" y="89"/>
                  </a:cubicBezTo>
                  <a:cubicBezTo>
                    <a:pt x="32" y="89"/>
                    <a:pt x="32" y="89"/>
                    <a:pt x="32" y="89"/>
                  </a:cubicBezTo>
                  <a:cubicBezTo>
                    <a:pt x="34" y="94"/>
                    <a:pt x="39" y="97"/>
                    <a:pt x="44" y="97"/>
                  </a:cubicBezTo>
                  <a:cubicBezTo>
                    <a:pt x="49" y="97"/>
                    <a:pt x="54" y="94"/>
                    <a:pt x="55" y="89"/>
                  </a:cubicBezTo>
                  <a:cubicBezTo>
                    <a:pt x="114" y="89"/>
                    <a:pt x="114" y="89"/>
                    <a:pt x="114" y="89"/>
                  </a:cubicBezTo>
                  <a:cubicBezTo>
                    <a:pt x="118" y="89"/>
                    <a:pt x="118" y="89"/>
                    <a:pt x="118" y="89"/>
                  </a:cubicBezTo>
                  <a:cubicBezTo>
                    <a:pt x="159" y="89"/>
                    <a:pt x="159" y="89"/>
                    <a:pt x="159" y="89"/>
                  </a:cubicBezTo>
                  <a:cubicBezTo>
                    <a:pt x="160" y="94"/>
                    <a:pt x="165" y="97"/>
                    <a:pt x="170" y="97"/>
                  </a:cubicBezTo>
                  <a:cubicBezTo>
                    <a:pt x="175" y="97"/>
                    <a:pt x="180" y="94"/>
                    <a:pt x="181" y="89"/>
                  </a:cubicBezTo>
                  <a:cubicBezTo>
                    <a:pt x="198" y="89"/>
                    <a:pt x="198" y="89"/>
                    <a:pt x="198" y="89"/>
                  </a:cubicBezTo>
                  <a:cubicBezTo>
                    <a:pt x="198" y="81"/>
                    <a:pt x="198" y="81"/>
                    <a:pt x="198" y="81"/>
                  </a:cubicBezTo>
                  <a:cubicBezTo>
                    <a:pt x="194" y="81"/>
                    <a:pt x="194" y="81"/>
                    <a:pt x="194" y="81"/>
                  </a:cubicBezTo>
                  <a:lnTo>
                    <a:pt x="194" y="65"/>
                  </a:lnTo>
                  <a:close/>
                  <a:moveTo>
                    <a:pt x="44" y="89"/>
                  </a:moveTo>
                  <a:cubicBezTo>
                    <a:pt x="42" y="89"/>
                    <a:pt x="40" y="87"/>
                    <a:pt x="40" y="85"/>
                  </a:cubicBezTo>
                  <a:cubicBezTo>
                    <a:pt x="40" y="83"/>
                    <a:pt x="42" y="81"/>
                    <a:pt x="44" y="81"/>
                  </a:cubicBezTo>
                  <a:cubicBezTo>
                    <a:pt x="46" y="81"/>
                    <a:pt x="48" y="83"/>
                    <a:pt x="48" y="85"/>
                  </a:cubicBezTo>
                  <a:cubicBezTo>
                    <a:pt x="48" y="87"/>
                    <a:pt x="46" y="89"/>
                    <a:pt x="44" y="89"/>
                  </a:cubicBezTo>
                  <a:close/>
                  <a:moveTo>
                    <a:pt x="110" y="81"/>
                  </a:moveTo>
                  <a:cubicBezTo>
                    <a:pt x="55" y="81"/>
                    <a:pt x="55" y="81"/>
                    <a:pt x="55" y="81"/>
                  </a:cubicBezTo>
                  <a:cubicBezTo>
                    <a:pt x="54" y="76"/>
                    <a:pt x="49" y="73"/>
                    <a:pt x="44" y="73"/>
                  </a:cubicBezTo>
                  <a:cubicBezTo>
                    <a:pt x="39" y="73"/>
                    <a:pt x="34" y="76"/>
                    <a:pt x="32" y="81"/>
                  </a:cubicBezTo>
                  <a:cubicBezTo>
                    <a:pt x="16" y="81"/>
                    <a:pt x="16" y="81"/>
                    <a:pt x="16" y="81"/>
                  </a:cubicBezTo>
                  <a:cubicBezTo>
                    <a:pt x="16" y="8"/>
                    <a:pt x="16" y="8"/>
                    <a:pt x="16" y="8"/>
                  </a:cubicBezTo>
                  <a:cubicBezTo>
                    <a:pt x="110" y="8"/>
                    <a:pt x="110" y="8"/>
                    <a:pt x="110" y="8"/>
                  </a:cubicBezTo>
                  <a:lnTo>
                    <a:pt x="110" y="81"/>
                  </a:lnTo>
                  <a:close/>
                  <a:moveTo>
                    <a:pt x="118" y="37"/>
                  </a:moveTo>
                  <a:cubicBezTo>
                    <a:pt x="136" y="37"/>
                    <a:pt x="136" y="37"/>
                    <a:pt x="136" y="37"/>
                  </a:cubicBezTo>
                  <a:cubicBezTo>
                    <a:pt x="152" y="53"/>
                    <a:pt x="152" y="53"/>
                    <a:pt x="152" y="53"/>
                  </a:cubicBezTo>
                  <a:cubicBezTo>
                    <a:pt x="118" y="53"/>
                    <a:pt x="118" y="53"/>
                    <a:pt x="118" y="53"/>
                  </a:cubicBezTo>
                  <a:lnTo>
                    <a:pt x="118" y="37"/>
                  </a:lnTo>
                  <a:close/>
                  <a:moveTo>
                    <a:pt x="170" y="89"/>
                  </a:moveTo>
                  <a:cubicBezTo>
                    <a:pt x="168" y="89"/>
                    <a:pt x="166" y="87"/>
                    <a:pt x="166" y="85"/>
                  </a:cubicBezTo>
                  <a:cubicBezTo>
                    <a:pt x="166" y="83"/>
                    <a:pt x="168" y="81"/>
                    <a:pt x="170" y="81"/>
                  </a:cubicBezTo>
                  <a:cubicBezTo>
                    <a:pt x="172" y="81"/>
                    <a:pt x="174" y="83"/>
                    <a:pt x="174" y="85"/>
                  </a:cubicBezTo>
                  <a:cubicBezTo>
                    <a:pt x="174" y="87"/>
                    <a:pt x="172" y="89"/>
                    <a:pt x="170" y="89"/>
                  </a:cubicBezTo>
                  <a:close/>
                  <a:moveTo>
                    <a:pt x="186" y="81"/>
                  </a:moveTo>
                  <a:cubicBezTo>
                    <a:pt x="181" y="81"/>
                    <a:pt x="181" y="81"/>
                    <a:pt x="181" y="81"/>
                  </a:cubicBezTo>
                  <a:cubicBezTo>
                    <a:pt x="180" y="76"/>
                    <a:pt x="175" y="73"/>
                    <a:pt x="170" y="73"/>
                  </a:cubicBezTo>
                  <a:cubicBezTo>
                    <a:pt x="165" y="73"/>
                    <a:pt x="160" y="76"/>
                    <a:pt x="159" y="81"/>
                  </a:cubicBezTo>
                  <a:cubicBezTo>
                    <a:pt x="118" y="81"/>
                    <a:pt x="118" y="81"/>
                    <a:pt x="118" y="81"/>
                  </a:cubicBezTo>
                  <a:cubicBezTo>
                    <a:pt x="118" y="61"/>
                    <a:pt x="118" y="61"/>
                    <a:pt x="118" y="61"/>
                  </a:cubicBezTo>
                  <a:cubicBezTo>
                    <a:pt x="182" y="61"/>
                    <a:pt x="182" y="61"/>
                    <a:pt x="182" y="61"/>
                  </a:cubicBezTo>
                  <a:cubicBezTo>
                    <a:pt x="184" y="61"/>
                    <a:pt x="186" y="63"/>
                    <a:pt x="186" y="65"/>
                  </a:cubicBezTo>
                  <a:lnTo>
                    <a:pt x="186" y="81"/>
                  </a:lnTo>
                  <a:close/>
                </a:path>
              </a:pathLst>
            </a:custGeom>
            <a:solidFill>
              <a:schemeClr val="tx1"/>
            </a:solidFill>
            <a:ln>
              <a:noFill/>
            </a:ln>
          </p:spPr>
          <p:txBody>
            <a:bodyPr vert="horz" wrap="square" lIns="87880" tIns="43940" rIns="87880" bIns="43940" numCol="1" anchor="t" anchorCtr="0" compatLnSpc="1">
              <a:prstTxWarp prst="textNoShape">
                <a:avLst/>
              </a:prstTxWarp>
            </a:bodyPr>
            <a:lstStyle/>
            <a:p>
              <a:endParaRPr lang="en-US" sz="1730"/>
            </a:p>
          </p:txBody>
        </p:sp>
        <p:sp>
          <p:nvSpPr>
            <p:cNvPr id="248" name="Rectangle 247"/>
            <p:cNvSpPr/>
            <p:nvPr/>
          </p:nvSpPr>
          <p:spPr>
            <a:xfrm>
              <a:off x="2659800" y="3179344"/>
              <a:ext cx="1059585" cy="461408"/>
            </a:xfrm>
            <a:prstGeom prst="rect">
              <a:avLst/>
            </a:prstGeom>
          </p:spPr>
          <p:txBody>
            <a:bodyPr wrap="none">
              <a:spAutoFit/>
            </a:bodyPr>
            <a:lstStyle/>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Import/Export</a:t>
              </a:r>
            </a:p>
            <a:p>
              <a:pPr defTabSz="896328"/>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ervice</a:t>
              </a:r>
              <a:endParaRPr lang="en-US" sz="1175" kern="0" dirty="0">
                <a:gradFill>
                  <a:gsLst>
                    <a:gs pos="0">
                      <a:srgbClr val="FFFFFF"/>
                    </a:gs>
                    <a:gs pos="100000">
                      <a:srgbClr val="FFFFFF"/>
                    </a:gs>
                  </a:gsLst>
                  <a:lin ang="5400000" scaled="0"/>
                </a:gradFill>
                <a:ea typeface="MS PGothic" panose="020B0600070205080204" pitchFamily="34" charset="-128"/>
              </a:endParaRPr>
            </a:p>
          </p:txBody>
        </p:sp>
      </p:grpSp>
      <p:grpSp>
        <p:nvGrpSpPr>
          <p:cNvPr id="224" name="Group 223"/>
          <p:cNvGrpSpPr/>
          <p:nvPr/>
        </p:nvGrpSpPr>
        <p:grpSpPr>
          <a:xfrm>
            <a:off x="1253769" y="3712693"/>
            <a:ext cx="2227659" cy="612732"/>
            <a:chOff x="1184061" y="3743450"/>
            <a:chExt cx="2272328" cy="625019"/>
          </a:xfrm>
        </p:grpSpPr>
        <p:pic>
          <p:nvPicPr>
            <p:cNvPr id="1053" name="Picture 26" descr="http://www.dlt.com/sites/default/files/logos/informatica-logo.png"/>
            <p:cNvPicPr>
              <a:picLocks noChangeAspect="1" noChangeArrowheads="1"/>
            </p:cNvPicPr>
            <p:nvPr/>
          </p:nvPicPr>
          <p:blipFill>
            <a:blip r:embed="rId14">
              <a:lum bright="70000" contrast="-70000"/>
              <a:extLst>
                <a:ext uri="{28A0092B-C50C-407E-A947-70E740481C1C}">
                  <a14:useLocalDpi xmlns:a14="http://schemas.microsoft.com/office/drawing/2010/main" val="0"/>
                </a:ext>
              </a:extLst>
            </a:blip>
            <a:srcRect/>
            <a:stretch>
              <a:fillRect/>
            </a:stretch>
          </p:blipFill>
          <p:spPr bwMode="auto">
            <a:xfrm>
              <a:off x="1244792" y="3950720"/>
              <a:ext cx="1004888" cy="211555"/>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28" descr="http://media.tumblr.com/8651497f45e01efe2cab07ddfcb63eda/tumblr_inline_mxb6grC2AI1qeohrk.png"/>
            <p:cNvPicPr>
              <a:picLocks noChangeAspect="1" noChangeArrowheads="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2308395" y="3893595"/>
              <a:ext cx="1082293" cy="348499"/>
            </a:xfrm>
            <a:prstGeom prst="rect">
              <a:avLst/>
            </a:prstGeom>
            <a:noFill/>
            <a:extLst>
              <a:ext uri="{909E8E84-426E-40DD-AFC4-6F175D3DCCD1}">
                <a14:hiddenFill xmlns:a14="http://schemas.microsoft.com/office/drawing/2010/main">
                  <a:solidFill>
                    <a:srgbClr val="FFFFFF"/>
                  </a:solidFill>
                </a14:hiddenFill>
              </a:ext>
            </a:extLst>
          </p:spPr>
        </p:pic>
        <p:sp>
          <p:nvSpPr>
            <p:cNvPr id="252" name="Rectangle 251"/>
            <p:cNvSpPr/>
            <p:nvPr/>
          </p:nvSpPr>
          <p:spPr bwMode="auto">
            <a:xfrm>
              <a:off x="1184061" y="3743450"/>
              <a:ext cx="2272328" cy="625019"/>
            </a:xfrm>
            <a:prstGeom prst="rect">
              <a:avLst/>
            </a:prstGeom>
            <a:noFill/>
            <a:ln w="28575">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endParaRPr lang="en-US" sz="1961" dirty="0">
                <a:gradFill>
                  <a:gsLst>
                    <a:gs pos="0">
                      <a:srgbClr val="FFFFFF"/>
                    </a:gs>
                    <a:gs pos="100000">
                      <a:srgbClr val="FFFFFF"/>
                    </a:gs>
                  </a:gsLst>
                  <a:lin ang="5400000" scaled="0"/>
                </a:gradFill>
              </a:endParaRPr>
            </a:p>
          </p:txBody>
        </p:sp>
      </p:grpSp>
      <p:sp>
        <p:nvSpPr>
          <p:cNvPr id="177" name="Oval 176"/>
          <p:cNvSpPr/>
          <p:nvPr/>
        </p:nvSpPr>
        <p:spPr bwMode="auto">
          <a:xfrm rot="5400000">
            <a:off x="5133045" y="800182"/>
            <a:ext cx="2301086" cy="4501619"/>
          </a:xfrm>
          <a:prstGeom prst="ellipse">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endParaRPr lang="en-US" sz="1961" dirty="0">
              <a:gradFill>
                <a:gsLst>
                  <a:gs pos="0">
                    <a:srgbClr val="FFFFFF"/>
                  </a:gs>
                  <a:gs pos="100000">
                    <a:srgbClr val="FFFFFF"/>
                  </a:gs>
                </a:gsLst>
                <a:lin ang="5400000" scaled="0"/>
              </a:gradFill>
            </a:endParaRPr>
          </a:p>
        </p:txBody>
      </p:sp>
      <p:sp>
        <p:nvSpPr>
          <p:cNvPr id="178" name="Oval 177"/>
          <p:cNvSpPr/>
          <p:nvPr/>
        </p:nvSpPr>
        <p:spPr bwMode="auto">
          <a:xfrm>
            <a:off x="8915400" y="990497"/>
            <a:ext cx="2330603" cy="5444390"/>
          </a:xfrm>
          <a:prstGeom prst="ellipse">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endParaRPr lang="en-US" sz="196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2565941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fade">
                                      <p:cBhvr>
                                        <p:cTn id="7" dur="500"/>
                                        <p:tgtEl>
                                          <p:spTgt spid="9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39"/>
                                        </p:tgtEl>
                                        <p:attrNameLst>
                                          <p:attrName>style.visibility</p:attrName>
                                        </p:attrNameLst>
                                      </p:cBhvr>
                                      <p:to>
                                        <p:strVal val="visible"/>
                                      </p:to>
                                    </p:set>
                                    <p:animEffect transition="in" filter="fade">
                                      <p:cBhvr>
                                        <p:cTn id="11" dur="500"/>
                                        <p:tgtEl>
                                          <p:spTgt spid="103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47"/>
                                        </p:tgtEl>
                                        <p:attrNameLst>
                                          <p:attrName>style.visibility</p:attrName>
                                        </p:attrNameLst>
                                      </p:cBhvr>
                                      <p:to>
                                        <p:strVal val="visible"/>
                                      </p:to>
                                    </p:set>
                                    <p:animEffect transition="in" filter="fade">
                                      <p:cBhvr>
                                        <p:cTn id="15" dur="500"/>
                                        <p:tgtEl>
                                          <p:spTgt spid="104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051"/>
                                        </p:tgtEl>
                                        <p:attrNameLst>
                                          <p:attrName>style.visibility</p:attrName>
                                        </p:attrNameLst>
                                      </p:cBhvr>
                                      <p:to>
                                        <p:strVal val="visible"/>
                                      </p:to>
                                    </p:set>
                                    <p:animEffect transition="in" filter="fade">
                                      <p:cBhvr>
                                        <p:cTn id="19" dur="500"/>
                                        <p:tgtEl>
                                          <p:spTgt spid="105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050"/>
                                        </p:tgtEl>
                                        <p:attrNameLst>
                                          <p:attrName>style.visibility</p:attrName>
                                        </p:attrNameLst>
                                      </p:cBhvr>
                                      <p:to>
                                        <p:strVal val="visible"/>
                                      </p:to>
                                    </p:set>
                                    <p:animEffect transition="in" filter="fade">
                                      <p:cBhvr>
                                        <p:cTn id="23" dur="500"/>
                                        <p:tgtEl>
                                          <p:spTgt spid="1050"/>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25"/>
                                        </p:tgtEl>
                                        <p:attrNameLst>
                                          <p:attrName>style.visibility</p:attrName>
                                        </p:attrNameLst>
                                      </p:cBhvr>
                                      <p:to>
                                        <p:strVal val="visible"/>
                                      </p:to>
                                    </p:set>
                                    <p:animEffect transition="in" filter="fade">
                                      <p:cBhvr>
                                        <p:cTn id="27" dur="500"/>
                                        <p:tgtEl>
                                          <p:spTgt spid="225"/>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224"/>
                                        </p:tgtEl>
                                        <p:attrNameLst>
                                          <p:attrName>style.visibility</p:attrName>
                                        </p:attrNameLst>
                                      </p:cBhvr>
                                      <p:to>
                                        <p:strVal val="visible"/>
                                      </p:to>
                                    </p:set>
                                    <p:animEffect transition="in" filter="fade">
                                      <p:cBhvr>
                                        <p:cTn id="31" dur="500"/>
                                        <p:tgtEl>
                                          <p:spTgt spid="224"/>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94"/>
                                        </p:tgtEl>
                                        <p:attrNameLst>
                                          <p:attrName>style.visibility</p:attrName>
                                        </p:attrNameLst>
                                      </p:cBhvr>
                                      <p:to>
                                        <p:strVal val="visible"/>
                                      </p:to>
                                    </p:set>
                                    <p:animEffect transition="in" filter="fade">
                                      <p:cBhvr>
                                        <p:cTn id="35" dur="500"/>
                                        <p:tgtEl>
                                          <p:spTgt spid="94"/>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1048"/>
                                        </p:tgtEl>
                                        <p:attrNameLst>
                                          <p:attrName>style.visibility</p:attrName>
                                        </p:attrNameLst>
                                      </p:cBhvr>
                                      <p:to>
                                        <p:strVal val="visible"/>
                                      </p:to>
                                    </p:set>
                                    <p:animEffect transition="in" filter="fade">
                                      <p:cBhvr>
                                        <p:cTn id="39" dur="500"/>
                                        <p:tgtEl>
                                          <p:spTgt spid="1048"/>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109"/>
                                        </p:tgtEl>
                                        <p:attrNameLst>
                                          <p:attrName>style.visibility</p:attrName>
                                        </p:attrNameLst>
                                      </p:cBhvr>
                                      <p:to>
                                        <p:strVal val="visible"/>
                                      </p:to>
                                    </p:set>
                                    <p:animEffect transition="in" filter="fade">
                                      <p:cBhvr>
                                        <p:cTn id="43" dur="500"/>
                                        <p:tgtEl>
                                          <p:spTgt spid="109"/>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1042"/>
                                        </p:tgtEl>
                                        <p:attrNameLst>
                                          <p:attrName>style.visibility</p:attrName>
                                        </p:attrNameLst>
                                      </p:cBhvr>
                                      <p:to>
                                        <p:strVal val="visible"/>
                                      </p:to>
                                    </p:set>
                                    <p:animEffect transition="in" filter="fade">
                                      <p:cBhvr>
                                        <p:cTn id="47" dur="500"/>
                                        <p:tgtEl>
                                          <p:spTgt spid="104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77"/>
                                        </p:tgtEl>
                                        <p:attrNameLst>
                                          <p:attrName>style.visibility</p:attrName>
                                        </p:attrNameLst>
                                      </p:cBhvr>
                                      <p:to>
                                        <p:strVal val="visible"/>
                                      </p:to>
                                    </p:set>
                                    <p:animEffect transition="in" filter="fade">
                                      <p:cBhvr>
                                        <p:cTn id="52" dur="500"/>
                                        <p:tgtEl>
                                          <p:spTgt spid="177"/>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78"/>
                                        </p:tgtEl>
                                        <p:attrNameLst>
                                          <p:attrName>style.visibility</p:attrName>
                                        </p:attrNameLst>
                                      </p:cBhvr>
                                      <p:to>
                                        <p:strVal val="visible"/>
                                      </p:to>
                                    </p:set>
                                    <p:animEffect transition="in" filter="fade">
                                      <p:cBhvr>
                                        <p:cTn id="55" dur="500"/>
                                        <p:tgtEl>
                                          <p:spTgt spid="1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7" grpId="0" animBg="1"/>
      <p:bldP spid="17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8001" y="239896"/>
            <a:ext cx="6348351" cy="610797"/>
          </a:xfrm>
        </p:spPr>
        <p:txBody>
          <a:bodyPr>
            <a:normAutofit fontScale="90000"/>
          </a:bodyPr>
          <a:lstStyle/>
          <a:p>
            <a:r>
              <a:rPr lang="en-US" dirty="0">
                <a:solidFill>
                  <a:srgbClr val="0070C0"/>
                </a:solidFill>
              </a:rPr>
              <a:t>ADL Store Architecture</a:t>
            </a:r>
          </a:p>
        </p:txBody>
      </p:sp>
      <p:grpSp>
        <p:nvGrpSpPr>
          <p:cNvPr id="3" name="Group 2"/>
          <p:cNvGrpSpPr/>
          <p:nvPr/>
        </p:nvGrpSpPr>
        <p:grpSpPr>
          <a:xfrm>
            <a:off x="76200" y="1420949"/>
            <a:ext cx="9372599" cy="4958439"/>
            <a:chOff x="2513143" y="1326208"/>
            <a:chExt cx="8112175" cy="5057866"/>
          </a:xfrm>
        </p:grpSpPr>
        <p:sp>
          <p:nvSpPr>
            <p:cNvPr id="4" name="Rectangle 3"/>
            <p:cNvSpPr/>
            <p:nvPr/>
          </p:nvSpPr>
          <p:spPr>
            <a:xfrm>
              <a:off x="3334815" y="4664629"/>
              <a:ext cx="5410274" cy="738206"/>
            </a:xfrm>
            <a:prstGeom prst="rect">
              <a:avLst/>
            </a:prstGeom>
          </p:spPr>
          <p:style>
            <a:lnRef idx="0">
              <a:schemeClr val="accent5"/>
            </a:lnRef>
            <a:fillRef idx="3">
              <a:schemeClr val="accent5"/>
            </a:fillRef>
            <a:effectRef idx="3">
              <a:schemeClr val="accent5"/>
            </a:effectRef>
            <a:fontRef idx="minor">
              <a:schemeClr val="lt1"/>
            </a:fontRef>
          </p:style>
          <p:txBody>
            <a:bodyPr rot="0" spcFirstLastPara="0" vert="horz" wrap="square" lIns="91414" tIns="45706" rIns="91414" bIns="45706" numCol="1" spcCol="0" rtlCol="0" fromWordArt="0" anchor="ctr" anchorCtr="0" forceAA="0" compatLnSpc="1">
              <a:prstTxWarp prst="textNoShape">
                <a:avLst/>
              </a:prstTxWarp>
              <a:noAutofit/>
            </a:bodyPr>
            <a:lstStyle/>
            <a:p>
              <a:pPr algn="ctr" defTabSz="914072"/>
              <a:r>
                <a:rPr lang="en-US" sz="1100" dirty="0">
                  <a:solidFill>
                    <a:prstClr val="white"/>
                  </a:solidFill>
                  <a:ea typeface="SimSun" panose="02010600030101010101" pitchFamily="2" charset="-122"/>
                  <a:cs typeface="Times New Roman" panose="02020603050405020304" pitchFamily="18" charset="0"/>
                </a:rPr>
                <a:t>Data Lake Store Backend</a:t>
              </a:r>
            </a:p>
          </p:txBody>
        </p:sp>
        <p:sp>
          <p:nvSpPr>
            <p:cNvPr id="6" name="Rectangle 7"/>
            <p:cNvSpPr/>
            <p:nvPr/>
          </p:nvSpPr>
          <p:spPr>
            <a:xfrm>
              <a:off x="3343068" y="4054052"/>
              <a:ext cx="3353276" cy="310825"/>
            </a:xfrm>
            <a:prstGeom prst="rect">
              <a:avLst/>
            </a:prstGeom>
          </p:spPr>
          <p:style>
            <a:lnRef idx="0">
              <a:schemeClr val="accent6"/>
            </a:lnRef>
            <a:fillRef idx="3">
              <a:schemeClr val="accent6"/>
            </a:fillRef>
            <a:effectRef idx="3">
              <a:schemeClr val="accent6"/>
            </a:effectRef>
            <a:fontRef idx="minor">
              <a:schemeClr val="lt1"/>
            </a:fontRef>
          </p:style>
          <p:txBody>
            <a:bodyPr rot="0" spcFirstLastPara="0" vert="horz" wrap="square" lIns="91414" tIns="45706" rIns="91414" bIns="45706" numCol="1" spcCol="0" rtlCol="0" fromWordArt="0" anchor="ctr" anchorCtr="0" forceAA="0" compatLnSpc="1">
              <a:prstTxWarp prst="textNoShape">
                <a:avLst/>
              </a:prstTxWarp>
              <a:noAutofit/>
            </a:bodyPr>
            <a:lstStyle/>
            <a:p>
              <a:pPr algn="ctr" defTabSz="914072"/>
              <a:r>
                <a:rPr lang="en-US" sz="1100" dirty="0">
                  <a:solidFill>
                    <a:prstClr val="white"/>
                  </a:solidFill>
                  <a:ea typeface="SimSun" panose="02010600030101010101" pitchFamily="2" charset="-122"/>
                  <a:cs typeface="Times New Roman" panose="02020603050405020304" pitchFamily="18" charset="0"/>
                </a:rPr>
                <a:t>SSD-backed Data Lake Ingestion layer</a:t>
              </a:r>
            </a:p>
          </p:txBody>
        </p:sp>
        <p:grpSp>
          <p:nvGrpSpPr>
            <p:cNvPr id="8" name="Group 13"/>
            <p:cNvGrpSpPr/>
            <p:nvPr/>
          </p:nvGrpSpPr>
          <p:grpSpPr>
            <a:xfrm>
              <a:off x="3381579" y="1890854"/>
              <a:ext cx="5369616" cy="739826"/>
              <a:chOff x="3449820" y="327025"/>
              <a:chExt cx="5265555" cy="725488"/>
            </a:xfrm>
          </p:grpSpPr>
          <p:sp>
            <p:nvSpPr>
              <p:cNvPr id="9" name="Rectangle 14"/>
              <p:cNvSpPr/>
              <p:nvPr/>
            </p:nvSpPr>
            <p:spPr>
              <a:xfrm>
                <a:off x="3449820" y="327025"/>
                <a:ext cx="5265555" cy="725488"/>
              </a:xfrm>
              <a:prstGeom prst="rect">
                <a:avLst/>
              </a:prstGeom>
              <a:solidFill>
                <a:schemeClr val="tx2">
                  <a:lumMod val="90000"/>
                </a:schemeClr>
              </a:solidFill>
            </p:spPr>
            <p:style>
              <a:lnRef idx="0">
                <a:schemeClr val="accent4"/>
              </a:lnRef>
              <a:fillRef idx="3">
                <a:schemeClr val="accent4"/>
              </a:fillRef>
              <a:effectRef idx="3">
                <a:schemeClr val="accent4"/>
              </a:effectRef>
              <a:fontRef idx="minor">
                <a:schemeClr val="lt1"/>
              </a:fontRef>
            </p:style>
            <p:txBody>
              <a:bodyPr rot="0" spcFirstLastPara="0" vert="horz" wrap="square" lIns="91414" tIns="45706" rIns="91414" bIns="45706" numCol="1" spcCol="0" rtlCol="0" fromWordArt="0" anchor="ctr" anchorCtr="0" forceAA="0" compatLnSpc="1">
                <a:prstTxWarp prst="textNoShape">
                  <a:avLst/>
                </a:prstTxWarp>
                <a:noAutofit/>
              </a:bodyPr>
              <a:lstStyle/>
              <a:p>
                <a:pPr algn="ctr" defTabSz="914072"/>
                <a:r>
                  <a:rPr lang="en-US" sz="1100" dirty="0">
                    <a:solidFill>
                      <a:prstClr val="white"/>
                    </a:solidFill>
                    <a:ea typeface="SimSun" panose="02010600030101010101" pitchFamily="2" charset="-122"/>
                    <a:cs typeface="Times New Roman" panose="02020603050405020304" pitchFamily="18" charset="0"/>
                  </a:rPr>
                  <a:t> </a:t>
                </a:r>
              </a:p>
            </p:txBody>
          </p:sp>
          <p:sp>
            <p:nvSpPr>
              <p:cNvPr id="10" name="Rectangle 15"/>
              <p:cNvSpPr/>
              <p:nvPr/>
            </p:nvSpPr>
            <p:spPr>
              <a:xfrm>
                <a:off x="3714750" y="619772"/>
                <a:ext cx="1222961" cy="304800"/>
              </a:xfrm>
              <a:prstGeom prst="rect">
                <a:avLst/>
              </a:prstGeom>
              <a:solidFill>
                <a:schemeClr val="tx2">
                  <a:lumMod val="50000"/>
                </a:schemeClr>
              </a:solidFill>
            </p:spPr>
            <p:style>
              <a:lnRef idx="0">
                <a:schemeClr val="accent6"/>
              </a:lnRef>
              <a:fillRef idx="3">
                <a:schemeClr val="accent6"/>
              </a:fillRef>
              <a:effectRef idx="3">
                <a:schemeClr val="accent6"/>
              </a:effectRef>
              <a:fontRef idx="minor">
                <a:schemeClr val="lt1"/>
              </a:fontRef>
            </p:style>
            <p:txBody>
              <a:bodyPr rot="0" spcFirstLastPara="0" vert="horz" wrap="square" lIns="91414" tIns="45706" rIns="91414" bIns="45706" numCol="1" spcCol="0" rtlCol="0" fromWordArt="0" anchor="ctr" anchorCtr="0" forceAA="0" compatLnSpc="1">
                <a:prstTxWarp prst="textNoShape">
                  <a:avLst/>
                </a:prstTxWarp>
                <a:noAutofit/>
              </a:bodyPr>
              <a:lstStyle/>
              <a:p>
                <a:pPr algn="ctr" defTabSz="914072"/>
                <a:r>
                  <a:rPr lang="en-US" sz="900" dirty="0">
                    <a:solidFill>
                      <a:prstClr val="white"/>
                    </a:solidFill>
                    <a:ea typeface="SimSun" panose="02010600030101010101" pitchFamily="2" charset="-122"/>
                    <a:cs typeface="Times New Roman" panose="02020603050405020304" pitchFamily="18" charset="0"/>
                  </a:rPr>
                  <a:t>Data Lake </a:t>
                </a:r>
                <a:r>
                  <a:rPr lang="en-US" sz="900" dirty="0" err="1">
                    <a:solidFill>
                      <a:prstClr val="white"/>
                    </a:solidFill>
                    <a:ea typeface="SimSun" panose="02010600030101010101" pitchFamily="2" charset="-122"/>
                    <a:cs typeface="Times New Roman" panose="02020603050405020304" pitchFamily="18" charset="0"/>
                  </a:rPr>
                  <a:t>WebHDFS</a:t>
                </a:r>
                <a:r>
                  <a:rPr lang="en-US" sz="900" dirty="0">
                    <a:solidFill>
                      <a:prstClr val="white"/>
                    </a:solidFill>
                    <a:ea typeface="SimSun" panose="02010600030101010101" pitchFamily="2" charset="-122"/>
                    <a:cs typeface="Times New Roman" panose="02020603050405020304" pitchFamily="18" charset="0"/>
                  </a:rPr>
                  <a:t> Client</a:t>
                </a:r>
              </a:p>
            </p:txBody>
          </p:sp>
          <p:sp>
            <p:nvSpPr>
              <p:cNvPr id="11" name="Rectangle 16"/>
              <p:cNvSpPr/>
              <p:nvPr/>
            </p:nvSpPr>
            <p:spPr>
              <a:xfrm>
                <a:off x="5197215" y="629266"/>
                <a:ext cx="1323432" cy="304800"/>
              </a:xfrm>
              <a:prstGeom prst="rect">
                <a:avLst/>
              </a:prstGeom>
              <a:solidFill>
                <a:schemeClr val="tx2">
                  <a:lumMod val="50000"/>
                </a:schemeClr>
              </a:solidFill>
            </p:spPr>
            <p:style>
              <a:lnRef idx="0">
                <a:schemeClr val="accent6"/>
              </a:lnRef>
              <a:fillRef idx="3">
                <a:schemeClr val="accent6"/>
              </a:fillRef>
              <a:effectRef idx="3">
                <a:schemeClr val="accent6"/>
              </a:effectRef>
              <a:fontRef idx="minor">
                <a:schemeClr val="lt1"/>
              </a:fontRef>
            </p:style>
            <p:txBody>
              <a:bodyPr rot="0" spcFirstLastPara="0" vert="horz" wrap="square" lIns="91414" tIns="45706" rIns="91414" bIns="45706" numCol="1" spcCol="0" rtlCol="0" fromWordArt="0" anchor="ctr" anchorCtr="0" forceAA="0" compatLnSpc="1">
                <a:prstTxWarp prst="textNoShape">
                  <a:avLst/>
                </a:prstTxWarp>
                <a:noAutofit/>
              </a:bodyPr>
              <a:lstStyle/>
              <a:p>
                <a:pPr algn="ctr" defTabSz="914072"/>
                <a:r>
                  <a:rPr lang="en-US" sz="900" dirty="0">
                    <a:solidFill>
                      <a:prstClr val="white"/>
                    </a:solidFill>
                    <a:ea typeface="SimSun" panose="02010600030101010101" pitchFamily="2" charset="-122"/>
                    <a:cs typeface="Times New Roman" panose="02020603050405020304" pitchFamily="18" charset="0"/>
                  </a:rPr>
                  <a:t>Data Lake Management Client</a:t>
                </a:r>
              </a:p>
            </p:txBody>
          </p:sp>
          <p:sp>
            <p:nvSpPr>
              <p:cNvPr id="12" name="Text Box 13"/>
              <p:cNvSpPr txBox="1"/>
              <p:nvPr/>
            </p:nvSpPr>
            <p:spPr>
              <a:xfrm>
                <a:off x="4924425" y="338138"/>
                <a:ext cx="2238375" cy="31432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14" tIns="45706" rIns="91414" bIns="45706" numCol="1" spcCol="0" rtlCol="0" fromWordArt="0" anchor="t" anchorCtr="0" forceAA="0" compatLnSpc="1">
                <a:prstTxWarp prst="textNoShape">
                  <a:avLst/>
                </a:prstTxWarp>
                <a:noAutofit/>
              </a:bodyPr>
              <a:lstStyle/>
              <a:p>
                <a:pPr algn="ctr" defTabSz="914072"/>
                <a:r>
                  <a:rPr lang="en-US" sz="1100" b="1" dirty="0">
                    <a:solidFill>
                      <a:schemeClr val="bg1"/>
                    </a:solidFill>
                    <a:ea typeface="SimSun" panose="02010600030101010101" pitchFamily="2" charset="-122"/>
                    <a:cs typeface="Times New Roman" panose="02020603050405020304" pitchFamily="18" charset="0"/>
                  </a:rPr>
                  <a:t>Data Lake Client SDK</a:t>
                </a:r>
              </a:p>
            </p:txBody>
          </p:sp>
        </p:grpSp>
        <p:sp>
          <p:nvSpPr>
            <p:cNvPr id="13" name="Rectangle 23"/>
            <p:cNvSpPr/>
            <p:nvPr/>
          </p:nvSpPr>
          <p:spPr>
            <a:xfrm>
              <a:off x="3370897" y="2982700"/>
              <a:ext cx="4407669" cy="825626"/>
            </a:xfrm>
            <a:prstGeom prst="rect">
              <a:avLst/>
            </a:prstGeom>
            <a:solidFill>
              <a:schemeClr val="tx2">
                <a:lumMod val="90000"/>
              </a:schemeClr>
            </a:solidFill>
          </p:spPr>
          <p:style>
            <a:lnRef idx="0">
              <a:schemeClr val="accent2"/>
            </a:lnRef>
            <a:fillRef idx="3">
              <a:schemeClr val="accent2"/>
            </a:fillRef>
            <a:effectRef idx="3">
              <a:schemeClr val="accent2"/>
            </a:effectRef>
            <a:fontRef idx="minor">
              <a:schemeClr val="lt1"/>
            </a:fontRef>
          </p:style>
          <p:txBody>
            <a:bodyPr rot="0" spcFirstLastPara="0" vert="horz" wrap="square" lIns="91414" tIns="45706" rIns="91414" bIns="45706" numCol="1" spcCol="0" rtlCol="0" fromWordArt="0" anchor="ctr" anchorCtr="0" forceAA="0" compatLnSpc="1">
              <a:prstTxWarp prst="textNoShape">
                <a:avLst/>
              </a:prstTxWarp>
              <a:noAutofit/>
            </a:bodyPr>
            <a:lstStyle/>
            <a:p>
              <a:pPr algn="ctr" defTabSz="914072"/>
              <a:r>
                <a:rPr lang="en-US" sz="1100" dirty="0">
                  <a:solidFill>
                    <a:prstClr val="white"/>
                  </a:solidFill>
                  <a:ea typeface="SimSun" panose="02010600030101010101" pitchFamily="2" charset="-122"/>
                  <a:cs typeface="Times New Roman" panose="02020603050405020304" pitchFamily="18" charset="0"/>
                </a:rPr>
                <a:t> </a:t>
              </a:r>
            </a:p>
          </p:txBody>
        </p:sp>
        <p:sp>
          <p:nvSpPr>
            <p:cNvPr id="14" name="Rectangle 24"/>
            <p:cNvSpPr/>
            <p:nvPr/>
          </p:nvSpPr>
          <p:spPr>
            <a:xfrm>
              <a:off x="3901451" y="3325799"/>
              <a:ext cx="1509785" cy="319878"/>
            </a:xfrm>
            <a:prstGeom prst="rect">
              <a:avLst/>
            </a:prstGeom>
            <a:solidFill>
              <a:schemeClr val="tx2">
                <a:lumMod val="50000"/>
              </a:schemeClr>
            </a:solidFill>
          </p:spPr>
          <p:style>
            <a:lnRef idx="0">
              <a:schemeClr val="accent6"/>
            </a:lnRef>
            <a:fillRef idx="3">
              <a:schemeClr val="accent6"/>
            </a:fillRef>
            <a:effectRef idx="3">
              <a:schemeClr val="accent6"/>
            </a:effectRef>
            <a:fontRef idx="minor">
              <a:schemeClr val="lt1"/>
            </a:fontRef>
          </p:style>
          <p:txBody>
            <a:bodyPr rot="0" spcFirstLastPara="0" vert="horz" wrap="square" lIns="91414" tIns="45706" rIns="91414" bIns="45706" numCol="1" spcCol="0" rtlCol="0" fromWordArt="0" anchor="ctr" anchorCtr="0" forceAA="0" compatLnSpc="1">
              <a:prstTxWarp prst="textNoShape">
                <a:avLst/>
              </a:prstTxWarp>
              <a:noAutofit/>
            </a:bodyPr>
            <a:lstStyle/>
            <a:p>
              <a:pPr algn="ctr" defTabSz="914072"/>
              <a:r>
                <a:rPr lang="en-US" sz="900" dirty="0" err="1">
                  <a:solidFill>
                    <a:prstClr val="white"/>
                  </a:solidFill>
                  <a:ea typeface="SimSun" panose="02010600030101010101" pitchFamily="2" charset="-122"/>
                  <a:cs typeface="Times New Roman" panose="02020603050405020304" pitchFamily="18" charset="0"/>
                </a:rPr>
                <a:t>WebHDFS</a:t>
              </a:r>
              <a:r>
                <a:rPr lang="en-US" sz="900" dirty="0">
                  <a:solidFill>
                    <a:prstClr val="white"/>
                  </a:solidFill>
                  <a:ea typeface="SimSun" panose="02010600030101010101" pitchFamily="2" charset="-122"/>
                  <a:cs typeface="Times New Roman" panose="02020603050405020304" pitchFamily="18" charset="0"/>
                </a:rPr>
                <a:t> REST API </a:t>
              </a:r>
            </a:p>
            <a:p>
              <a:pPr algn="ctr" defTabSz="914072"/>
              <a:r>
                <a:rPr lang="en-US" sz="900" dirty="0">
                  <a:solidFill>
                    <a:prstClr val="white"/>
                  </a:solidFill>
                  <a:ea typeface="SimSun" panose="02010600030101010101" pitchFamily="2" charset="-122"/>
                  <a:cs typeface="Times New Roman" panose="02020603050405020304" pitchFamily="18" charset="0"/>
                </a:rPr>
                <a:t>(Data Access)</a:t>
              </a:r>
            </a:p>
          </p:txBody>
        </p:sp>
        <p:sp>
          <p:nvSpPr>
            <p:cNvPr id="15" name="Text Box 14"/>
            <p:cNvSpPr txBox="1"/>
            <p:nvPr/>
          </p:nvSpPr>
          <p:spPr>
            <a:xfrm>
              <a:off x="3856169" y="2976579"/>
              <a:ext cx="4280856" cy="320537"/>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14" tIns="45706" rIns="91414" bIns="45706" numCol="1" spcCol="0" rtlCol="0" fromWordArt="0" anchor="t" anchorCtr="0" forceAA="0" compatLnSpc="1">
              <a:prstTxWarp prst="textNoShape">
                <a:avLst/>
              </a:prstTxWarp>
              <a:noAutofit/>
            </a:bodyPr>
            <a:lstStyle/>
            <a:p>
              <a:pPr algn="ctr" defTabSz="914072"/>
              <a:r>
                <a:rPr lang="en-US" sz="1100" b="1" dirty="0">
                  <a:solidFill>
                    <a:schemeClr val="bg1"/>
                  </a:solidFill>
                  <a:ea typeface="SimSun" panose="02010600030101010101" pitchFamily="2" charset="-122"/>
                  <a:cs typeface="Times New Roman" panose="02020603050405020304" pitchFamily="18" charset="0"/>
                </a:rPr>
                <a:t>Data Lake Store Frontend</a:t>
              </a:r>
            </a:p>
          </p:txBody>
        </p:sp>
        <p:sp>
          <p:nvSpPr>
            <p:cNvPr id="16" name="Rectangle 26"/>
            <p:cNvSpPr/>
            <p:nvPr/>
          </p:nvSpPr>
          <p:spPr>
            <a:xfrm>
              <a:off x="6125659" y="3333762"/>
              <a:ext cx="1220482" cy="310824"/>
            </a:xfrm>
            <a:prstGeom prst="rect">
              <a:avLst/>
            </a:prstGeom>
            <a:solidFill>
              <a:schemeClr val="tx2">
                <a:lumMod val="50000"/>
              </a:schemeClr>
            </a:solidFill>
          </p:spPr>
          <p:style>
            <a:lnRef idx="0">
              <a:schemeClr val="accent6"/>
            </a:lnRef>
            <a:fillRef idx="3">
              <a:schemeClr val="accent6"/>
            </a:fillRef>
            <a:effectRef idx="3">
              <a:schemeClr val="accent6"/>
            </a:effectRef>
            <a:fontRef idx="minor">
              <a:schemeClr val="lt1"/>
            </a:fontRef>
          </p:style>
          <p:txBody>
            <a:bodyPr rot="0" spcFirstLastPara="0" vert="horz" wrap="square" lIns="91414" tIns="45706" rIns="91414" bIns="45706" numCol="1" spcCol="0" rtlCol="0" fromWordArt="0" anchor="ctr" anchorCtr="0" forceAA="0" compatLnSpc="1">
              <a:prstTxWarp prst="textNoShape">
                <a:avLst/>
              </a:prstTxWarp>
              <a:noAutofit/>
            </a:bodyPr>
            <a:lstStyle/>
            <a:p>
              <a:pPr algn="ctr" defTabSz="914072"/>
              <a:r>
                <a:rPr lang="en-US" sz="900" dirty="0">
                  <a:solidFill>
                    <a:prstClr val="white"/>
                  </a:solidFill>
                  <a:ea typeface="SimSun" panose="02010600030101010101" pitchFamily="2" charset="-122"/>
                  <a:cs typeface="Times New Roman" panose="02020603050405020304" pitchFamily="18" charset="0"/>
                </a:rPr>
                <a:t>Management API</a:t>
              </a:r>
            </a:p>
          </p:txBody>
        </p:sp>
        <p:grpSp>
          <p:nvGrpSpPr>
            <p:cNvPr id="17" name="Group 16"/>
            <p:cNvGrpSpPr/>
            <p:nvPr/>
          </p:nvGrpSpPr>
          <p:grpSpPr>
            <a:xfrm>
              <a:off x="3334816" y="5508470"/>
              <a:ext cx="5410273" cy="875604"/>
              <a:chOff x="3476625" y="6256541"/>
              <a:chExt cx="5238750" cy="858634"/>
            </a:xfrm>
          </p:grpSpPr>
          <p:grpSp>
            <p:nvGrpSpPr>
              <p:cNvPr id="18" name="Group 17"/>
              <p:cNvGrpSpPr/>
              <p:nvPr/>
            </p:nvGrpSpPr>
            <p:grpSpPr>
              <a:xfrm>
                <a:off x="3476625" y="6256541"/>
                <a:ext cx="5238750" cy="858634"/>
                <a:chOff x="0" y="-10909"/>
                <a:chExt cx="2828925" cy="858634"/>
              </a:xfrm>
            </p:grpSpPr>
            <p:sp>
              <p:nvSpPr>
                <p:cNvPr id="26" name="Rectangle 25"/>
                <p:cNvSpPr/>
                <p:nvPr/>
              </p:nvSpPr>
              <p:spPr>
                <a:xfrm>
                  <a:off x="0" y="-10909"/>
                  <a:ext cx="2828925" cy="809625"/>
                </a:xfrm>
                <a:prstGeom prst="rect">
                  <a:avLst/>
                </a:prstGeom>
                <a:solidFill>
                  <a:schemeClr val="tx2">
                    <a:lumMod val="90000"/>
                  </a:schemeClr>
                </a:solidFill>
              </p:spPr>
              <p:style>
                <a:lnRef idx="0">
                  <a:schemeClr val="accent2"/>
                </a:lnRef>
                <a:fillRef idx="3">
                  <a:schemeClr val="accent2"/>
                </a:fillRef>
                <a:effectRef idx="3">
                  <a:schemeClr val="accent2"/>
                </a:effectRef>
                <a:fontRef idx="minor">
                  <a:schemeClr val="lt1"/>
                </a:fontRef>
              </p:style>
              <p:txBody>
                <a:bodyPr rot="0" spcFirstLastPara="0" vert="horz" wrap="square" lIns="91414" tIns="45706" rIns="91414" bIns="45706" numCol="1" spcCol="0" rtlCol="0" fromWordArt="0" anchor="ctr" anchorCtr="0" forceAA="0" compatLnSpc="1">
                  <a:prstTxWarp prst="textNoShape">
                    <a:avLst/>
                  </a:prstTxWarp>
                  <a:noAutofit/>
                </a:bodyPr>
                <a:lstStyle/>
                <a:p>
                  <a:pPr algn="ctr" defTabSz="914072"/>
                  <a:r>
                    <a:rPr lang="en-US" sz="1100" dirty="0">
                      <a:solidFill>
                        <a:prstClr val="white"/>
                      </a:solidFill>
                      <a:ea typeface="SimSun" panose="02010600030101010101" pitchFamily="2" charset="-122"/>
                      <a:cs typeface="Times New Roman" panose="02020603050405020304" pitchFamily="18" charset="0"/>
                    </a:rPr>
                    <a:t> </a:t>
                  </a:r>
                </a:p>
              </p:txBody>
            </p:sp>
            <p:sp>
              <p:nvSpPr>
                <p:cNvPr id="27" name="Text Box 23"/>
                <p:cNvSpPr txBox="1"/>
                <p:nvPr/>
              </p:nvSpPr>
              <p:spPr>
                <a:xfrm>
                  <a:off x="209550" y="533400"/>
                  <a:ext cx="2238375" cy="31432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14" tIns="45706" rIns="91414" bIns="45706" numCol="1" spcCol="0" rtlCol="0" fromWordArt="0" anchor="t" anchorCtr="0" forceAA="0" compatLnSpc="1">
                  <a:prstTxWarp prst="textNoShape">
                    <a:avLst/>
                  </a:prstTxWarp>
                  <a:noAutofit/>
                </a:bodyPr>
                <a:lstStyle/>
                <a:p>
                  <a:pPr algn="ctr" defTabSz="914072"/>
                  <a:r>
                    <a:rPr lang="en-US" sz="1100" dirty="0">
                      <a:solidFill>
                        <a:srgbClr val="FFFFFF"/>
                      </a:solidFill>
                      <a:ea typeface="SimSun" panose="02010600030101010101" pitchFamily="2" charset="-122"/>
                      <a:cs typeface="Times New Roman" panose="02020603050405020304" pitchFamily="18" charset="0"/>
                    </a:rPr>
                    <a:t>Scale out Storage</a:t>
                  </a:r>
                  <a:endParaRPr lang="en-US" sz="1100" dirty="0">
                    <a:solidFill>
                      <a:prstClr val="black"/>
                    </a:solidFill>
                    <a:ea typeface="SimSun" panose="02010600030101010101" pitchFamily="2" charset="-122"/>
                    <a:cs typeface="Times New Roman" panose="02020603050405020304" pitchFamily="18" charset="0"/>
                  </a:endParaRPr>
                </a:p>
              </p:txBody>
            </p:sp>
          </p:grpSp>
          <p:sp>
            <p:nvSpPr>
              <p:cNvPr id="19" name="Rectangle 18"/>
              <p:cNvSpPr/>
              <p:nvPr/>
            </p:nvSpPr>
            <p:spPr>
              <a:xfrm>
                <a:off x="3714750" y="6429375"/>
                <a:ext cx="533400" cy="371475"/>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4" tIns="45706" rIns="91414" bIns="45706" numCol="1" spcCol="0" rtlCol="0" fromWordArt="0" anchor="ctr" anchorCtr="0" forceAA="0" compatLnSpc="1">
                <a:prstTxWarp prst="textNoShape">
                  <a:avLst/>
                </a:prstTxWarp>
                <a:noAutofit/>
              </a:bodyPr>
              <a:lstStyle/>
              <a:p>
                <a:pPr defTabSz="914072"/>
                <a:endParaRPr lang="en-US" sz="2160" dirty="0">
                  <a:solidFill>
                    <a:prstClr val="white"/>
                  </a:solidFill>
                </a:endParaRPr>
              </a:p>
            </p:txBody>
          </p:sp>
          <p:sp>
            <p:nvSpPr>
              <p:cNvPr id="20" name="Rectangle 19"/>
              <p:cNvSpPr/>
              <p:nvPr/>
            </p:nvSpPr>
            <p:spPr>
              <a:xfrm>
                <a:off x="4457700" y="6429375"/>
                <a:ext cx="533400" cy="371475"/>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4" tIns="45706" rIns="91414" bIns="45706" numCol="1" spcCol="0" rtlCol="0" fromWordArt="0" anchor="ctr" anchorCtr="0" forceAA="0" compatLnSpc="1">
                <a:prstTxWarp prst="textNoShape">
                  <a:avLst/>
                </a:prstTxWarp>
                <a:noAutofit/>
              </a:bodyPr>
              <a:lstStyle/>
              <a:p>
                <a:pPr defTabSz="914072"/>
                <a:endParaRPr lang="en-US" sz="2160" dirty="0">
                  <a:solidFill>
                    <a:prstClr val="white"/>
                  </a:solidFill>
                </a:endParaRPr>
              </a:p>
            </p:txBody>
          </p:sp>
          <p:sp>
            <p:nvSpPr>
              <p:cNvPr id="21" name="Rectangle 20"/>
              <p:cNvSpPr/>
              <p:nvPr/>
            </p:nvSpPr>
            <p:spPr>
              <a:xfrm>
                <a:off x="5172075" y="6429375"/>
                <a:ext cx="533400" cy="371475"/>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4" tIns="45706" rIns="91414" bIns="45706" numCol="1" spcCol="0" rtlCol="0" fromWordArt="0" anchor="ctr" anchorCtr="0" forceAA="0" compatLnSpc="1">
                <a:prstTxWarp prst="textNoShape">
                  <a:avLst/>
                </a:prstTxWarp>
                <a:noAutofit/>
              </a:bodyPr>
              <a:lstStyle/>
              <a:p>
                <a:pPr defTabSz="914072"/>
                <a:endParaRPr lang="en-US" sz="2160" dirty="0">
                  <a:solidFill>
                    <a:prstClr val="white"/>
                  </a:solidFill>
                </a:endParaRPr>
              </a:p>
            </p:txBody>
          </p:sp>
          <p:sp>
            <p:nvSpPr>
              <p:cNvPr id="22" name="Rectangle 21"/>
              <p:cNvSpPr/>
              <p:nvPr/>
            </p:nvSpPr>
            <p:spPr>
              <a:xfrm>
                <a:off x="5886450" y="6429375"/>
                <a:ext cx="533400" cy="371475"/>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4" tIns="45706" rIns="91414" bIns="45706" numCol="1" spcCol="0" rtlCol="0" fromWordArt="0" anchor="ctr" anchorCtr="0" forceAA="0" compatLnSpc="1">
                <a:prstTxWarp prst="textNoShape">
                  <a:avLst/>
                </a:prstTxWarp>
                <a:noAutofit/>
              </a:bodyPr>
              <a:lstStyle/>
              <a:p>
                <a:pPr defTabSz="914072"/>
                <a:endParaRPr lang="en-US" sz="2160" dirty="0">
                  <a:solidFill>
                    <a:prstClr val="white"/>
                  </a:solidFill>
                </a:endParaRPr>
              </a:p>
            </p:txBody>
          </p:sp>
          <p:sp>
            <p:nvSpPr>
              <p:cNvPr id="23" name="Rectangle 22"/>
              <p:cNvSpPr/>
              <p:nvPr/>
            </p:nvSpPr>
            <p:spPr>
              <a:xfrm>
                <a:off x="6629400" y="6429375"/>
                <a:ext cx="533400" cy="371475"/>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4" tIns="45706" rIns="91414" bIns="45706" numCol="1" spcCol="0" rtlCol="0" fromWordArt="0" anchor="ctr" anchorCtr="0" forceAA="0" compatLnSpc="1">
                <a:prstTxWarp prst="textNoShape">
                  <a:avLst/>
                </a:prstTxWarp>
                <a:noAutofit/>
              </a:bodyPr>
              <a:lstStyle/>
              <a:p>
                <a:pPr defTabSz="914072"/>
                <a:endParaRPr lang="en-US" sz="2160" dirty="0">
                  <a:solidFill>
                    <a:prstClr val="white"/>
                  </a:solidFill>
                </a:endParaRPr>
              </a:p>
            </p:txBody>
          </p:sp>
          <p:sp>
            <p:nvSpPr>
              <p:cNvPr id="24" name="Rectangle 23"/>
              <p:cNvSpPr/>
              <p:nvPr/>
            </p:nvSpPr>
            <p:spPr>
              <a:xfrm>
                <a:off x="7343775" y="6429375"/>
                <a:ext cx="533400" cy="371475"/>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4" tIns="45706" rIns="91414" bIns="45706" numCol="1" spcCol="0" rtlCol="0" fromWordArt="0" anchor="ctr" anchorCtr="0" forceAA="0" compatLnSpc="1">
                <a:prstTxWarp prst="textNoShape">
                  <a:avLst/>
                </a:prstTxWarp>
                <a:noAutofit/>
              </a:bodyPr>
              <a:lstStyle/>
              <a:p>
                <a:pPr defTabSz="914072"/>
                <a:endParaRPr lang="en-US" sz="2160" dirty="0">
                  <a:solidFill>
                    <a:prstClr val="white"/>
                  </a:solidFill>
                </a:endParaRPr>
              </a:p>
            </p:txBody>
          </p:sp>
          <p:sp>
            <p:nvSpPr>
              <p:cNvPr id="25" name="Rectangle 24"/>
              <p:cNvSpPr/>
              <p:nvPr/>
            </p:nvSpPr>
            <p:spPr>
              <a:xfrm>
                <a:off x="8058150" y="6429375"/>
                <a:ext cx="533400" cy="371475"/>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4" tIns="45706" rIns="91414" bIns="45706" numCol="1" spcCol="0" rtlCol="0" fromWordArt="0" anchor="ctr" anchorCtr="0" forceAA="0" compatLnSpc="1">
                <a:prstTxWarp prst="textNoShape">
                  <a:avLst/>
                </a:prstTxWarp>
                <a:noAutofit/>
              </a:bodyPr>
              <a:lstStyle/>
              <a:p>
                <a:pPr defTabSz="914072"/>
                <a:endParaRPr lang="en-US" sz="2160" dirty="0">
                  <a:solidFill>
                    <a:prstClr val="white"/>
                  </a:solidFill>
                </a:endParaRPr>
              </a:p>
            </p:txBody>
          </p:sp>
        </p:grpSp>
        <p:cxnSp>
          <p:nvCxnSpPr>
            <p:cNvPr id="28" name="Straight Connector 27"/>
            <p:cNvCxnSpPr/>
            <p:nvPr/>
          </p:nvCxnSpPr>
          <p:spPr>
            <a:xfrm flipV="1">
              <a:off x="3109416" y="2819840"/>
              <a:ext cx="6153255" cy="10432"/>
            </a:xfrm>
            <a:prstGeom prst="line">
              <a:avLst/>
            </a:prstGeom>
            <a:ln>
              <a:solidFill>
                <a:schemeClr val="tx1">
                  <a:alpha val="50000"/>
                </a:schemeClr>
              </a:solidFill>
            </a:ln>
          </p:spPr>
          <p:style>
            <a:lnRef idx="3">
              <a:schemeClr val="dk1"/>
            </a:lnRef>
            <a:fillRef idx="0">
              <a:schemeClr val="dk1"/>
            </a:fillRef>
            <a:effectRef idx="2">
              <a:schemeClr val="dk1"/>
            </a:effectRef>
            <a:fontRef idx="minor">
              <a:schemeClr val="tx1"/>
            </a:fontRef>
          </p:style>
        </p:cxnSp>
        <p:sp>
          <p:nvSpPr>
            <p:cNvPr id="29" name="Up-Down Arrow 28"/>
            <p:cNvSpPr/>
            <p:nvPr/>
          </p:nvSpPr>
          <p:spPr>
            <a:xfrm>
              <a:off x="5959599" y="2630680"/>
              <a:ext cx="208223" cy="428488"/>
            </a:xfrm>
            <a:prstGeom prst="upDownArrow">
              <a:avLst/>
            </a:prstGeom>
            <a:solidFill>
              <a:schemeClr val="bg1">
                <a:lumMod val="60000"/>
                <a:lumOff val="40000"/>
              </a:schemeClr>
            </a:solidFill>
          </p:spPr>
          <p:style>
            <a:lnRef idx="1">
              <a:schemeClr val="accent5"/>
            </a:lnRef>
            <a:fillRef idx="3">
              <a:schemeClr val="accent5"/>
            </a:fillRef>
            <a:effectRef idx="2">
              <a:schemeClr val="accent5"/>
            </a:effectRef>
            <a:fontRef idx="minor">
              <a:schemeClr val="lt1"/>
            </a:fontRef>
          </p:style>
          <p:txBody>
            <a:bodyPr rtlCol="0" anchor="ctr"/>
            <a:lstStyle/>
            <a:p>
              <a:pPr algn="ctr" defTabSz="914072"/>
              <a:endParaRPr lang="en-US" sz="2160" dirty="0">
                <a:solidFill>
                  <a:prstClr val="white"/>
                </a:solidFill>
              </a:endParaRPr>
            </a:p>
          </p:txBody>
        </p:sp>
        <p:pic>
          <p:nvPicPr>
            <p:cNvPr id="35" name="Picture 34"/>
            <p:cNvPicPr>
              <a:picLocks noChangeAspect="1"/>
            </p:cNvPicPr>
            <p:nvPr/>
          </p:nvPicPr>
          <p:blipFill rotWithShape="1">
            <a:blip r:embed="rId3" cstate="print">
              <a:extLst>
                <a:ext uri="{28A0092B-C50C-407E-A947-70E740481C1C}">
                  <a14:useLocalDpi xmlns:a14="http://schemas.microsoft.com/office/drawing/2010/main" val="0"/>
                </a:ext>
              </a:extLst>
            </a:blip>
            <a:srcRect t="18763" b="32079"/>
            <a:stretch/>
          </p:blipFill>
          <p:spPr>
            <a:xfrm>
              <a:off x="4208682" y="1352426"/>
              <a:ext cx="620478" cy="231716"/>
            </a:xfrm>
            <a:prstGeom prst="rect">
              <a:avLst/>
            </a:prstGeom>
          </p:spPr>
        </p:pic>
        <p:pic>
          <p:nvPicPr>
            <p:cNvPr id="36" name="Picture 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81579" y="1346452"/>
              <a:ext cx="524741" cy="242692"/>
            </a:xfrm>
            <a:prstGeom prst="rect">
              <a:avLst/>
            </a:prstGeom>
          </p:spPr>
        </p:pic>
        <p:grpSp>
          <p:nvGrpSpPr>
            <p:cNvPr id="50" name="Group 49"/>
            <p:cNvGrpSpPr/>
            <p:nvPr/>
          </p:nvGrpSpPr>
          <p:grpSpPr>
            <a:xfrm>
              <a:off x="7290416" y="1333687"/>
              <a:ext cx="655460" cy="537809"/>
              <a:chOff x="3290888" y="1382379"/>
              <a:chExt cx="642757" cy="527388"/>
            </a:xfrm>
          </p:grpSpPr>
          <p:sp>
            <p:nvSpPr>
              <p:cNvPr id="42" name="TextBox 41"/>
              <p:cNvSpPr txBox="1"/>
              <p:nvPr/>
            </p:nvSpPr>
            <p:spPr>
              <a:xfrm>
                <a:off x="3290888" y="1711451"/>
                <a:ext cx="642757" cy="198316"/>
              </a:xfrm>
              <a:prstGeom prst="rect">
                <a:avLst/>
              </a:prstGeom>
              <a:noFill/>
            </p:spPr>
            <p:txBody>
              <a:bodyPr wrap="square" rtlCol="0">
                <a:spAutoFit/>
              </a:bodyPr>
              <a:lstStyle>
                <a:defPPr>
                  <a:defRPr lang="en-US"/>
                </a:defPPr>
                <a:lvl1pPr>
                  <a:defRPr sz="1200"/>
                </a:lvl1pPr>
              </a:lstStyle>
              <a:p>
                <a:pPr defTabSz="914072"/>
                <a:r>
                  <a:rPr lang="en-US" sz="700" dirty="0"/>
                  <a:t>Azure ML</a:t>
                </a:r>
              </a:p>
            </p:txBody>
          </p:sp>
          <p:pic>
            <p:nvPicPr>
              <p:cNvPr id="94" name="Picture 93"/>
              <p:cNvPicPr>
                <a:picLocks noChangeAspect="1"/>
              </p:cNvPicPr>
              <p:nvPr/>
            </p:nvPicPr>
            <p:blipFill>
              <a:blip r:embed="rId5"/>
              <a:stretch>
                <a:fillRect/>
              </a:stretch>
            </p:blipFill>
            <p:spPr>
              <a:xfrm>
                <a:off x="3345533" y="1382379"/>
                <a:ext cx="360938" cy="323333"/>
              </a:xfrm>
              <a:prstGeom prst="rect">
                <a:avLst/>
              </a:prstGeom>
            </p:spPr>
          </p:pic>
        </p:grpSp>
        <p:grpSp>
          <p:nvGrpSpPr>
            <p:cNvPr id="51" name="Group 50"/>
            <p:cNvGrpSpPr/>
            <p:nvPr/>
          </p:nvGrpSpPr>
          <p:grpSpPr>
            <a:xfrm>
              <a:off x="8011941" y="1346450"/>
              <a:ext cx="659671" cy="487388"/>
              <a:chOff x="5034888" y="1349657"/>
              <a:chExt cx="646886" cy="477942"/>
            </a:xfrm>
          </p:grpSpPr>
          <p:pic>
            <p:nvPicPr>
              <p:cNvPr id="44" name="Picture 43"/>
              <p:cNvPicPr>
                <a:picLocks noChangeAspect="1"/>
              </p:cNvPicPr>
              <p:nvPr/>
            </p:nvPicPr>
            <p:blipFill>
              <a:blip r:embed="rId6"/>
              <a:stretch>
                <a:fillRect/>
              </a:stretch>
            </p:blipFill>
            <p:spPr>
              <a:xfrm>
                <a:off x="5095594" y="1349657"/>
                <a:ext cx="330402" cy="289188"/>
              </a:xfrm>
              <a:prstGeom prst="rect">
                <a:avLst/>
              </a:prstGeom>
            </p:spPr>
          </p:pic>
          <p:sp>
            <p:nvSpPr>
              <p:cNvPr id="49" name="TextBox 48"/>
              <p:cNvSpPr txBox="1"/>
              <p:nvPr/>
            </p:nvSpPr>
            <p:spPr>
              <a:xfrm>
                <a:off x="5034888" y="1629284"/>
                <a:ext cx="646886" cy="198315"/>
              </a:xfrm>
              <a:prstGeom prst="rect">
                <a:avLst/>
              </a:prstGeom>
              <a:noFill/>
            </p:spPr>
            <p:txBody>
              <a:bodyPr wrap="square" rtlCol="0">
                <a:spAutoFit/>
              </a:bodyPr>
              <a:lstStyle>
                <a:defPPr>
                  <a:defRPr lang="en-US"/>
                </a:defPPr>
                <a:lvl1pPr>
                  <a:defRPr sz="1200"/>
                </a:lvl1pPr>
              </a:lstStyle>
              <a:p>
                <a:pPr defTabSz="914072"/>
                <a:r>
                  <a:rPr lang="en-US" sz="700" dirty="0"/>
                  <a:t>HDInsight</a:t>
                </a:r>
              </a:p>
            </p:txBody>
          </p:sp>
        </p:grpSp>
        <p:pic>
          <p:nvPicPr>
            <p:cNvPr id="1036" name="Picture 12" descr="mapr-28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46862" y="1326208"/>
              <a:ext cx="658572" cy="265781"/>
            </a:xfrm>
            <a:prstGeom prst="rect">
              <a:avLst/>
            </a:prstGeom>
            <a:noFill/>
            <a:extLst>
              <a:ext uri="{909E8E84-426E-40DD-AFC4-6F175D3DCCD1}">
                <a14:hiddenFill xmlns:a14="http://schemas.microsoft.com/office/drawing/2010/main">
                  <a:solidFill>
                    <a:srgbClr val="FFFFFF"/>
                  </a:solidFill>
                </a14:hiddenFill>
              </a:ext>
            </a:extLst>
          </p:spPr>
        </p:pic>
        <p:sp>
          <p:nvSpPr>
            <p:cNvPr id="57" name="Up-Down Arrow 56"/>
            <p:cNvSpPr/>
            <p:nvPr/>
          </p:nvSpPr>
          <p:spPr>
            <a:xfrm>
              <a:off x="3647946" y="3656828"/>
              <a:ext cx="208223" cy="428488"/>
            </a:xfrm>
            <a:prstGeom prst="upDownArrow">
              <a:avLst/>
            </a:prstGeom>
            <a:solidFill>
              <a:schemeClr val="bg1">
                <a:lumMod val="60000"/>
                <a:lumOff val="40000"/>
              </a:schemeClr>
            </a:solidFill>
          </p:spPr>
          <p:style>
            <a:lnRef idx="1">
              <a:schemeClr val="accent5"/>
            </a:lnRef>
            <a:fillRef idx="3">
              <a:schemeClr val="accent5"/>
            </a:fillRef>
            <a:effectRef idx="2">
              <a:schemeClr val="accent5"/>
            </a:effectRef>
            <a:fontRef idx="minor">
              <a:schemeClr val="lt1"/>
            </a:fontRef>
          </p:style>
          <p:txBody>
            <a:bodyPr rtlCol="0" anchor="ctr"/>
            <a:lstStyle/>
            <a:p>
              <a:pPr algn="ctr" defTabSz="914072"/>
              <a:endParaRPr lang="en-US" sz="2160" dirty="0">
                <a:solidFill>
                  <a:prstClr val="white"/>
                </a:solidFill>
              </a:endParaRPr>
            </a:p>
          </p:txBody>
        </p:sp>
        <p:sp>
          <p:nvSpPr>
            <p:cNvPr id="63" name="Up-Down Arrow 62"/>
            <p:cNvSpPr/>
            <p:nvPr/>
          </p:nvSpPr>
          <p:spPr>
            <a:xfrm>
              <a:off x="7433125" y="3757362"/>
              <a:ext cx="208223" cy="969264"/>
            </a:xfrm>
            <a:prstGeom prst="upDownArrow">
              <a:avLst/>
            </a:prstGeom>
            <a:solidFill>
              <a:schemeClr val="bg1">
                <a:lumMod val="60000"/>
                <a:lumOff val="40000"/>
              </a:schemeClr>
            </a:solidFill>
          </p:spPr>
          <p:style>
            <a:lnRef idx="1">
              <a:schemeClr val="accent5"/>
            </a:lnRef>
            <a:fillRef idx="3">
              <a:schemeClr val="accent5"/>
            </a:fillRef>
            <a:effectRef idx="2">
              <a:schemeClr val="accent5"/>
            </a:effectRef>
            <a:fontRef idx="minor">
              <a:schemeClr val="lt1"/>
            </a:fontRef>
          </p:style>
          <p:txBody>
            <a:bodyPr rtlCol="0" anchor="ctr"/>
            <a:lstStyle/>
            <a:p>
              <a:pPr algn="ctr" defTabSz="914072"/>
              <a:endParaRPr lang="en-US" sz="2160" dirty="0">
                <a:solidFill>
                  <a:prstClr val="white"/>
                </a:solidFill>
              </a:endParaRPr>
            </a:p>
          </p:txBody>
        </p:sp>
        <p:sp>
          <p:nvSpPr>
            <p:cNvPr id="30" name="TextBox 29"/>
            <p:cNvSpPr txBox="1"/>
            <p:nvPr/>
          </p:nvSpPr>
          <p:spPr>
            <a:xfrm>
              <a:off x="2524016" y="2102432"/>
              <a:ext cx="945772" cy="439848"/>
            </a:xfrm>
            <a:prstGeom prst="rect">
              <a:avLst/>
            </a:prstGeom>
            <a:noFill/>
          </p:spPr>
          <p:txBody>
            <a:bodyPr wrap="square" lIns="182854" tIns="146284" rIns="182854" bIns="146284" rtlCol="0">
              <a:spAutoFit/>
            </a:bodyPr>
            <a:lstStyle/>
            <a:p>
              <a:pPr>
                <a:lnSpc>
                  <a:spcPct val="90000"/>
                </a:lnSpc>
                <a:spcAft>
                  <a:spcPts val="600"/>
                </a:spcAft>
              </a:pPr>
              <a:r>
                <a:rPr lang="en-US" sz="1000" dirty="0">
                  <a:gradFill>
                    <a:gsLst>
                      <a:gs pos="2917">
                        <a:schemeClr val="tx1"/>
                      </a:gs>
                      <a:gs pos="30000">
                        <a:schemeClr val="tx1"/>
                      </a:gs>
                    </a:gsLst>
                    <a:lin ang="5400000" scaled="0"/>
                  </a:gradFill>
                </a:rPr>
                <a:t>ADLS Client</a:t>
              </a:r>
            </a:p>
          </p:txBody>
        </p:sp>
        <p:sp>
          <p:nvSpPr>
            <p:cNvPr id="64" name="TextBox 63"/>
            <p:cNvSpPr txBox="1"/>
            <p:nvPr/>
          </p:nvSpPr>
          <p:spPr>
            <a:xfrm>
              <a:off x="2513143" y="3018768"/>
              <a:ext cx="939962" cy="442606"/>
            </a:xfrm>
            <a:prstGeom prst="rect">
              <a:avLst/>
            </a:prstGeom>
            <a:noFill/>
          </p:spPr>
          <p:txBody>
            <a:bodyPr wrap="square" lIns="182854" tIns="146284" rIns="182854" bIns="146284" rtlCol="0">
              <a:spAutoFit/>
            </a:bodyPr>
            <a:lstStyle/>
            <a:p>
              <a:pPr>
                <a:lnSpc>
                  <a:spcPct val="90000"/>
                </a:lnSpc>
                <a:spcAft>
                  <a:spcPts val="600"/>
                </a:spcAft>
              </a:pPr>
              <a:r>
                <a:rPr lang="en-US" sz="1000" dirty="0">
                  <a:gradFill>
                    <a:gsLst>
                      <a:gs pos="2917">
                        <a:schemeClr val="tx1"/>
                      </a:gs>
                      <a:gs pos="30000">
                        <a:schemeClr val="tx1"/>
                      </a:gs>
                    </a:gsLst>
                    <a:lin ang="5400000" scaled="0"/>
                  </a:gradFill>
                </a:rPr>
                <a:t>ADLS Service</a:t>
              </a:r>
            </a:p>
          </p:txBody>
        </p:sp>
        <p:sp>
          <p:nvSpPr>
            <p:cNvPr id="77" name="TextBox 76"/>
            <p:cNvSpPr txBox="1"/>
            <p:nvPr/>
          </p:nvSpPr>
          <p:spPr>
            <a:xfrm>
              <a:off x="8517744" y="3314756"/>
              <a:ext cx="1081896" cy="442606"/>
            </a:xfrm>
            <a:prstGeom prst="rect">
              <a:avLst/>
            </a:prstGeom>
            <a:noFill/>
          </p:spPr>
          <p:txBody>
            <a:bodyPr wrap="square" lIns="182854" tIns="146284" rIns="182854" bIns="146284" rtlCol="0">
              <a:spAutoFit/>
            </a:bodyPr>
            <a:lstStyle/>
            <a:p>
              <a:pPr>
                <a:lnSpc>
                  <a:spcPct val="90000"/>
                </a:lnSpc>
                <a:spcAft>
                  <a:spcPts val="600"/>
                </a:spcAft>
              </a:pPr>
              <a:r>
                <a:rPr lang="en-US" sz="1000" b="1" dirty="0">
                  <a:gradFill>
                    <a:gsLst>
                      <a:gs pos="2917">
                        <a:schemeClr val="tx1"/>
                      </a:gs>
                      <a:gs pos="30000">
                        <a:schemeClr val="tx1"/>
                      </a:gs>
                    </a:gsLst>
                    <a:lin ang="5400000" scaled="0"/>
                  </a:gradFill>
                </a:rPr>
                <a:t>Azure AD</a:t>
              </a:r>
            </a:p>
          </p:txBody>
        </p:sp>
        <p:sp>
          <p:nvSpPr>
            <p:cNvPr id="78" name="TextBox 77"/>
            <p:cNvSpPr txBox="1"/>
            <p:nvPr/>
          </p:nvSpPr>
          <p:spPr>
            <a:xfrm>
              <a:off x="8198595" y="4148282"/>
              <a:ext cx="1127716" cy="442626"/>
            </a:xfrm>
            <a:prstGeom prst="rect">
              <a:avLst/>
            </a:prstGeom>
            <a:noFill/>
          </p:spPr>
          <p:txBody>
            <a:bodyPr wrap="none" lIns="182854" tIns="146284" rIns="182854" bIns="146284" rtlCol="0">
              <a:spAutoFit/>
            </a:bodyPr>
            <a:lstStyle/>
            <a:p>
              <a:pPr>
                <a:lnSpc>
                  <a:spcPct val="90000"/>
                </a:lnSpc>
                <a:spcAft>
                  <a:spcPts val="600"/>
                </a:spcAft>
              </a:pPr>
              <a:r>
                <a:rPr lang="en-US" sz="1000" b="1" dirty="0">
                  <a:gradFill>
                    <a:gsLst>
                      <a:gs pos="2917">
                        <a:schemeClr val="tx1"/>
                      </a:gs>
                      <a:gs pos="30000">
                        <a:schemeClr val="tx1"/>
                      </a:gs>
                    </a:gsLst>
                    <a:lin ang="5400000" scaled="0"/>
                  </a:gradFill>
                </a:rPr>
                <a:t>Azure Key Vault</a:t>
              </a:r>
            </a:p>
          </p:txBody>
        </p:sp>
        <p:cxnSp>
          <p:nvCxnSpPr>
            <p:cNvPr id="79" name="Straight Arrow Connector 78"/>
            <p:cNvCxnSpPr/>
            <p:nvPr/>
          </p:nvCxnSpPr>
          <p:spPr>
            <a:xfrm>
              <a:off x="7773344" y="3485738"/>
              <a:ext cx="56843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63" idx="6"/>
            </p:cNvCxnSpPr>
            <p:nvPr/>
          </p:nvCxnSpPr>
          <p:spPr>
            <a:xfrm>
              <a:off x="7589292" y="4241994"/>
              <a:ext cx="78883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Isosceles Triangle 80"/>
            <p:cNvSpPr/>
            <p:nvPr/>
          </p:nvSpPr>
          <p:spPr bwMode="auto">
            <a:xfrm>
              <a:off x="9362368" y="2600590"/>
              <a:ext cx="1262950" cy="767509"/>
            </a:xfrm>
            <a:prstGeom prst="triangle">
              <a:avLst/>
            </a:prstGeom>
            <a:solidFill>
              <a:schemeClr val="bg2">
                <a:lumMod val="75000"/>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16">
                <a:lnSpc>
                  <a:spcPct val="90000"/>
                </a:lnSpc>
              </a:pPr>
              <a:endParaRPr lang="en-US" sz="1000" dirty="0">
                <a:gradFill>
                  <a:gsLst>
                    <a:gs pos="0">
                      <a:srgbClr val="FFFFFF"/>
                    </a:gs>
                    <a:gs pos="100000">
                      <a:srgbClr val="FFFFFF"/>
                    </a:gs>
                  </a:gsLst>
                  <a:lin ang="5400000" scaled="0"/>
                </a:gradFill>
                <a:ea typeface="Segoe UI" pitchFamily="34" charset="0"/>
                <a:cs typeface="Segoe UI" pitchFamily="34" charset="0"/>
              </a:endParaRPr>
            </a:p>
          </p:txBody>
        </p:sp>
        <p:sp>
          <p:nvSpPr>
            <p:cNvPr id="83" name="Isosceles Triangle 82"/>
            <p:cNvSpPr/>
            <p:nvPr/>
          </p:nvSpPr>
          <p:spPr bwMode="auto">
            <a:xfrm>
              <a:off x="8278973" y="3123432"/>
              <a:ext cx="1262950" cy="689561"/>
            </a:xfrm>
            <a:prstGeom prst="triangle">
              <a:avLst/>
            </a:prstGeom>
            <a:solidFill>
              <a:schemeClr val="tx2">
                <a:alpha val="4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16">
                <a:lnSpc>
                  <a:spcPct val="90000"/>
                </a:lnSpc>
              </a:pPr>
              <a:endParaRPr lang="en-US" sz="1000" dirty="0">
                <a:gradFill>
                  <a:gsLst>
                    <a:gs pos="0">
                      <a:srgbClr val="FFFFFF"/>
                    </a:gs>
                    <a:gs pos="100000">
                      <a:srgbClr val="FFFFFF"/>
                    </a:gs>
                  </a:gsLst>
                  <a:lin ang="5400000" scaled="0"/>
                </a:gradFill>
                <a:ea typeface="Segoe UI" pitchFamily="34" charset="0"/>
                <a:cs typeface="Segoe UI" pitchFamily="34" charset="0"/>
              </a:endParaRPr>
            </a:p>
          </p:txBody>
        </p:sp>
        <p:sp>
          <p:nvSpPr>
            <p:cNvPr id="84" name="Flowchart: Magnetic Disk 83"/>
            <p:cNvSpPr/>
            <p:nvPr/>
          </p:nvSpPr>
          <p:spPr bwMode="auto">
            <a:xfrm>
              <a:off x="8394989" y="4010830"/>
              <a:ext cx="613930" cy="568798"/>
            </a:xfrm>
            <a:prstGeom prst="flowChartMagneticDisk">
              <a:avLst/>
            </a:prstGeom>
            <a:solidFill>
              <a:schemeClr val="tx2">
                <a:alpha val="44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16">
                <a:lnSpc>
                  <a:spcPct val="90000"/>
                </a:lnSpc>
              </a:pPr>
              <a:endParaRPr lang="en-US" sz="1000" dirty="0">
                <a:solidFill>
                  <a:schemeClr val="tx1"/>
                </a:solidFill>
                <a:ea typeface="Segoe UI" pitchFamily="34" charset="0"/>
                <a:cs typeface="Segoe UI" pitchFamily="34" charset="0"/>
              </a:endParaRPr>
            </a:p>
          </p:txBody>
        </p:sp>
        <p:sp>
          <p:nvSpPr>
            <p:cNvPr id="70" name="Rectangle 69"/>
            <p:cNvSpPr/>
            <p:nvPr/>
          </p:nvSpPr>
          <p:spPr>
            <a:xfrm>
              <a:off x="6994221" y="4843383"/>
              <a:ext cx="736777" cy="378817"/>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4" tIns="45706" rIns="91414" bIns="45706" numCol="1" spcCol="0" rtlCol="0" fromWordArt="0" anchor="ctr" anchorCtr="0" forceAA="0" compatLnSpc="1">
              <a:prstTxWarp prst="textNoShape">
                <a:avLst/>
              </a:prstTxWarp>
              <a:noAutofit/>
            </a:bodyPr>
            <a:lstStyle/>
            <a:p>
              <a:pPr defTabSz="914072"/>
              <a:r>
                <a:rPr lang="en-US" sz="902" dirty="0">
                  <a:solidFill>
                    <a:prstClr val="white"/>
                  </a:solidFill>
                </a:rPr>
                <a:t>Metadata</a:t>
              </a:r>
            </a:p>
            <a:p>
              <a:pPr defTabSz="914072"/>
              <a:r>
                <a:rPr lang="en-US" sz="902" dirty="0">
                  <a:solidFill>
                    <a:prstClr val="white"/>
                  </a:solidFill>
                </a:rPr>
                <a:t>Service</a:t>
              </a:r>
            </a:p>
          </p:txBody>
        </p:sp>
        <p:sp>
          <p:nvSpPr>
            <p:cNvPr id="71" name="Rectangle 70"/>
            <p:cNvSpPr/>
            <p:nvPr/>
          </p:nvSpPr>
          <p:spPr>
            <a:xfrm>
              <a:off x="7879446" y="4827277"/>
              <a:ext cx="638298" cy="398319"/>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4" tIns="45706" rIns="91414" bIns="45706" numCol="1" spcCol="0" rtlCol="0" fromWordArt="0" anchor="ctr" anchorCtr="0" forceAA="0" compatLnSpc="1">
              <a:prstTxWarp prst="textNoShape">
                <a:avLst/>
              </a:prstTxWarp>
              <a:noAutofit/>
            </a:bodyPr>
            <a:lstStyle/>
            <a:p>
              <a:pPr defTabSz="914072"/>
              <a:r>
                <a:rPr lang="en-US" sz="902" dirty="0">
                  <a:solidFill>
                    <a:prstClr val="white"/>
                  </a:solidFill>
                </a:rPr>
                <a:t>Naming Service</a:t>
              </a:r>
            </a:p>
          </p:txBody>
        </p:sp>
      </p:grpSp>
      <p:sp>
        <p:nvSpPr>
          <p:cNvPr id="54" name="Up-Down Arrow 53"/>
          <p:cNvSpPr/>
          <p:nvPr/>
        </p:nvSpPr>
        <p:spPr>
          <a:xfrm>
            <a:off x="1341956" y="4326025"/>
            <a:ext cx="244885" cy="420065"/>
          </a:xfrm>
          <a:prstGeom prst="upDownArrow">
            <a:avLst/>
          </a:prstGeom>
          <a:solidFill>
            <a:schemeClr val="bg1">
              <a:lumMod val="60000"/>
              <a:lumOff val="40000"/>
            </a:schemeClr>
          </a:solidFill>
        </p:spPr>
        <p:style>
          <a:lnRef idx="1">
            <a:schemeClr val="accent5"/>
          </a:lnRef>
          <a:fillRef idx="3">
            <a:schemeClr val="accent5"/>
          </a:fillRef>
          <a:effectRef idx="2">
            <a:schemeClr val="accent5"/>
          </a:effectRef>
          <a:fontRef idx="minor">
            <a:schemeClr val="lt1"/>
          </a:fontRef>
        </p:style>
        <p:txBody>
          <a:bodyPr rtlCol="0" anchor="ctr"/>
          <a:lstStyle/>
          <a:p>
            <a:pPr algn="ctr" defTabSz="914072"/>
            <a:endParaRPr lang="en-US" sz="2160" dirty="0">
              <a:solidFill>
                <a:prstClr val="white"/>
              </a:solidFill>
            </a:endParaRPr>
          </a:p>
        </p:txBody>
      </p:sp>
      <p:sp>
        <p:nvSpPr>
          <p:cNvPr id="55" name="Rectangle 54"/>
          <p:cNvSpPr/>
          <p:nvPr/>
        </p:nvSpPr>
        <p:spPr>
          <a:xfrm>
            <a:off x="1647062" y="4834060"/>
            <a:ext cx="1300830" cy="371370"/>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4" tIns="45706" rIns="91414" bIns="45706" numCol="1" spcCol="0" rtlCol="0" fromWordArt="0" anchor="ctr" anchorCtr="0" forceAA="0" compatLnSpc="1">
            <a:prstTxWarp prst="textNoShape">
              <a:avLst/>
            </a:prstTxWarp>
            <a:noAutofit/>
          </a:bodyPr>
          <a:lstStyle/>
          <a:p>
            <a:pPr defTabSz="914072"/>
            <a:r>
              <a:rPr lang="en-US" sz="902" dirty="0">
                <a:solidFill>
                  <a:prstClr val="white"/>
                </a:solidFill>
              </a:rPr>
              <a:t>File </a:t>
            </a:r>
            <a:r>
              <a:rPr lang="en-US" sz="902" dirty="0" err="1">
                <a:solidFill>
                  <a:prstClr val="white"/>
                </a:solidFill>
              </a:rPr>
              <a:t>Sytem</a:t>
            </a:r>
            <a:r>
              <a:rPr lang="en-US" sz="902" dirty="0">
                <a:solidFill>
                  <a:prstClr val="white"/>
                </a:solidFill>
              </a:rPr>
              <a:t>/HDFS API</a:t>
            </a:r>
          </a:p>
        </p:txBody>
      </p:sp>
      <p:grpSp>
        <p:nvGrpSpPr>
          <p:cNvPr id="45" name="Group 44"/>
          <p:cNvGrpSpPr/>
          <p:nvPr/>
        </p:nvGrpSpPr>
        <p:grpSpPr>
          <a:xfrm>
            <a:off x="4148754" y="778523"/>
            <a:ext cx="6728179" cy="939919"/>
            <a:chOff x="4231944" y="793638"/>
            <a:chExt cx="6863093" cy="958766"/>
          </a:xfrm>
        </p:grpSpPr>
        <p:sp>
          <p:nvSpPr>
            <p:cNvPr id="43" name="TextBox 42"/>
            <p:cNvSpPr txBox="1"/>
            <p:nvPr/>
          </p:nvSpPr>
          <p:spPr>
            <a:xfrm>
              <a:off x="8303209" y="793638"/>
              <a:ext cx="2791828" cy="517065"/>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1. ADLS clients</a:t>
              </a:r>
            </a:p>
          </p:txBody>
        </p:sp>
        <p:sp>
          <p:nvSpPr>
            <p:cNvPr id="65" name="Oval 64"/>
            <p:cNvSpPr/>
            <p:nvPr/>
          </p:nvSpPr>
          <p:spPr bwMode="auto">
            <a:xfrm>
              <a:off x="4231944" y="1458865"/>
              <a:ext cx="304800" cy="293539"/>
            </a:xfrm>
            <a:prstGeom prst="ellipse">
              <a:avLst/>
            </a:prstGeom>
            <a:solidFill>
              <a:schemeClr val="tx1"/>
            </a:solid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r>
                <a:rPr lang="en-US" sz="1961" dirty="0">
                  <a:solidFill>
                    <a:schemeClr val="bg1"/>
                  </a:solidFill>
                </a:rPr>
                <a:t>1</a:t>
              </a:r>
            </a:p>
          </p:txBody>
        </p:sp>
      </p:grpSp>
      <p:grpSp>
        <p:nvGrpSpPr>
          <p:cNvPr id="46" name="Group 45"/>
          <p:cNvGrpSpPr/>
          <p:nvPr/>
        </p:nvGrpSpPr>
        <p:grpSpPr>
          <a:xfrm>
            <a:off x="2253895" y="1253125"/>
            <a:ext cx="7946292" cy="2009771"/>
            <a:chOff x="2299090" y="1277756"/>
            <a:chExt cx="8105632" cy="2050071"/>
          </a:xfrm>
        </p:grpSpPr>
        <p:sp>
          <p:nvSpPr>
            <p:cNvPr id="40" name="Oval 39"/>
            <p:cNvSpPr/>
            <p:nvPr/>
          </p:nvSpPr>
          <p:spPr bwMode="auto">
            <a:xfrm>
              <a:off x="2299090" y="3034288"/>
              <a:ext cx="304800" cy="293539"/>
            </a:xfrm>
            <a:prstGeom prst="ellipse">
              <a:avLst/>
            </a:prstGeom>
            <a:solidFill>
              <a:schemeClr val="tx1"/>
            </a:solid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r>
                <a:rPr lang="en-US" sz="1961" dirty="0">
                  <a:solidFill>
                    <a:schemeClr val="bg1"/>
                  </a:solidFill>
                </a:rPr>
                <a:t>2</a:t>
              </a:r>
            </a:p>
          </p:txBody>
        </p:sp>
        <p:sp>
          <p:nvSpPr>
            <p:cNvPr id="66" name="TextBox 65"/>
            <p:cNvSpPr txBox="1"/>
            <p:nvPr/>
          </p:nvSpPr>
          <p:spPr>
            <a:xfrm>
              <a:off x="8318009" y="1277756"/>
              <a:ext cx="2086713" cy="815608"/>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2. </a:t>
              </a:r>
              <a:r>
                <a:rPr lang="en-US" sz="1568" dirty="0" err="1">
                  <a:gradFill>
                    <a:gsLst>
                      <a:gs pos="2917">
                        <a:schemeClr val="tx1"/>
                      </a:gs>
                      <a:gs pos="30000">
                        <a:schemeClr val="tx1"/>
                      </a:gs>
                    </a:gsLst>
                    <a:lin ang="5400000" scaled="0"/>
                  </a:gradFill>
                </a:rPr>
                <a:t>WebHDFS</a:t>
              </a:r>
              <a:r>
                <a:rPr lang="en-US" sz="1568" dirty="0">
                  <a:gradFill>
                    <a:gsLst>
                      <a:gs pos="2917">
                        <a:schemeClr val="tx1"/>
                      </a:gs>
                      <a:gs pos="30000">
                        <a:schemeClr val="tx1"/>
                      </a:gs>
                    </a:gsLst>
                    <a:lin ang="5400000" scaled="0"/>
                  </a:gradFill>
                </a:rPr>
                <a:t> API</a:t>
              </a:r>
            </a:p>
            <a:p>
              <a:pPr>
                <a:lnSpc>
                  <a:spcPct val="90000"/>
                </a:lnSpc>
                <a:spcAft>
                  <a:spcPts val="588"/>
                </a:spcAft>
              </a:pPr>
              <a:endParaRPr lang="en-US" sz="1568" dirty="0">
                <a:gradFill>
                  <a:gsLst>
                    <a:gs pos="2917">
                      <a:schemeClr val="tx1"/>
                    </a:gs>
                    <a:gs pos="30000">
                      <a:schemeClr val="tx1"/>
                    </a:gs>
                  </a:gsLst>
                  <a:lin ang="5400000" scaled="0"/>
                </a:gradFill>
              </a:endParaRPr>
            </a:p>
          </p:txBody>
        </p:sp>
      </p:grpSp>
      <p:grpSp>
        <p:nvGrpSpPr>
          <p:cNvPr id="48" name="Group 47"/>
          <p:cNvGrpSpPr/>
          <p:nvPr/>
        </p:nvGrpSpPr>
        <p:grpSpPr>
          <a:xfrm>
            <a:off x="2235522" y="2180767"/>
            <a:ext cx="8865516" cy="1912743"/>
            <a:chOff x="2280348" y="2223999"/>
            <a:chExt cx="9043288" cy="1951097"/>
          </a:xfrm>
        </p:grpSpPr>
        <p:sp>
          <p:nvSpPr>
            <p:cNvPr id="67" name="Oval 66"/>
            <p:cNvSpPr/>
            <p:nvPr/>
          </p:nvSpPr>
          <p:spPr bwMode="auto">
            <a:xfrm>
              <a:off x="2280348" y="3881557"/>
              <a:ext cx="304800" cy="293539"/>
            </a:xfrm>
            <a:prstGeom prst="ellipse">
              <a:avLst/>
            </a:prstGeom>
            <a:solidFill>
              <a:schemeClr val="tx1"/>
            </a:solid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r>
                <a:rPr lang="en-US" sz="1961" dirty="0">
                  <a:solidFill>
                    <a:schemeClr val="bg1"/>
                  </a:solidFill>
                </a:rPr>
                <a:t>4</a:t>
              </a:r>
            </a:p>
          </p:txBody>
        </p:sp>
        <p:sp>
          <p:nvSpPr>
            <p:cNvPr id="68" name="TextBox 67"/>
            <p:cNvSpPr txBox="1"/>
            <p:nvPr/>
          </p:nvSpPr>
          <p:spPr>
            <a:xfrm>
              <a:off x="8307389" y="2223999"/>
              <a:ext cx="3016247" cy="517065"/>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4. SSD-backed ingestion tier</a:t>
              </a:r>
            </a:p>
          </p:txBody>
        </p:sp>
      </p:grpSp>
      <p:grpSp>
        <p:nvGrpSpPr>
          <p:cNvPr id="47" name="Group 46"/>
          <p:cNvGrpSpPr/>
          <p:nvPr/>
        </p:nvGrpSpPr>
        <p:grpSpPr>
          <a:xfrm>
            <a:off x="6432520" y="1756306"/>
            <a:ext cx="4664420" cy="1673096"/>
            <a:chOff x="6561505" y="1791027"/>
            <a:chExt cx="4757951" cy="1706645"/>
          </a:xfrm>
        </p:grpSpPr>
        <p:sp>
          <p:nvSpPr>
            <p:cNvPr id="74" name="Oval 73"/>
            <p:cNvSpPr/>
            <p:nvPr/>
          </p:nvSpPr>
          <p:spPr bwMode="auto">
            <a:xfrm>
              <a:off x="6561505" y="3204133"/>
              <a:ext cx="304800" cy="293539"/>
            </a:xfrm>
            <a:prstGeom prst="ellipse">
              <a:avLst/>
            </a:prstGeom>
            <a:solidFill>
              <a:schemeClr val="tx1"/>
            </a:solid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r>
                <a:rPr lang="en-US" sz="1961" dirty="0">
                  <a:solidFill>
                    <a:schemeClr val="bg1"/>
                  </a:solidFill>
                </a:rPr>
                <a:t>3</a:t>
              </a:r>
            </a:p>
          </p:txBody>
        </p:sp>
        <p:sp>
          <p:nvSpPr>
            <p:cNvPr id="75" name="TextBox 74"/>
            <p:cNvSpPr txBox="1"/>
            <p:nvPr/>
          </p:nvSpPr>
          <p:spPr>
            <a:xfrm>
              <a:off x="8303209" y="1791027"/>
              <a:ext cx="3016247" cy="517065"/>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3. AAD-based </a:t>
              </a:r>
              <a:r>
                <a:rPr lang="en-US" sz="1568" dirty="0" err="1">
                  <a:gradFill>
                    <a:gsLst>
                      <a:gs pos="2917">
                        <a:schemeClr val="tx1"/>
                      </a:gs>
                      <a:gs pos="30000">
                        <a:schemeClr val="tx1"/>
                      </a:gs>
                    </a:gsLst>
                    <a:lin ang="5400000" scaled="0"/>
                  </a:gradFill>
                </a:rPr>
                <a:t>Auth</a:t>
              </a:r>
              <a:endParaRPr lang="en-US" sz="1568" dirty="0">
                <a:gradFill>
                  <a:gsLst>
                    <a:gs pos="2917">
                      <a:schemeClr val="tx1"/>
                    </a:gs>
                    <a:gs pos="30000">
                      <a:schemeClr val="tx1"/>
                    </a:gs>
                  </a:gsLst>
                  <a:lin ang="5400000" scaled="0"/>
                </a:gradFill>
              </a:endParaRPr>
            </a:p>
          </p:txBody>
        </p:sp>
      </p:grpSp>
      <p:grpSp>
        <p:nvGrpSpPr>
          <p:cNvPr id="5" name="Group 4"/>
          <p:cNvGrpSpPr/>
          <p:nvPr/>
        </p:nvGrpSpPr>
        <p:grpSpPr>
          <a:xfrm>
            <a:off x="3025597" y="2632095"/>
            <a:ext cx="8080615" cy="2513438"/>
            <a:chOff x="3086266" y="2684377"/>
            <a:chExt cx="8242648" cy="2563838"/>
          </a:xfrm>
        </p:grpSpPr>
        <p:sp>
          <p:nvSpPr>
            <p:cNvPr id="73" name="Oval 72"/>
            <p:cNvSpPr/>
            <p:nvPr/>
          </p:nvSpPr>
          <p:spPr bwMode="auto">
            <a:xfrm>
              <a:off x="3086266" y="4954676"/>
              <a:ext cx="304800" cy="293539"/>
            </a:xfrm>
            <a:prstGeom prst="ellipse">
              <a:avLst/>
            </a:prstGeom>
            <a:solidFill>
              <a:schemeClr val="tx1"/>
            </a:solid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r>
                <a:rPr lang="en-US" sz="1961" dirty="0">
                  <a:solidFill>
                    <a:schemeClr val="bg1"/>
                  </a:solidFill>
                </a:rPr>
                <a:t>5</a:t>
              </a:r>
            </a:p>
          </p:txBody>
        </p:sp>
        <p:sp>
          <p:nvSpPr>
            <p:cNvPr id="89" name="TextBox 88"/>
            <p:cNvSpPr txBox="1"/>
            <p:nvPr/>
          </p:nvSpPr>
          <p:spPr>
            <a:xfrm>
              <a:off x="8312667" y="2684377"/>
              <a:ext cx="3016247" cy="517065"/>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5. Hierarchical File System</a:t>
              </a:r>
            </a:p>
          </p:txBody>
        </p:sp>
      </p:grpSp>
      <p:grpSp>
        <p:nvGrpSpPr>
          <p:cNvPr id="53" name="Group 52"/>
          <p:cNvGrpSpPr/>
          <p:nvPr/>
        </p:nvGrpSpPr>
        <p:grpSpPr>
          <a:xfrm>
            <a:off x="2206492" y="3109497"/>
            <a:ext cx="8922879" cy="2524429"/>
            <a:chOff x="2250736" y="3171352"/>
            <a:chExt cx="9101801" cy="2575049"/>
          </a:xfrm>
        </p:grpSpPr>
        <p:sp>
          <p:nvSpPr>
            <p:cNvPr id="88" name="Oval 87"/>
            <p:cNvSpPr/>
            <p:nvPr/>
          </p:nvSpPr>
          <p:spPr bwMode="auto">
            <a:xfrm>
              <a:off x="2250736" y="5452862"/>
              <a:ext cx="304800" cy="293539"/>
            </a:xfrm>
            <a:prstGeom prst="ellipse">
              <a:avLst/>
            </a:prstGeom>
            <a:solidFill>
              <a:schemeClr val="tx1"/>
            </a:solid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r>
                <a:rPr lang="en-US" sz="1961" dirty="0">
                  <a:solidFill>
                    <a:schemeClr val="bg1"/>
                  </a:solidFill>
                </a:rPr>
                <a:t>6</a:t>
              </a:r>
            </a:p>
          </p:txBody>
        </p:sp>
        <p:sp>
          <p:nvSpPr>
            <p:cNvPr id="91" name="TextBox 90"/>
            <p:cNvSpPr txBox="1"/>
            <p:nvPr/>
          </p:nvSpPr>
          <p:spPr>
            <a:xfrm>
              <a:off x="8336290" y="3171352"/>
              <a:ext cx="3016247" cy="517065"/>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6. Scale-out physical storage</a:t>
              </a:r>
            </a:p>
          </p:txBody>
        </p:sp>
      </p:grpSp>
      <p:sp>
        <p:nvSpPr>
          <p:cNvPr id="92" name="Rectangle 91"/>
          <p:cNvSpPr/>
          <p:nvPr/>
        </p:nvSpPr>
        <p:spPr>
          <a:xfrm>
            <a:off x="4954371" y="1610611"/>
            <a:ext cx="510106" cy="304743"/>
          </a:xfrm>
          <a:prstGeom prst="rect">
            <a:avLst/>
          </a:prstGeom>
        </p:spPr>
        <p:txBody>
          <a:bodyPr wrap="none">
            <a:spAutoFit/>
          </a:bodyPr>
          <a:lstStyle/>
          <a:p>
            <a:pPr defTabSz="896328"/>
            <a:r>
              <a:rPr lang="en-US" sz="696"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Microsoft</a:t>
            </a:r>
          </a:p>
          <a:p>
            <a:pPr defTabSz="896328"/>
            <a:r>
              <a:rPr lang="en-US" sz="696"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R Server</a:t>
            </a:r>
          </a:p>
        </p:txBody>
      </p:sp>
      <p:sp>
        <p:nvSpPr>
          <p:cNvPr id="93" name="TextBox 92"/>
          <p:cNvSpPr txBox="1"/>
          <p:nvPr/>
        </p:nvSpPr>
        <p:spPr>
          <a:xfrm>
            <a:off x="4998448" y="1235724"/>
            <a:ext cx="257232"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R</a:t>
            </a:r>
          </a:p>
        </p:txBody>
      </p:sp>
    </p:spTree>
    <p:extLst>
      <p:ext uri="{BB962C8B-B14F-4D97-AF65-F5344CB8AC3E}">
        <p14:creationId xmlns:p14="http://schemas.microsoft.com/office/powerpoint/2010/main" val="3857544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42110"/>
            <a:ext cx="11655840" cy="899537"/>
          </a:xfrm>
        </p:spPr>
        <p:txBody>
          <a:bodyPr/>
          <a:lstStyle/>
          <a:p>
            <a:r>
              <a:rPr lang="en-US" dirty="0">
                <a:solidFill>
                  <a:srgbClr val="0070C0"/>
                </a:solidFill>
              </a:rPr>
              <a:t>ADLS Authorization: </a:t>
            </a:r>
            <a:r>
              <a:rPr lang="en-US" sz="4705" dirty="0">
                <a:solidFill>
                  <a:srgbClr val="0070C0"/>
                </a:solidFill>
              </a:rPr>
              <a:t>POSIX-based</a:t>
            </a:r>
            <a:endParaRPr lang="en-US" dirty="0">
              <a:solidFill>
                <a:srgbClr val="0070C0"/>
              </a:solidFill>
            </a:endParaRPr>
          </a:p>
        </p:txBody>
      </p:sp>
      <p:grpSp>
        <p:nvGrpSpPr>
          <p:cNvPr id="12" name="Group 11"/>
          <p:cNvGrpSpPr/>
          <p:nvPr/>
        </p:nvGrpSpPr>
        <p:grpSpPr>
          <a:xfrm>
            <a:off x="924319" y="1113236"/>
            <a:ext cx="1810088" cy="1155395"/>
            <a:chOff x="561853" y="1058862"/>
            <a:chExt cx="1846384" cy="1178563"/>
          </a:xfrm>
        </p:grpSpPr>
        <p:sp>
          <p:nvSpPr>
            <p:cNvPr id="4" name="TextBox 3"/>
            <p:cNvSpPr txBox="1"/>
            <p:nvPr/>
          </p:nvSpPr>
          <p:spPr>
            <a:xfrm>
              <a:off x="561853" y="1609561"/>
              <a:ext cx="1846384" cy="627864"/>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txBody>
            <a:bodyPr wrap="square" lIns="179285" tIns="143428" rIns="179285" bIns="143428" rtlCol="0" anchor="ctr">
              <a:spAutoFit/>
            </a:bodyPr>
            <a:lstStyle/>
            <a:p>
              <a:pPr algn="ctr">
                <a:lnSpc>
                  <a:spcPct val="90000"/>
                </a:lnSpc>
                <a:spcAft>
                  <a:spcPts val="588"/>
                </a:spcAft>
              </a:pPr>
              <a:r>
                <a:rPr lang="en-US" sz="2353" u="sng" dirty="0">
                  <a:gradFill>
                    <a:gsLst>
                      <a:gs pos="2917">
                        <a:schemeClr val="tx1"/>
                      </a:gs>
                      <a:gs pos="30000">
                        <a:schemeClr val="tx1"/>
                      </a:gs>
                    </a:gsLst>
                    <a:lin ang="5400000" scaled="0"/>
                  </a:gradFill>
                  <a:latin typeface="Consolas" panose="020B0609020204030204" pitchFamily="49" charset="0"/>
                </a:rPr>
                <a:t>r</a:t>
              </a:r>
              <a:r>
                <a:rPr lang="en-US" sz="2353" dirty="0">
                  <a:gradFill>
                    <a:gsLst>
                      <a:gs pos="2917">
                        <a:schemeClr val="tx1"/>
                      </a:gs>
                      <a:gs pos="30000">
                        <a:schemeClr val="tx1"/>
                      </a:gs>
                    </a:gsLst>
                    <a:lin ang="5400000" scaled="0"/>
                  </a:gradFill>
                  <a:latin typeface="Consolas" panose="020B0609020204030204" pitchFamily="49" charset="0"/>
                </a:rPr>
                <a:t> </a:t>
              </a:r>
              <a:r>
                <a:rPr lang="en-US" sz="2353" u="sng" dirty="0">
                  <a:gradFill>
                    <a:gsLst>
                      <a:gs pos="2917">
                        <a:schemeClr val="tx1"/>
                      </a:gs>
                      <a:gs pos="30000">
                        <a:schemeClr val="tx1"/>
                      </a:gs>
                    </a:gsLst>
                    <a:lin ang="5400000" scaled="0"/>
                  </a:gradFill>
                  <a:latin typeface="Consolas" panose="020B0609020204030204" pitchFamily="49" charset="0"/>
                </a:rPr>
                <a:t>w</a:t>
              </a:r>
              <a:r>
                <a:rPr lang="en-US" sz="2353" dirty="0">
                  <a:gradFill>
                    <a:gsLst>
                      <a:gs pos="2917">
                        <a:schemeClr val="tx1"/>
                      </a:gs>
                      <a:gs pos="30000">
                        <a:schemeClr val="tx1"/>
                      </a:gs>
                    </a:gsLst>
                    <a:lin ang="5400000" scaled="0"/>
                  </a:gradFill>
                  <a:latin typeface="Consolas" panose="020B0609020204030204" pitchFamily="49" charset="0"/>
                </a:rPr>
                <a:t> </a:t>
              </a:r>
              <a:r>
                <a:rPr lang="en-US" sz="2353" u="sng" dirty="0">
                  <a:gradFill>
                    <a:gsLst>
                      <a:gs pos="2917">
                        <a:schemeClr val="tx1"/>
                      </a:gs>
                      <a:gs pos="30000">
                        <a:schemeClr val="tx1"/>
                      </a:gs>
                    </a:gsLst>
                    <a:lin ang="5400000" scaled="0"/>
                  </a:gradFill>
                  <a:latin typeface="Consolas" panose="020B0609020204030204" pitchFamily="49" charset="0"/>
                </a:rPr>
                <a:t>x</a:t>
              </a:r>
            </a:p>
          </p:txBody>
        </p:sp>
        <p:sp>
          <p:nvSpPr>
            <p:cNvPr id="8" name="TextBox 7"/>
            <p:cNvSpPr txBox="1"/>
            <p:nvPr/>
          </p:nvSpPr>
          <p:spPr>
            <a:xfrm>
              <a:off x="649776" y="1058862"/>
              <a:ext cx="1670538" cy="627864"/>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OWNER</a:t>
              </a:r>
            </a:p>
          </p:txBody>
        </p:sp>
      </p:grpSp>
      <p:grpSp>
        <p:nvGrpSpPr>
          <p:cNvPr id="17" name="Group 16"/>
          <p:cNvGrpSpPr/>
          <p:nvPr/>
        </p:nvGrpSpPr>
        <p:grpSpPr>
          <a:xfrm>
            <a:off x="5050171" y="1113236"/>
            <a:ext cx="1810088" cy="1155395"/>
            <a:chOff x="3779837" y="1023299"/>
            <a:chExt cx="1846384" cy="1178563"/>
          </a:xfrm>
        </p:grpSpPr>
        <p:sp>
          <p:nvSpPr>
            <p:cNvPr id="5" name="TextBox 4"/>
            <p:cNvSpPr txBox="1"/>
            <p:nvPr/>
          </p:nvSpPr>
          <p:spPr>
            <a:xfrm>
              <a:off x="3779837" y="1573998"/>
              <a:ext cx="1846384" cy="627864"/>
            </a:xfrm>
            <a:prstGeom prst="rect">
              <a:avLst/>
            </a:prstGeom>
            <a:solidFill>
              <a:schemeClr val="accent4"/>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txBody>
            <a:bodyPr wrap="square" lIns="179285" tIns="143428" rIns="179285" bIns="143428" rtlCol="0" anchor="ctr">
              <a:spAutoFit/>
            </a:bodyPr>
            <a:lstStyle/>
            <a:p>
              <a:pPr algn="ctr">
                <a:lnSpc>
                  <a:spcPct val="90000"/>
                </a:lnSpc>
                <a:spcAft>
                  <a:spcPts val="588"/>
                </a:spcAft>
              </a:pPr>
              <a:r>
                <a:rPr lang="en-US" sz="2353" u="sng" dirty="0">
                  <a:gradFill>
                    <a:gsLst>
                      <a:gs pos="2917">
                        <a:schemeClr val="tx1"/>
                      </a:gs>
                      <a:gs pos="30000">
                        <a:schemeClr val="tx1"/>
                      </a:gs>
                    </a:gsLst>
                    <a:lin ang="5400000" scaled="0"/>
                  </a:gradFill>
                  <a:latin typeface="Consolas" panose="020B0609020204030204" pitchFamily="49" charset="0"/>
                </a:rPr>
                <a:t>r</a:t>
              </a:r>
              <a:r>
                <a:rPr lang="en-US" sz="2353" dirty="0">
                  <a:gradFill>
                    <a:gsLst>
                      <a:gs pos="2917">
                        <a:schemeClr val="tx1"/>
                      </a:gs>
                      <a:gs pos="30000">
                        <a:schemeClr val="tx1"/>
                      </a:gs>
                    </a:gsLst>
                    <a:lin ang="5400000" scaled="0"/>
                  </a:gradFill>
                  <a:latin typeface="Consolas" panose="020B0609020204030204" pitchFamily="49" charset="0"/>
                </a:rPr>
                <a:t> </a:t>
              </a:r>
              <a:r>
                <a:rPr lang="en-US" sz="2353" u="sng" dirty="0">
                  <a:gradFill>
                    <a:gsLst>
                      <a:gs pos="2917">
                        <a:schemeClr val="tx1"/>
                      </a:gs>
                      <a:gs pos="30000">
                        <a:schemeClr val="tx1"/>
                      </a:gs>
                    </a:gsLst>
                    <a:lin ang="5400000" scaled="0"/>
                  </a:gradFill>
                  <a:latin typeface="Consolas" panose="020B0609020204030204" pitchFamily="49" charset="0"/>
                </a:rPr>
                <a:t>w</a:t>
              </a:r>
              <a:r>
                <a:rPr lang="en-US" sz="2353" dirty="0">
                  <a:gradFill>
                    <a:gsLst>
                      <a:gs pos="2917">
                        <a:schemeClr val="tx1"/>
                      </a:gs>
                      <a:gs pos="30000">
                        <a:schemeClr val="tx1"/>
                      </a:gs>
                    </a:gsLst>
                    <a:lin ang="5400000" scaled="0"/>
                  </a:gradFill>
                  <a:latin typeface="Consolas" panose="020B0609020204030204" pitchFamily="49" charset="0"/>
                </a:rPr>
                <a:t> </a:t>
              </a:r>
              <a:r>
                <a:rPr lang="en-US" sz="2353" u="sng" dirty="0">
                  <a:gradFill>
                    <a:gsLst>
                      <a:gs pos="2917">
                        <a:schemeClr val="tx1"/>
                      </a:gs>
                      <a:gs pos="30000">
                        <a:schemeClr val="tx1"/>
                      </a:gs>
                    </a:gsLst>
                    <a:lin ang="5400000" scaled="0"/>
                  </a:gradFill>
                  <a:latin typeface="Consolas" panose="020B0609020204030204" pitchFamily="49" charset="0"/>
                </a:rPr>
                <a:t>x</a:t>
              </a:r>
            </a:p>
          </p:txBody>
        </p:sp>
        <p:sp>
          <p:nvSpPr>
            <p:cNvPr id="9" name="TextBox 8"/>
            <p:cNvSpPr txBox="1"/>
            <p:nvPr/>
          </p:nvSpPr>
          <p:spPr>
            <a:xfrm>
              <a:off x="3885344" y="1023299"/>
              <a:ext cx="1670538" cy="627864"/>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GROUP</a:t>
              </a:r>
            </a:p>
          </p:txBody>
        </p:sp>
      </p:grpSp>
      <p:grpSp>
        <p:nvGrpSpPr>
          <p:cNvPr id="18" name="Group 17"/>
          <p:cNvGrpSpPr/>
          <p:nvPr/>
        </p:nvGrpSpPr>
        <p:grpSpPr>
          <a:xfrm>
            <a:off x="9176023" y="1113236"/>
            <a:ext cx="1810088" cy="1155395"/>
            <a:chOff x="6886453" y="982662"/>
            <a:chExt cx="1846384" cy="1178563"/>
          </a:xfrm>
        </p:grpSpPr>
        <p:sp>
          <p:nvSpPr>
            <p:cNvPr id="6" name="TextBox 5"/>
            <p:cNvSpPr txBox="1"/>
            <p:nvPr/>
          </p:nvSpPr>
          <p:spPr>
            <a:xfrm>
              <a:off x="6886453" y="1533361"/>
              <a:ext cx="1846384" cy="627864"/>
            </a:xfrm>
            <a:prstGeom prst="rect">
              <a:avLst/>
            </a:prstGeom>
            <a:solidFill>
              <a:schemeClr val="accent5"/>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txBody>
            <a:bodyPr wrap="square" lIns="179285" tIns="143428" rIns="179285" bIns="143428" rtlCol="0" anchor="ctr">
              <a:spAutoFit/>
            </a:bodyPr>
            <a:lstStyle/>
            <a:p>
              <a:pPr algn="ctr">
                <a:lnSpc>
                  <a:spcPct val="90000"/>
                </a:lnSpc>
                <a:spcAft>
                  <a:spcPts val="588"/>
                </a:spcAft>
              </a:pPr>
              <a:r>
                <a:rPr lang="en-US" sz="2353" u="sng">
                  <a:gradFill>
                    <a:gsLst>
                      <a:gs pos="2917">
                        <a:schemeClr val="tx1"/>
                      </a:gs>
                      <a:gs pos="30000">
                        <a:schemeClr val="tx1"/>
                      </a:gs>
                    </a:gsLst>
                    <a:lin ang="5400000" scaled="0"/>
                  </a:gradFill>
                  <a:latin typeface="Consolas" panose="020B0609020204030204" pitchFamily="49" charset="0"/>
                </a:rPr>
                <a:t>_</a:t>
              </a:r>
              <a:r>
                <a:rPr lang="en-US" sz="2353">
                  <a:gradFill>
                    <a:gsLst>
                      <a:gs pos="2917">
                        <a:schemeClr val="tx1"/>
                      </a:gs>
                      <a:gs pos="30000">
                        <a:schemeClr val="tx1"/>
                      </a:gs>
                    </a:gsLst>
                    <a:lin ang="5400000" scaled="0"/>
                  </a:gradFill>
                  <a:latin typeface="Consolas" panose="020B0609020204030204" pitchFamily="49" charset="0"/>
                </a:rPr>
                <a:t> </a:t>
              </a:r>
              <a:r>
                <a:rPr lang="en-US" sz="2353" u="sng" dirty="0">
                  <a:gradFill>
                    <a:gsLst>
                      <a:gs pos="2917">
                        <a:schemeClr val="tx1"/>
                      </a:gs>
                      <a:gs pos="30000">
                        <a:schemeClr val="tx1"/>
                      </a:gs>
                    </a:gsLst>
                    <a:lin ang="5400000" scaled="0"/>
                  </a:gradFill>
                  <a:latin typeface="Consolas" panose="020B0609020204030204" pitchFamily="49" charset="0"/>
                </a:rPr>
                <a:t>_</a:t>
              </a:r>
              <a:r>
                <a:rPr lang="en-US" sz="2353" dirty="0">
                  <a:gradFill>
                    <a:gsLst>
                      <a:gs pos="2917">
                        <a:schemeClr val="tx1"/>
                      </a:gs>
                      <a:gs pos="30000">
                        <a:schemeClr val="tx1"/>
                      </a:gs>
                    </a:gsLst>
                    <a:lin ang="5400000" scaled="0"/>
                  </a:gradFill>
                  <a:latin typeface="Consolas" panose="020B0609020204030204" pitchFamily="49" charset="0"/>
                </a:rPr>
                <a:t> </a:t>
              </a:r>
              <a:r>
                <a:rPr lang="en-US" sz="2353" u="sng" dirty="0">
                  <a:gradFill>
                    <a:gsLst>
                      <a:gs pos="2917">
                        <a:schemeClr val="tx1"/>
                      </a:gs>
                      <a:gs pos="30000">
                        <a:schemeClr val="tx1"/>
                      </a:gs>
                    </a:gsLst>
                    <a:lin ang="5400000" scaled="0"/>
                  </a:gradFill>
                  <a:latin typeface="Consolas" panose="020B0609020204030204" pitchFamily="49" charset="0"/>
                </a:rPr>
                <a:t>_</a:t>
              </a:r>
            </a:p>
          </p:txBody>
        </p:sp>
        <p:sp>
          <p:nvSpPr>
            <p:cNvPr id="10" name="TextBox 9"/>
            <p:cNvSpPr txBox="1"/>
            <p:nvPr/>
          </p:nvSpPr>
          <p:spPr>
            <a:xfrm>
              <a:off x="6974376" y="982662"/>
              <a:ext cx="1670538" cy="627864"/>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OTHER</a:t>
              </a:r>
            </a:p>
          </p:txBody>
        </p:sp>
      </p:grpSp>
      <p:sp>
        <p:nvSpPr>
          <p:cNvPr id="11" name="TextBox 10"/>
          <p:cNvSpPr txBox="1"/>
          <p:nvPr/>
        </p:nvSpPr>
        <p:spPr>
          <a:xfrm>
            <a:off x="140508" y="2407362"/>
            <a:ext cx="3693757" cy="1690041"/>
          </a:xfrm>
          <a:prstGeom prst="rect">
            <a:avLst/>
          </a:prstGeom>
          <a:solidFill>
            <a:schemeClr val="bg2"/>
          </a:solidFill>
          <a:ln>
            <a:noFill/>
          </a:ln>
        </p:spPr>
        <p:txBody>
          <a:bodyPr wrap="square" lIns="179285" tIns="143428" rIns="179285" bIns="143428" rtlCol="0">
            <a:spAutoFit/>
          </a:bodyPr>
          <a:lstStyle/>
          <a:p>
            <a:pPr>
              <a:lnSpc>
                <a:spcPct val="90000"/>
              </a:lnSpc>
              <a:spcAft>
                <a:spcPts val="588"/>
              </a:spcAft>
            </a:pPr>
            <a:r>
              <a:rPr lang="en-US" dirty="0">
                <a:gradFill>
                  <a:gsLst>
                    <a:gs pos="2917">
                      <a:schemeClr val="tx1"/>
                    </a:gs>
                    <a:gs pos="30000">
                      <a:schemeClr val="tx1"/>
                    </a:gs>
                  </a:gsLst>
                  <a:lin ang="5400000" scaled="0"/>
                </a:gradFill>
                <a:latin typeface="+mj-lt"/>
              </a:rPr>
              <a:t>Owner SID is set on the ACE when object is created</a:t>
            </a:r>
          </a:p>
          <a:p>
            <a:pPr>
              <a:lnSpc>
                <a:spcPct val="90000"/>
              </a:lnSpc>
              <a:spcAft>
                <a:spcPts val="588"/>
              </a:spcAft>
            </a:pPr>
            <a:endParaRPr lang="en-US" dirty="0">
              <a:gradFill>
                <a:gsLst>
                  <a:gs pos="2917">
                    <a:schemeClr val="tx1"/>
                  </a:gs>
                  <a:gs pos="30000">
                    <a:schemeClr val="tx1"/>
                  </a:gs>
                </a:gsLst>
                <a:lin ang="5400000" scaled="0"/>
              </a:gradFill>
              <a:latin typeface="+mj-lt"/>
            </a:endParaRPr>
          </a:p>
          <a:p>
            <a:pPr>
              <a:lnSpc>
                <a:spcPct val="90000"/>
              </a:lnSpc>
              <a:spcAft>
                <a:spcPts val="588"/>
              </a:spcAft>
            </a:pPr>
            <a:r>
              <a:rPr lang="en-US" dirty="0">
                <a:gradFill>
                  <a:gsLst>
                    <a:gs pos="2917">
                      <a:schemeClr val="tx1"/>
                    </a:gs>
                    <a:gs pos="30000">
                      <a:schemeClr val="tx1"/>
                    </a:gs>
                  </a:gsLst>
                  <a:lin ang="5400000" scaled="0"/>
                </a:gradFill>
                <a:latin typeface="+mj-lt"/>
              </a:rPr>
              <a:t>Permissions apply if caller’s SID matches the object’s owner ID</a:t>
            </a:r>
          </a:p>
        </p:txBody>
      </p:sp>
      <p:cxnSp>
        <p:nvCxnSpPr>
          <p:cNvPr id="7" name="Straight Connector 6"/>
          <p:cNvCxnSpPr/>
          <p:nvPr/>
        </p:nvCxnSpPr>
        <p:spPr>
          <a:xfrm>
            <a:off x="4004342" y="1684941"/>
            <a:ext cx="0" cy="399590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112956" y="1684940"/>
            <a:ext cx="0" cy="399590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53745" y="2401076"/>
            <a:ext cx="3704377" cy="3279765"/>
          </a:xfrm>
          <a:prstGeom prst="rect">
            <a:avLst/>
          </a:prstGeom>
          <a:solidFill>
            <a:schemeClr val="bg2"/>
          </a:solidFill>
          <a:ln>
            <a:noFill/>
          </a:ln>
        </p:spPr>
        <p:txBody>
          <a:bodyPr wrap="square" lIns="179285" tIns="143428" rIns="179285" bIns="143428" rtlCol="0">
            <a:spAutoFit/>
          </a:bodyPr>
          <a:lstStyle>
            <a:defPPr>
              <a:defRPr lang="en-US"/>
            </a:defPPr>
            <a:lvl1pPr>
              <a:lnSpc>
                <a:spcPct val="90000"/>
              </a:lnSpc>
              <a:spcAft>
                <a:spcPts val="600"/>
              </a:spcAft>
              <a:defRPr sz="2000">
                <a:gradFill>
                  <a:gsLst>
                    <a:gs pos="2917">
                      <a:schemeClr val="tx1"/>
                    </a:gs>
                    <a:gs pos="30000">
                      <a:schemeClr val="tx1"/>
                    </a:gs>
                  </a:gsLst>
                  <a:lin ang="5400000" scaled="0"/>
                </a:gradFill>
              </a:defRPr>
            </a:lvl1pPr>
          </a:lstStyle>
          <a:p>
            <a:r>
              <a:rPr lang="en-US" sz="1765" dirty="0">
                <a:latin typeface="+mj-lt"/>
              </a:rPr>
              <a:t>Primary Group SID is set on the ACE based on the Primary Group of the owner</a:t>
            </a:r>
          </a:p>
          <a:p>
            <a:endParaRPr lang="en-US" sz="1765" dirty="0">
              <a:latin typeface="+mj-lt"/>
            </a:endParaRPr>
          </a:p>
          <a:p>
            <a:r>
              <a:rPr lang="en-US" sz="1765" dirty="0">
                <a:latin typeface="+mj-lt"/>
              </a:rPr>
              <a:t>Permissions apply if the caller is a member of the Primary Group</a:t>
            </a:r>
          </a:p>
          <a:p>
            <a:endParaRPr lang="en-US" sz="1765" dirty="0">
              <a:latin typeface="+mj-lt"/>
            </a:endParaRPr>
          </a:p>
          <a:p>
            <a:r>
              <a:rPr lang="en-US" sz="1765" dirty="0">
                <a:latin typeface="+mj-lt"/>
              </a:rPr>
              <a:t>Primary Group is a POSIX concept with no Azure equivalent. In ADLS, admin can pick a group to always be the ‘primary’ group. </a:t>
            </a:r>
          </a:p>
        </p:txBody>
      </p:sp>
      <p:sp>
        <p:nvSpPr>
          <p:cNvPr id="20" name="TextBox 19"/>
          <p:cNvSpPr txBox="1"/>
          <p:nvPr/>
        </p:nvSpPr>
        <p:spPr>
          <a:xfrm>
            <a:off x="8289252" y="2397415"/>
            <a:ext cx="3704377" cy="778454"/>
          </a:xfrm>
          <a:prstGeom prst="rect">
            <a:avLst/>
          </a:prstGeom>
          <a:solidFill>
            <a:schemeClr val="bg2"/>
          </a:solidFill>
          <a:ln>
            <a:noFill/>
          </a:ln>
        </p:spPr>
        <p:txBody>
          <a:bodyPr wrap="square" lIns="179285" tIns="143428" rIns="179285" bIns="143428" rtlCol="0">
            <a:spAutoFit/>
          </a:bodyPr>
          <a:lstStyle>
            <a:defPPr>
              <a:defRPr lang="en-US"/>
            </a:defPPr>
            <a:lvl1pPr>
              <a:lnSpc>
                <a:spcPct val="90000"/>
              </a:lnSpc>
              <a:spcAft>
                <a:spcPts val="600"/>
              </a:spcAft>
              <a:defRPr sz="2000">
                <a:gradFill>
                  <a:gsLst>
                    <a:gs pos="2917">
                      <a:schemeClr val="tx1"/>
                    </a:gs>
                    <a:gs pos="30000">
                      <a:schemeClr val="tx1"/>
                    </a:gs>
                  </a:gsLst>
                  <a:lin ang="5400000" scaled="0"/>
                </a:gradFill>
              </a:defRPr>
            </a:lvl1pPr>
          </a:lstStyle>
          <a:p>
            <a:r>
              <a:rPr lang="en-US" sz="1765" dirty="0">
                <a:latin typeface="+mj-lt"/>
              </a:rPr>
              <a:t>Permissions apply to all other callers from the same AAD Tenant</a:t>
            </a:r>
          </a:p>
        </p:txBody>
      </p:sp>
      <p:sp>
        <p:nvSpPr>
          <p:cNvPr id="30" name="TextBox 29"/>
          <p:cNvSpPr txBox="1"/>
          <p:nvPr/>
        </p:nvSpPr>
        <p:spPr>
          <a:xfrm>
            <a:off x="140507" y="5373209"/>
            <a:ext cx="3758402" cy="1363798"/>
          </a:xfrm>
          <a:prstGeom prst="rect">
            <a:avLst/>
          </a:prstGeom>
          <a:solidFill>
            <a:schemeClr val="accent6"/>
          </a:solidFill>
          <a:ln>
            <a:noFill/>
          </a:ln>
        </p:spPr>
        <p:txBody>
          <a:bodyPr wrap="square" lIns="179285" tIns="143428" rIns="179285" bIns="143428" rtlCol="0">
            <a:spAutoFit/>
          </a:bodyPr>
          <a:lstStyle/>
          <a:p>
            <a:pPr>
              <a:lnSpc>
                <a:spcPct val="90000"/>
              </a:lnSpc>
              <a:spcAft>
                <a:spcPts val="588"/>
              </a:spcAft>
            </a:pPr>
            <a:r>
              <a:rPr lang="en-US" b="1" dirty="0">
                <a:gradFill>
                  <a:gsLst>
                    <a:gs pos="2917">
                      <a:schemeClr val="tx1"/>
                    </a:gs>
                    <a:gs pos="30000">
                      <a:schemeClr val="tx1"/>
                    </a:gs>
                  </a:gsLst>
                  <a:lin ang="5400000" scaled="0"/>
                </a:gradFill>
              </a:rPr>
              <a:t>Custom Access:</a:t>
            </a:r>
          </a:p>
          <a:p>
            <a:pPr>
              <a:lnSpc>
                <a:spcPct val="90000"/>
              </a:lnSpc>
              <a:spcAft>
                <a:spcPts val="588"/>
              </a:spcAft>
            </a:pPr>
            <a:r>
              <a:rPr lang="en-US" dirty="0">
                <a:gradFill>
                  <a:gsLst>
                    <a:gs pos="2917">
                      <a:schemeClr val="tx1"/>
                    </a:gs>
                    <a:gs pos="30000">
                      <a:schemeClr val="tx1"/>
                    </a:gs>
                  </a:gsLst>
                  <a:lin ang="5400000" scaled="0"/>
                </a:gradFill>
              </a:rPr>
              <a:t>Use extended ACEs when you need to give permissions to a specific user or security group</a:t>
            </a:r>
          </a:p>
        </p:txBody>
      </p:sp>
    </p:spTree>
    <p:extLst>
      <p:ext uri="{BB962C8B-B14F-4D97-AF65-F5344CB8AC3E}">
        <p14:creationId xmlns:p14="http://schemas.microsoft.com/office/powerpoint/2010/main" val="20632639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88843"/>
            <a:ext cx="11130606" cy="852804"/>
          </a:xfrm>
        </p:spPr>
        <p:txBody>
          <a:bodyPr/>
          <a:lstStyle/>
          <a:p>
            <a:r>
              <a:rPr lang="en-US" dirty="0">
                <a:solidFill>
                  <a:srgbClr val="0070C0"/>
                </a:solidFill>
              </a:rPr>
              <a:t>ADLS Encryption at Rest</a:t>
            </a:r>
          </a:p>
        </p:txBody>
      </p:sp>
      <p:grpSp>
        <p:nvGrpSpPr>
          <p:cNvPr id="5" name="Group 4"/>
          <p:cNvGrpSpPr/>
          <p:nvPr/>
        </p:nvGrpSpPr>
        <p:grpSpPr>
          <a:xfrm>
            <a:off x="493345" y="3653106"/>
            <a:ext cx="10906502" cy="3023298"/>
            <a:chOff x="503237" y="3594226"/>
            <a:chExt cx="11125200" cy="3083921"/>
          </a:xfrm>
          <a:solidFill>
            <a:schemeClr val="accent2"/>
          </a:solidFill>
        </p:grpSpPr>
        <p:pic>
          <p:nvPicPr>
            <p:cNvPr id="6" name="Picture 5" descr="... in a Cloud World – Part 1 (Azure Key Vault) | Palladium Consult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3237" y="4269232"/>
              <a:ext cx="1130936" cy="1048001"/>
            </a:xfrm>
            <a:prstGeom prst="rect">
              <a:avLst/>
            </a:prstGeom>
            <a:grp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7" name="TextBox 6"/>
            <p:cNvSpPr txBox="1"/>
            <p:nvPr/>
          </p:nvSpPr>
          <p:spPr>
            <a:xfrm>
              <a:off x="1874837" y="3594226"/>
              <a:ext cx="9753600" cy="3083921"/>
            </a:xfrm>
            <a:prstGeom prst="rect">
              <a:avLst/>
            </a:prstGeom>
            <a:solidFill>
              <a:srgbClr val="7030A0"/>
            </a:solidFill>
          </p:spPr>
          <p:txBody>
            <a:bodyPr wrap="square" lIns="179285" tIns="143428" rIns="179285" bIns="143428" rtlCol="0">
              <a:spAutoFit/>
            </a:bodyPr>
            <a:lstStyle/>
            <a:p>
              <a:pPr defTabSz="914367" eaLnBrk="1" fontAlgn="auto" hangingPunct="1">
                <a:lnSpc>
                  <a:spcPct val="90000"/>
                </a:lnSpc>
                <a:spcBef>
                  <a:spcPts val="0"/>
                </a:spcBef>
                <a:spcAft>
                  <a:spcPts val="588"/>
                </a:spcAft>
                <a:defRPr/>
              </a:pPr>
              <a:r>
                <a:rPr lang="en-US" sz="2353" dirty="0">
                  <a:gradFill>
                    <a:gsLst>
                      <a:gs pos="2917">
                        <a:srgbClr val="FFFFFF"/>
                      </a:gs>
                      <a:gs pos="30000">
                        <a:srgbClr val="FFFFFF"/>
                      </a:gs>
                    </a:gsLst>
                    <a:lin ang="5400000" scaled="0"/>
                  </a:gradFill>
                  <a:latin typeface="Segoe UI"/>
                </a:rPr>
                <a:t>I</a:t>
              </a:r>
              <a:r>
                <a:rPr lang="en-US" sz="2353" dirty="0" err="1">
                  <a:gradFill>
                    <a:gsLst>
                      <a:gs pos="2917">
                        <a:srgbClr val="FFFFFF"/>
                      </a:gs>
                      <a:gs pos="30000">
                        <a:srgbClr val="FFFFFF"/>
                      </a:gs>
                    </a:gsLst>
                    <a:lin ang="5400000" scaled="0"/>
                  </a:gradFill>
                  <a:latin typeface="Segoe UI"/>
                </a:rPr>
                <a:t>ntegrated</a:t>
              </a:r>
              <a:r>
                <a:rPr lang="en-US" sz="2353" dirty="0">
                  <a:gradFill>
                    <a:gsLst>
                      <a:gs pos="2917">
                        <a:srgbClr val="FFFFFF"/>
                      </a:gs>
                      <a:gs pos="30000">
                        <a:srgbClr val="FFFFFF"/>
                      </a:gs>
                    </a:gsLst>
                    <a:lin ang="5400000" scaled="0"/>
                  </a:gradFill>
                  <a:latin typeface="Segoe UI"/>
                </a:rPr>
                <a:t> with Azure Key Vault</a:t>
              </a:r>
            </a:p>
            <a:p>
              <a:pPr marL="336145" indent="-336145" defTabSz="914367" eaLnBrk="1" fontAlgn="auto" hangingPunct="1">
                <a:lnSpc>
                  <a:spcPct val="90000"/>
                </a:lnSpc>
                <a:spcBef>
                  <a:spcPts val="0"/>
                </a:spcBef>
                <a:spcAft>
                  <a:spcPts val="588"/>
                </a:spcAft>
                <a:buFont typeface="Arial" panose="020B0604020202020204" pitchFamily="34" charset="0"/>
                <a:buChar char="•"/>
                <a:defRPr/>
              </a:pPr>
              <a:endParaRPr lang="en-US" sz="2353" dirty="0">
                <a:gradFill>
                  <a:gsLst>
                    <a:gs pos="2917">
                      <a:srgbClr val="FFFFFF"/>
                    </a:gs>
                    <a:gs pos="30000">
                      <a:srgbClr val="FFFFFF"/>
                    </a:gs>
                  </a:gsLst>
                  <a:lin ang="5400000" scaled="0"/>
                </a:gradFill>
                <a:latin typeface="Segoe UI"/>
              </a:endParaRPr>
            </a:p>
            <a:p>
              <a:pPr defTabSz="914367" eaLnBrk="1" fontAlgn="auto" hangingPunct="1">
                <a:lnSpc>
                  <a:spcPct val="90000"/>
                </a:lnSpc>
                <a:spcBef>
                  <a:spcPts val="0"/>
                </a:spcBef>
                <a:spcAft>
                  <a:spcPts val="588"/>
                </a:spcAft>
                <a:defRPr/>
              </a:pPr>
              <a:r>
                <a:rPr lang="en-US" sz="2353" dirty="0">
                  <a:gradFill>
                    <a:gsLst>
                      <a:gs pos="2917">
                        <a:srgbClr val="FFFFFF"/>
                      </a:gs>
                      <a:gs pos="30000">
                        <a:srgbClr val="FFFFFF"/>
                      </a:gs>
                    </a:gsLst>
                    <a:lin ang="5400000" scaled="0"/>
                  </a:gradFill>
                  <a:latin typeface="Segoe UI"/>
                </a:rPr>
                <a:t>Supported Scenarios:</a:t>
              </a:r>
            </a:p>
            <a:p>
              <a:pPr marL="336145" indent="-336145" defTabSz="914367" eaLnBrk="1" fontAlgn="auto" hangingPunct="1">
                <a:lnSpc>
                  <a:spcPct val="90000"/>
                </a:lnSpc>
                <a:spcBef>
                  <a:spcPts val="0"/>
                </a:spcBef>
                <a:spcAft>
                  <a:spcPts val="588"/>
                </a:spcAft>
                <a:buFont typeface="Arial" panose="020B0604020202020204" pitchFamily="34" charset="0"/>
                <a:buChar char="•"/>
                <a:defRPr/>
              </a:pPr>
              <a:r>
                <a:rPr lang="en-US" sz="2353" dirty="0">
                  <a:gradFill>
                    <a:gsLst>
                      <a:gs pos="2917">
                        <a:srgbClr val="FFFFFF"/>
                      </a:gs>
                      <a:gs pos="30000">
                        <a:srgbClr val="FFFFFF"/>
                      </a:gs>
                    </a:gsLst>
                    <a:lin ang="5400000" scaled="0"/>
                  </a:gradFill>
                  <a:latin typeface="Segoe UI"/>
                </a:rPr>
                <a:t>Azure-managed keys</a:t>
              </a:r>
            </a:p>
            <a:p>
              <a:pPr lvl="1">
                <a:lnSpc>
                  <a:spcPct val="90000"/>
                </a:lnSpc>
                <a:spcAft>
                  <a:spcPts val="588"/>
                </a:spcAft>
                <a:defRPr/>
              </a:pPr>
              <a:r>
                <a:rPr lang="en-US" sz="2353" dirty="0">
                  <a:gradFill>
                    <a:gsLst>
                      <a:gs pos="2917">
                        <a:srgbClr val="FFFFFF"/>
                      </a:gs>
                      <a:gs pos="30000">
                        <a:srgbClr val="FFFFFF"/>
                      </a:gs>
                    </a:gsLst>
                    <a:lin ang="5400000" scaled="0"/>
                  </a:gradFill>
                  <a:latin typeface="Segoe UI"/>
                </a:rPr>
                <a:t>ADLS to provision and manage keys</a:t>
              </a:r>
            </a:p>
            <a:p>
              <a:pPr marL="336145" indent="-336145" defTabSz="914367" eaLnBrk="1" fontAlgn="auto" hangingPunct="1">
                <a:lnSpc>
                  <a:spcPct val="90000"/>
                </a:lnSpc>
                <a:spcBef>
                  <a:spcPts val="0"/>
                </a:spcBef>
                <a:spcAft>
                  <a:spcPts val="588"/>
                </a:spcAft>
                <a:buFont typeface="Arial" panose="020B0604020202020204" pitchFamily="34" charset="0"/>
                <a:buChar char="•"/>
                <a:defRPr/>
              </a:pPr>
              <a:r>
                <a:rPr lang="en-US" sz="2353" dirty="0">
                  <a:gradFill>
                    <a:gsLst>
                      <a:gs pos="2917">
                        <a:srgbClr val="FFFFFF"/>
                      </a:gs>
                      <a:gs pos="30000">
                        <a:srgbClr val="FFFFFF"/>
                      </a:gs>
                    </a:gsLst>
                    <a:lin ang="5400000" scaled="0"/>
                  </a:gradFill>
                  <a:latin typeface="Segoe UI"/>
                </a:rPr>
                <a:t>BYOK</a:t>
              </a:r>
            </a:p>
            <a:p>
              <a:pPr lvl="1">
                <a:lnSpc>
                  <a:spcPct val="90000"/>
                </a:lnSpc>
                <a:spcAft>
                  <a:spcPts val="588"/>
                </a:spcAft>
                <a:defRPr/>
              </a:pPr>
              <a:r>
                <a:rPr lang="en-US" sz="2353" dirty="0">
                  <a:gradFill>
                    <a:gsLst>
                      <a:gs pos="2917">
                        <a:srgbClr val="FFFFFF"/>
                      </a:gs>
                      <a:gs pos="30000">
                        <a:srgbClr val="FFFFFF"/>
                      </a:gs>
                    </a:gsLst>
                    <a:lin ang="5400000" scaled="0"/>
                  </a:gradFill>
                  <a:latin typeface="Segoe UI"/>
                </a:rPr>
                <a:t>P</a:t>
              </a:r>
              <a:r>
                <a:rPr lang="en-US" sz="2353" dirty="0" err="1">
                  <a:gradFill>
                    <a:gsLst>
                      <a:gs pos="2917">
                        <a:srgbClr val="FFFFFF"/>
                      </a:gs>
                      <a:gs pos="30000">
                        <a:srgbClr val="FFFFFF"/>
                      </a:gs>
                    </a:gsLst>
                    <a:lin ang="5400000" scaled="0"/>
                  </a:gradFill>
                  <a:latin typeface="Segoe UI"/>
                </a:rPr>
                <a:t>rovision</a:t>
              </a:r>
              <a:r>
                <a:rPr lang="en-US" sz="2353" dirty="0">
                  <a:gradFill>
                    <a:gsLst>
                      <a:gs pos="2917">
                        <a:srgbClr val="FFFFFF"/>
                      </a:gs>
                      <a:gs pos="30000">
                        <a:srgbClr val="FFFFFF"/>
                      </a:gs>
                    </a:gsLst>
                    <a:lin ang="5400000" scaled="0"/>
                  </a:gradFill>
                  <a:latin typeface="Segoe UI"/>
                </a:rPr>
                <a:t> and manage their own keys in AKV</a:t>
              </a:r>
            </a:p>
          </p:txBody>
        </p:sp>
      </p:grpSp>
      <p:grpSp>
        <p:nvGrpSpPr>
          <p:cNvPr id="3" name="Group 2"/>
          <p:cNvGrpSpPr/>
          <p:nvPr/>
        </p:nvGrpSpPr>
        <p:grpSpPr>
          <a:xfrm>
            <a:off x="355627" y="1262641"/>
            <a:ext cx="11044220" cy="1819410"/>
            <a:chOff x="362757" y="-1760538"/>
            <a:chExt cx="11341880" cy="1855893"/>
          </a:xfrm>
        </p:grpSpPr>
        <p:pic>
          <p:nvPicPr>
            <p:cNvPr id="9" name="Picture 8" descr="Encrypted document gold by saparvia - Document icon from the Tango ..."/>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2757" y="-1379538"/>
              <a:ext cx="1359680" cy="1142999"/>
            </a:xfrm>
            <a:prstGeom prst="rect">
              <a:avLst/>
            </a:prstGeom>
          </p:spPr>
        </p:pic>
        <p:sp>
          <p:nvSpPr>
            <p:cNvPr id="11" name="TextBox 10"/>
            <p:cNvSpPr txBox="1"/>
            <p:nvPr/>
          </p:nvSpPr>
          <p:spPr>
            <a:xfrm>
              <a:off x="1874836" y="-1760538"/>
              <a:ext cx="9829801" cy="1855893"/>
            </a:xfrm>
            <a:prstGeom prst="rect">
              <a:avLst/>
            </a:prstGeom>
            <a:solidFill>
              <a:schemeClr val="accent5">
                <a:lumMod val="75000"/>
              </a:schemeClr>
            </a:solidFill>
          </p:spPr>
          <p:txBody>
            <a:bodyPr wrap="square" lIns="179285" tIns="143428" rIns="179285" bIns="143428" rtlCol="0">
              <a:spAutoFit/>
            </a:bodyPr>
            <a:lstStyle/>
            <a:p>
              <a:pPr marL="336145" indent="-336145" defTabSz="914367" eaLnBrk="1" fontAlgn="auto" hangingPunct="1">
                <a:lnSpc>
                  <a:spcPct val="90000"/>
                </a:lnSpc>
                <a:spcBef>
                  <a:spcPts val="0"/>
                </a:spcBef>
                <a:spcAft>
                  <a:spcPts val="588"/>
                </a:spcAft>
                <a:buFont typeface="Arial" panose="020B0604020202020204" pitchFamily="34" charset="0"/>
                <a:buChar char="•"/>
                <a:defRPr/>
              </a:pPr>
              <a:r>
                <a:rPr lang="en-US" sz="2353" dirty="0">
                  <a:gradFill>
                    <a:gsLst>
                      <a:gs pos="2917">
                        <a:srgbClr val="FFFFFF"/>
                      </a:gs>
                      <a:gs pos="30000">
                        <a:srgbClr val="FFFFFF"/>
                      </a:gs>
                    </a:gsLst>
                    <a:lin ang="5400000" scaled="0"/>
                  </a:gradFill>
                  <a:latin typeface="Segoe UI"/>
                </a:rPr>
                <a:t>T</a:t>
              </a:r>
              <a:r>
                <a:rPr lang="en-US" sz="2353" dirty="0" err="1">
                  <a:gradFill>
                    <a:gsLst>
                      <a:gs pos="2917">
                        <a:srgbClr val="FFFFFF"/>
                      </a:gs>
                      <a:gs pos="30000">
                        <a:srgbClr val="FFFFFF"/>
                      </a:gs>
                    </a:gsLst>
                    <a:lin ang="5400000" scaled="0"/>
                  </a:gradFill>
                  <a:latin typeface="Segoe UI"/>
                </a:rPr>
                <a:t>ransparent</a:t>
              </a:r>
              <a:r>
                <a:rPr lang="en-US" sz="2353" dirty="0">
                  <a:gradFill>
                    <a:gsLst>
                      <a:gs pos="2917">
                        <a:srgbClr val="FFFFFF"/>
                      </a:gs>
                      <a:gs pos="30000">
                        <a:srgbClr val="FFFFFF"/>
                      </a:gs>
                    </a:gsLst>
                    <a:lin ang="5400000" scaled="0"/>
                  </a:gradFill>
                  <a:latin typeface="Segoe UI"/>
                </a:rPr>
                <a:t>, server-side. </a:t>
              </a:r>
            </a:p>
            <a:p>
              <a:pPr lvl="1">
                <a:lnSpc>
                  <a:spcPct val="90000"/>
                </a:lnSpc>
                <a:spcAft>
                  <a:spcPts val="588"/>
                </a:spcAft>
                <a:defRPr/>
              </a:pPr>
              <a:r>
                <a:rPr lang="en-US" sz="2353" dirty="0">
                  <a:gradFill>
                    <a:gsLst>
                      <a:gs pos="2917">
                        <a:srgbClr val="FFFFFF"/>
                      </a:gs>
                      <a:gs pos="30000">
                        <a:srgbClr val="FFFFFF"/>
                      </a:gs>
                    </a:gsLst>
                    <a:lin ang="5400000" scaled="0"/>
                  </a:gradFill>
                  <a:latin typeface="Segoe UI"/>
                </a:rPr>
                <a:t>No client side changes are required.</a:t>
              </a:r>
            </a:p>
            <a:p>
              <a:pPr marL="336145" indent="-336145" defTabSz="914367" eaLnBrk="1" fontAlgn="auto" hangingPunct="1">
                <a:lnSpc>
                  <a:spcPct val="90000"/>
                </a:lnSpc>
                <a:spcBef>
                  <a:spcPts val="0"/>
                </a:spcBef>
                <a:spcAft>
                  <a:spcPts val="588"/>
                </a:spcAft>
                <a:buFont typeface="Arial" panose="020B0604020202020204" pitchFamily="34" charset="0"/>
                <a:buChar char="•"/>
                <a:defRPr/>
              </a:pPr>
              <a:endParaRPr lang="en-US" sz="2353" dirty="0">
                <a:gradFill>
                  <a:gsLst>
                    <a:gs pos="2917">
                      <a:srgbClr val="FFFFFF"/>
                    </a:gs>
                    <a:gs pos="30000">
                      <a:srgbClr val="FFFFFF"/>
                    </a:gs>
                  </a:gsLst>
                  <a:lin ang="5400000" scaled="0"/>
                </a:gradFill>
                <a:latin typeface="Segoe UI"/>
              </a:endParaRPr>
            </a:p>
            <a:p>
              <a:pPr marL="336145" indent="-336145" defTabSz="914367" eaLnBrk="1" fontAlgn="auto" hangingPunct="1">
                <a:lnSpc>
                  <a:spcPct val="90000"/>
                </a:lnSpc>
                <a:spcBef>
                  <a:spcPts val="0"/>
                </a:spcBef>
                <a:spcAft>
                  <a:spcPts val="588"/>
                </a:spcAft>
                <a:buFont typeface="Arial" panose="020B0604020202020204" pitchFamily="34" charset="0"/>
                <a:buChar char="•"/>
                <a:defRPr/>
              </a:pPr>
              <a:r>
                <a:rPr lang="en-US" sz="2353" dirty="0">
                  <a:gradFill>
                    <a:gsLst>
                      <a:gs pos="2917">
                        <a:srgbClr val="FFFFFF"/>
                      </a:gs>
                      <a:gs pos="30000">
                        <a:srgbClr val="FFFFFF"/>
                      </a:gs>
                    </a:gsLst>
                    <a:lin ang="5400000" scaled="0"/>
                  </a:gradFill>
                  <a:latin typeface="Segoe UI"/>
                </a:rPr>
                <a:t>Supported at Files &amp; Folder level</a:t>
              </a:r>
            </a:p>
          </p:txBody>
        </p:sp>
      </p:grpSp>
      <p:cxnSp>
        <p:nvCxnSpPr>
          <p:cNvPr id="13" name="Straight Connector 12"/>
          <p:cNvCxnSpPr/>
          <p:nvPr/>
        </p:nvCxnSpPr>
        <p:spPr>
          <a:xfrm>
            <a:off x="717451" y="3429000"/>
            <a:ext cx="1083180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85161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418682" y="1358680"/>
            <a:ext cx="11503172" cy="5118289"/>
          </a:xfrm>
          <a:prstGeom prst="rect">
            <a:avLst/>
          </a:prstGeom>
          <a:solidFill>
            <a:schemeClr val="accent5">
              <a:lumMod val="60000"/>
              <a:lumOff val="40000"/>
            </a:schemeClr>
          </a:solidFill>
          <a:ln w="3175">
            <a:solidFill>
              <a:schemeClr val="accent5">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67"/>
            <a:endParaRPr lang="en-US" sz="1961"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92713" y="137381"/>
            <a:ext cx="10515600" cy="1325563"/>
          </a:xfrm>
        </p:spPr>
        <p:txBody>
          <a:bodyPr/>
          <a:lstStyle/>
          <a:p>
            <a:r>
              <a:rPr lang="en-US" dirty="0">
                <a:solidFill>
                  <a:srgbClr val="0070C0"/>
                </a:solidFill>
              </a:rPr>
              <a:t>ADLS Language Support</a:t>
            </a:r>
          </a:p>
        </p:txBody>
      </p:sp>
      <p:grpSp>
        <p:nvGrpSpPr>
          <p:cNvPr id="28" name="Group 27"/>
          <p:cNvGrpSpPr/>
          <p:nvPr/>
        </p:nvGrpSpPr>
        <p:grpSpPr>
          <a:xfrm>
            <a:off x="2766927" y="2555407"/>
            <a:ext cx="5223898" cy="2733286"/>
            <a:chOff x="2821445" y="2605899"/>
            <a:chExt cx="5330161" cy="2788885"/>
          </a:xfrm>
        </p:grpSpPr>
        <p:sp>
          <p:nvSpPr>
            <p:cNvPr id="22" name="TextBox 16"/>
            <p:cNvSpPr txBox="1"/>
            <p:nvPr/>
          </p:nvSpPr>
          <p:spPr>
            <a:xfrm>
              <a:off x="7138668" y="2605899"/>
              <a:ext cx="1012938" cy="569420"/>
            </a:xfrm>
            <a:prstGeom prst="rect">
              <a:avLst/>
            </a:prstGeom>
            <a:noFill/>
          </p:spPr>
          <p:txBody>
            <a:bodyPr wrap="square" rtlCol="0">
              <a:spAutoFit/>
            </a:bodyPr>
            <a:lstStyle/>
            <a:p>
              <a:pPr algn="ctr"/>
              <a:r>
                <a:rPr lang="en-US" sz="1961" b="1" dirty="0">
                  <a:solidFill>
                    <a:schemeClr val="bg1"/>
                  </a:solidFill>
                  <a:latin typeface="Segoe WP Light" panose="020B0502040204020203" pitchFamily="34" charset="0"/>
                  <a:cs typeface="Segoe WP Light" panose="020B0502040204020203" pitchFamily="34" charset="0"/>
                </a:rPr>
                <a:t>Java</a:t>
              </a:r>
              <a:r>
                <a:rPr lang="en-US" sz="1961" b="1" dirty="0">
                  <a:latin typeface="Segoe WP Light" panose="020B0502040204020203" pitchFamily="34" charset="0"/>
                  <a:cs typeface="Segoe WP Light" panose="020B0502040204020203" pitchFamily="34" charset="0"/>
                </a:rPr>
                <a:t> </a:t>
              </a:r>
              <a:r>
                <a:rPr lang="en-US" sz="1077" b="1" dirty="0">
                  <a:latin typeface="Segoe WP Light" panose="020B0502040204020203" pitchFamily="34" charset="0"/>
                  <a:cs typeface="Segoe WP Light" panose="020B0502040204020203" pitchFamily="34" charset="0"/>
                </a:rPr>
                <a:t>Developer</a:t>
              </a:r>
            </a:p>
          </p:txBody>
        </p:sp>
        <p:sp>
          <p:nvSpPr>
            <p:cNvPr id="23" name="Rectangle 23"/>
            <p:cNvSpPr/>
            <p:nvPr/>
          </p:nvSpPr>
          <p:spPr>
            <a:xfrm>
              <a:off x="2821445" y="3965292"/>
              <a:ext cx="1550275" cy="504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71" dirty="0"/>
                <a:t>.NET SDK</a:t>
              </a:r>
            </a:p>
          </p:txBody>
        </p:sp>
        <p:pic>
          <p:nvPicPr>
            <p:cNvPr id="30"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1757" y="5003328"/>
              <a:ext cx="391456" cy="391456"/>
            </a:xfrm>
            <a:prstGeom prst="rect">
              <a:avLst/>
            </a:prstGeom>
          </p:spPr>
        </p:pic>
      </p:grpSp>
      <p:grpSp>
        <p:nvGrpSpPr>
          <p:cNvPr id="35" name="Group 34"/>
          <p:cNvGrpSpPr/>
          <p:nvPr/>
        </p:nvGrpSpPr>
        <p:grpSpPr>
          <a:xfrm>
            <a:off x="2766927" y="2529882"/>
            <a:ext cx="3486668" cy="2731464"/>
            <a:chOff x="2821443" y="2579855"/>
            <a:chExt cx="3557593" cy="2787026"/>
          </a:xfrm>
        </p:grpSpPr>
        <p:sp>
          <p:nvSpPr>
            <p:cNvPr id="43" name="TextBox 13"/>
            <p:cNvSpPr txBox="1"/>
            <p:nvPr/>
          </p:nvSpPr>
          <p:spPr>
            <a:xfrm>
              <a:off x="2821443" y="2579855"/>
              <a:ext cx="1550274" cy="869716"/>
            </a:xfrm>
            <a:prstGeom prst="rect">
              <a:avLst/>
            </a:prstGeom>
            <a:noFill/>
          </p:spPr>
          <p:txBody>
            <a:bodyPr wrap="square" rtlCol="0">
              <a:spAutoFit/>
            </a:bodyPr>
            <a:lstStyle/>
            <a:p>
              <a:pPr algn="ctr"/>
              <a:r>
                <a:rPr lang="en-US" sz="1961" b="1" dirty="0">
                  <a:solidFill>
                    <a:schemeClr val="bg1"/>
                  </a:solidFill>
                  <a:latin typeface="Segoe WP Light" panose="020B0502040204020203" pitchFamily="34" charset="0"/>
                  <a:cs typeface="Segoe WP Light" panose="020B0502040204020203" pitchFamily="34" charset="0"/>
                </a:rPr>
                <a:t>.NET Languages</a:t>
              </a:r>
            </a:p>
            <a:p>
              <a:pPr algn="ctr"/>
              <a:r>
                <a:rPr lang="en-US" sz="1029" b="1" dirty="0">
                  <a:solidFill>
                    <a:schemeClr val="bg1"/>
                  </a:solidFill>
                  <a:latin typeface="Segoe WP Light" panose="020B0502040204020203" pitchFamily="34" charset="0"/>
                  <a:cs typeface="Segoe WP Light" panose="020B0502040204020203" pitchFamily="34" charset="0"/>
                </a:rPr>
                <a:t>C#, …</a:t>
              </a:r>
            </a:p>
          </p:txBody>
        </p:sp>
        <p:sp>
          <p:nvSpPr>
            <p:cNvPr id="44" name="Rectangle 24"/>
            <p:cNvSpPr/>
            <p:nvPr/>
          </p:nvSpPr>
          <p:spPr>
            <a:xfrm>
              <a:off x="4828761" y="3965291"/>
              <a:ext cx="1550275" cy="5042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71" dirty="0"/>
                <a:t>Node.JS SDK</a:t>
              </a:r>
            </a:p>
          </p:txBody>
        </p:sp>
        <p:pic>
          <p:nvPicPr>
            <p:cNvPr id="48" name="Picture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93918" y="4975425"/>
              <a:ext cx="391456" cy="391456"/>
            </a:xfrm>
            <a:prstGeom prst="rect">
              <a:avLst/>
            </a:prstGeom>
          </p:spPr>
        </p:pic>
      </p:grpSp>
      <p:grpSp>
        <p:nvGrpSpPr>
          <p:cNvPr id="37" name="Group 36"/>
          <p:cNvGrpSpPr/>
          <p:nvPr/>
        </p:nvGrpSpPr>
        <p:grpSpPr>
          <a:xfrm>
            <a:off x="6803660" y="3886236"/>
            <a:ext cx="1519368" cy="1311238"/>
            <a:chOff x="6940290" y="3963797"/>
            <a:chExt cx="1550275" cy="1336792"/>
          </a:xfrm>
        </p:grpSpPr>
        <p:sp>
          <p:nvSpPr>
            <p:cNvPr id="49" name="Rectangle 25"/>
            <p:cNvSpPr/>
            <p:nvPr/>
          </p:nvSpPr>
          <p:spPr>
            <a:xfrm>
              <a:off x="6940290" y="3963797"/>
              <a:ext cx="1550275" cy="5053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71" dirty="0" err="1"/>
                <a:t>WebHDFS</a:t>
              </a:r>
              <a:r>
                <a:rPr lang="en-US" sz="1371" dirty="0"/>
                <a:t> Client</a:t>
              </a:r>
            </a:p>
          </p:txBody>
        </p:sp>
        <p:pic>
          <p:nvPicPr>
            <p:cNvPr id="54" name="Picture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45136" y="4909133"/>
              <a:ext cx="391456" cy="391456"/>
            </a:xfrm>
            <a:prstGeom prst="rect">
              <a:avLst/>
            </a:prstGeom>
          </p:spPr>
        </p:pic>
      </p:grpSp>
      <p:cxnSp>
        <p:nvCxnSpPr>
          <p:cNvPr id="20" name="Straight Connector 35"/>
          <p:cNvCxnSpPr/>
          <p:nvPr/>
        </p:nvCxnSpPr>
        <p:spPr>
          <a:xfrm flipV="1">
            <a:off x="496170" y="5461716"/>
            <a:ext cx="11053081" cy="9478"/>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37"/>
          <p:cNvCxnSpPr/>
          <p:nvPr/>
        </p:nvCxnSpPr>
        <p:spPr>
          <a:xfrm flipH="1">
            <a:off x="2463621" y="1636150"/>
            <a:ext cx="20603" cy="4711220"/>
          </a:xfrm>
          <a:prstGeom prst="line">
            <a:avLst/>
          </a:prstGeom>
        </p:spPr>
        <p:style>
          <a:lnRef idx="1">
            <a:schemeClr val="accent1"/>
          </a:lnRef>
          <a:fillRef idx="0">
            <a:schemeClr val="accent1"/>
          </a:fillRef>
          <a:effectRef idx="0">
            <a:schemeClr val="accent1"/>
          </a:effectRef>
          <a:fontRef idx="minor">
            <a:schemeClr val="tx1"/>
          </a:fontRef>
        </p:style>
      </p:cxnSp>
      <p:sp>
        <p:nvSpPr>
          <p:cNvPr id="55" name="TextBox 39"/>
          <p:cNvSpPr txBox="1"/>
          <p:nvPr/>
        </p:nvSpPr>
        <p:spPr>
          <a:xfrm>
            <a:off x="496171" y="4847938"/>
            <a:ext cx="1988056" cy="362197"/>
          </a:xfrm>
          <a:prstGeom prst="rect">
            <a:avLst/>
          </a:prstGeom>
          <a:noFill/>
        </p:spPr>
        <p:txBody>
          <a:bodyPr wrap="square" rtlCol="0">
            <a:spAutoFit/>
          </a:bodyPr>
          <a:lstStyle/>
          <a:p>
            <a:r>
              <a:rPr lang="en-US" sz="1766" dirty="0">
                <a:solidFill>
                  <a:schemeClr val="bg1"/>
                </a:solidFill>
              </a:rPr>
              <a:t>Data</a:t>
            </a:r>
            <a:r>
              <a:rPr lang="en-US" sz="1766" dirty="0"/>
              <a:t> </a:t>
            </a:r>
            <a:r>
              <a:rPr lang="en-US" sz="1766" dirty="0">
                <a:solidFill>
                  <a:schemeClr val="bg1"/>
                </a:solidFill>
              </a:rPr>
              <a:t>Operations</a:t>
            </a:r>
          </a:p>
        </p:txBody>
      </p:sp>
      <p:sp>
        <p:nvSpPr>
          <p:cNvPr id="56" name="TextBox 40"/>
          <p:cNvSpPr txBox="1"/>
          <p:nvPr/>
        </p:nvSpPr>
        <p:spPr>
          <a:xfrm>
            <a:off x="475568" y="5532942"/>
            <a:ext cx="2194074" cy="633876"/>
          </a:xfrm>
          <a:prstGeom prst="rect">
            <a:avLst/>
          </a:prstGeom>
          <a:noFill/>
        </p:spPr>
        <p:txBody>
          <a:bodyPr wrap="square" rtlCol="0">
            <a:spAutoFit/>
          </a:bodyPr>
          <a:lstStyle/>
          <a:p>
            <a:r>
              <a:rPr lang="en-US" sz="1766" dirty="0">
                <a:solidFill>
                  <a:schemeClr val="bg1"/>
                </a:solidFill>
              </a:rPr>
              <a:t>Management Operations</a:t>
            </a:r>
          </a:p>
        </p:txBody>
      </p:sp>
      <p:sp>
        <p:nvSpPr>
          <p:cNvPr id="57" name="TextBox 41"/>
          <p:cNvSpPr txBox="1"/>
          <p:nvPr/>
        </p:nvSpPr>
        <p:spPr>
          <a:xfrm>
            <a:off x="496171" y="2646788"/>
            <a:ext cx="1988056" cy="362197"/>
          </a:xfrm>
          <a:prstGeom prst="rect">
            <a:avLst/>
          </a:prstGeom>
          <a:noFill/>
        </p:spPr>
        <p:txBody>
          <a:bodyPr wrap="square" rtlCol="0">
            <a:spAutoFit/>
          </a:bodyPr>
          <a:lstStyle/>
          <a:p>
            <a:r>
              <a:rPr lang="en-US" sz="1766" dirty="0">
                <a:solidFill>
                  <a:schemeClr val="bg1"/>
                </a:solidFill>
              </a:rPr>
              <a:t>Language</a:t>
            </a:r>
          </a:p>
        </p:txBody>
      </p:sp>
      <p:pic>
        <p:nvPicPr>
          <p:cNvPr id="58" name="Picture 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05624" y="5721769"/>
            <a:ext cx="383652" cy="383652"/>
          </a:xfrm>
          <a:prstGeom prst="rect">
            <a:avLst/>
          </a:prstGeom>
        </p:spPr>
      </p:pic>
      <p:pic>
        <p:nvPicPr>
          <p:cNvPr id="59"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18399" y="5672996"/>
            <a:ext cx="383652" cy="383652"/>
          </a:xfrm>
          <a:prstGeom prst="rect">
            <a:avLst/>
          </a:prstGeom>
        </p:spPr>
      </p:pic>
      <p:grpSp>
        <p:nvGrpSpPr>
          <p:cNvPr id="3" name="Group 2"/>
          <p:cNvGrpSpPr/>
          <p:nvPr/>
        </p:nvGrpSpPr>
        <p:grpSpPr>
          <a:xfrm>
            <a:off x="8561168" y="2457873"/>
            <a:ext cx="3137487" cy="3770693"/>
            <a:chOff x="8732837" y="2506662"/>
            <a:chExt cx="3200400" cy="3846303"/>
          </a:xfrm>
        </p:grpSpPr>
        <p:grpSp>
          <p:nvGrpSpPr>
            <p:cNvPr id="39" name="Group 38"/>
            <p:cNvGrpSpPr/>
            <p:nvPr/>
          </p:nvGrpSpPr>
          <p:grpSpPr>
            <a:xfrm>
              <a:off x="8733823" y="2699366"/>
              <a:ext cx="1475695" cy="3508244"/>
              <a:chOff x="9095928" y="2658936"/>
              <a:chExt cx="1476112" cy="3509239"/>
            </a:xfrm>
          </p:grpSpPr>
          <p:sp>
            <p:nvSpPr>
              <p:cNvPr id="6" name="TextBox 3"/>
              <p:cNvSpPr txBox="1"/>
              <p:nvPr/>
            </p:nvSpPr>
            <p:spPr>
              <a:xfrm>
                <a:off x="9095928" y="2658936"/>
                <a:ext cx="1476112" cy="569420"/>
              </a:xfrm>
              <a:prstGeom prst="rect">
                <a:avLst/>
              </a:prstGeom>
              <a:noFill/>
            </p:spPr>
            <p:txBody>
              <a:bodyPr wrap="square" rtlCol="0">
                <a:spAutoFit/>
              </a:bodyPr>
              <a:lstStyle/>
              <a:p>
                <a:pPr algn="ctr"/>
                <a:r>
                  <a:rPr lang="en-US" sz="1077" b="1" dirty="0">
                    <a:latin typeface="Segoe WP Light" panose="020B0502040204020203" pitchFamily="34" charset="0"/>
                    <a:cs typeface="Segoe WP Light" panose="020B0502040204020203" pitchFamily="34" charset="0"/>
                  </a:rPr>
                  <a:t>All </a:t>
                </a:r>
                <a:r>
                  <a:rPr lang="en-US" sz="1961" b="1" dirty="0">
                    <a:solidFill>
                      <a:schemeClr val="bg1"/>
                    </a:solidFill>
                    <a:latin typeface="+mj-lt"/>
                    <a:cs typeface="Segoe WP Light" panose="020B0502040204020203" pitchFamily="34" charset="0"/>
                  </a:rPr>
                  <a:t>Python</a:t>
                </a:r>
                <a:r>
                  <a:rPr lang="en-US" sz="1961" b="1" dirty="0">
                    <a:latin typeface="Segoe WP Light" panose="020B0502040204020203" pitchFamily="34" charset="0"/>
                    <a:cs typeface="Segoe WP Light" panose="020B0502040204020203" pitchFamily="34" charset="0"/>
                  </a:rPr>
                  <a:t> </a:t>
                </a:r>
                <a:r>
                  <a:rPr lang="en-US" sz="1077" b="1" dirty="0">
                    <a:latin typeface="Segoe WP Light" panose="020B0502040204020203" pitchFamily="34" charset="0"/>
                    <a:cs typeface="Segoe WP Light" panose="020B0502040204020203" pitchFamily="34" charset="0"/>
                  </a:rPr>
                  <a:t>Developers</a:t>
                </a:r>
              </a:p>
            </p:txBody>
          </p:sp>
          <p:sp>
            <p:nvSpPr>
              <p:cNvPr id="7" name="Rectangle 26"/>
              <p:cNvSpPr/>
              <p:nvPr/>
            </p:nvSpPr>
            <p:spPr>
              <a:xfrm>
                <a:off x="9175581" y="3928125"/>
                <a:ext cx="1367568" cy="50126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71" dirty="0"/>
                  <a:t>Python SDK</a:t>
                </a:r>
              </a:p>
            </p:txBody>
          </p:sp>
          <p:pic>
            <p:nvPicPr>
              <p:cNvPr id="8" name="Picture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69122" y="4975425"/>
                <a:ext cx="391456" cy="391456"/>
              </a:xfrm>
              <a:prstGeom prst="rect">
                <a:avLst/>
              </a:prstGeom>
            </p:spPr>
          </p:pic>
          <p:pic>
            <p:nvPicPr>
              <p:cNvPr id="9"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64956" y="5776719"/>
                <a:ext cx="391456" cy="391456"/>
              </a:xfrm>
              <a:prstGeom prst="rect">
                <a:avLst/>
              </a:prstGeom>
            </p:spPr>
          </p:pic>
        </p:grpSp>
        <p:sp>
          <p:nvSpPr>
            <p:cNvPr id="12" name="TextBox 46"/>
            <p:cNvSpPr txBox="1"/>
            <p:nvPr/>
          </p:nvSpPr>
          <p:spPr>
            <a:xfrm>
              <a:off x="10717566" y="2668170"/>
              <a:ext cx="1012650" cy="569258"/>
            </a:xfrm>
            <a:prstGeom prst="rect">
              <a:avLst/>
            </a:prstGeom>
            <a:noFill/>
          </p:spPr>
          <p:txBody>
            <a:bodyPr wrap="square" rtlCol="0">
              <a:spAutoFit/>
            </a:bodyPr>
            <a:lstStyle/>
            <a:p>
              <a:pPr algn="ctr"/>
              <a:r>
                <a:rPr lang="en-US" sz="1961" b="1" dirty="0">
                  <a:solidFill>
                    <a:schemeClr val="bg1"/>
                  </a:solidFill>
                  <a:latin typeface="Segoe WP Light" panose="020B0502040204020203" pitchFamily="34" charset="0"/>
                  <a:cs typeface="Segoe WP Light" panose="020B0502040204020203" pitchFamily="34" charset="0"/>
                </a:rPr>
                <a:t>Java</a:t>
              </a:r>
              <a:r>
                <a:rPr lang="en-US" sz="1961" b="1" dirty="0">
                  <a:latin typeface="Segoe WP Light" panose="020B0502040204020203" pitchFamily="34" charset="0"/>
                  <a:cs typeface="Segoe WP Light" panose="020B0502040204020203" pitchFamily="34" charset="0"/>
                </a:rPr>
                <a:t> </a:t>
              </a:r>
              <a:r>
                <a:rPr lang="en-US" sz="1077" b="1" dirty="0">
                  <a:latin typeface="Segoe WP Light" panose="020B0502040204020203" pitchFamily="34" charset="0"/>
                  <a:cs typeface="Segoe WP Light" panose="020B0502040204020203" pitchFamily="34" charset="0"/>
                </a:rPr>
                <a:t>Developer</a:t>
              </a:r>
            </a:p>
          </p:txBody>
        </p:sp>
        <p:sp>
          <p:nvSpPr>
            <p:cNvPr id="15" name="Rectangle 49"/>
            <p:cNvSpPr/>
            <p:nvPr/>
          </p:nvSpPr>
          <p:spPr>
            <a:xfrm>
              <a:off x="10585781" y="3968193"/>
              <a:ext cx="1231304" cy="5011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71" dirty="0"/>
                <a:t>Java SDK</a:t>
              </a:r>
            </a:p>
          </p:txBody>
        </p:sp>
        <p:pic>
          <p:nvPicPr>
            <p:cNvPr id="16" name="Picture 5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27047" y="4958297"/>
              <a:ext cx="391346" cy="391345"/>
            </a:xfrm>
            <a:prstGeom prst="rect">
              <a:avLst/>
            </a:prstGeom>
          </p:spPr>
        </p:pic>
        <p:pic>
          <p:nvPicPr>
            <p:cNvPr id="18" name="Picture 5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27047" y="5832495"/>
              <a:ext cx="391346" cy="391345"/>
            </a:xfrm>
            <a:prstGeom prst="rect">
              <a:avLst/>
            </a:prstGeom>
          </p:spPr>
        </p:pic>
        <p:sp>
          <p:nvSpPr>
            <p:cNvPr id="19" name="Rectangle 12"/>
            <p:cNvSpPr/>
            <p:nvPr/>
          </p:nvSpPr>
          <p:spPr bwMode="auto">
            <a:xfrm>
              <a:off x="8732837" y="2506662"/>
              <a:ext cx="3200400" cy="3846303"/>
            </a:xfrm>
            <a:prstGeom prst="rect">
              <a:avLst/>
            </a:prstGeom>
            <a:noFill/>
            <a:ln w="28575">
              <a:solidFill>
                <a:srgbClr val="333333"/>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a:endParaRPr lang="en-US" sz="1961" dirty="0">
                <a:gradFill>
                  <a:gsLst>
                    <a:gs pos="0">
                      <a:srgbClr val="FFFFFF"/>
                    </a:gs>
                    <a:gs pos="100000">
                      <a:srgbClr val="FFFFFF"/>
                    </a:gs>
                  </a:gsLst>
                  <a:lin ang="5400000" scaled="0"/>
                </a:gradFill>
              </a:endParaRPr>
            </a:p>
          </p:txBody>
        </p:sp>
      </p:grpSp>
      <p:sp>
        <p:nvSpPr>
          <p:cNvPr id="60" name="TextBox 52"/>
          <p:cNvSpPr txBox="1"/>
          <p:nvPr/>
        </p:nvSpPr>
        <p:spPr>
          <a:xfrm>
            <a:off x="4665195" y="2493728"/>
            <a:ext cx="1281401" cy="693970"/>
          </a:xfrm>
          <a:prstGeom prst="rect">
            <a:avLst/>
          </a:prstGeom>
          <a:noFill/>
        </p:spPr>
        <p:txBody>
          <a:bodyPr wrap="square" rtlCol="0">
            <a:spAutoFit/>
          </a:bodyPr>
          <a:lstStyle/>
          <a:p>
            <a:pPr algn="ctr"/>
            <a:r>
              <a:rPr lang="en-US" sz="1961" b="1" dirty="0">
                <a:solidFill>
                  <a:schemeClr val="bg1"/>
                </a:solidFill>
                <a:latin typeface="Segoe WP Light" panose="020B0502040204020203" pitchFamily="34" charset="0"/>
                <a:cs typeface="Segoe WP Light" panose="020B0502040204020203" pitchFamily="34" charset="0"/>
              </a:rPr>
              <a:t>JavaScript</a:t>
            </a:r>
            <a:r>
              <a:rPr lang="en-US" sz="1961" b="1" dirty="0">
                <a:latin typeface="Segoe WP Light" panose="020B0502040204020203" pitchFamily="34" charset="0"/>
                <a:cs typeface="Segoe WP Light" panose="020B0502040204020203" pitchFamily="34" charset="0"/>
              </a:rPr>
              <a:t> De</a:t>
            </a:r>
            <a:r>
              <a:rPr lang="en-US" sz="1077" b="1" dirty="0">
                <a:latin typeface="Segoe WP Light" panose="020B0502040204020203" pitchFamily="34" charset="0"/>
                <a:cs typeface="Segoe WP Light" panose="020B0502040204020203" pitchFamily="34" charset="0"/>
              </a:rPr>
              <a:t>veloper</a:t>
            </a:r>
          </a:p>
        </p:txBody>
      </p:sp>
    </p:spTree>
    <p:extLst>
      <p:ext uri="{BB962C8B-B14F-4D97-AF65-F5344CB8AC3E}">
        <p14:creationId xmlns:p14="http://schemas.microsoft.com/office/powerpoint/2010/main" val="2364279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365125"/>
            <a:ext cx="10896600" cy="1325563"/>
          </a:xfrm>
        </p:spPr>
        <p:txBody>
          <a:bodyPr/>
          <a:lstStyle/>
          <a:p>
            <a:r>
              <a:rPr lang="en-US" dirty="0">
                <a:solidFill>
                  <a:srgbClr val="0070C0"/>
                </a:solidFill>
              </a:rPr>
              <a:t>ADLS Code Sample</a:t>
            </a:r>
          </a:p>
        </p:txBody>
      </p:sp>
      <p:sp>
        <p:nvSpPr>
          <p:cNvPr id="4" name="TextBox 3"/>
          <p:cNvSpPr txBox="1"/>
          <p:nvPr/>
        </p:nvSpPr>
        <p:spPr>
          <a:xfrm>
            <a:off x="366572" y="1311992"/>
            <a:ext cx="11488279" cy="1403389"/>
          </a:xfrm>
          <a:prstGeom prst="rect">
            <a:avLst/>
          </a:prstGeom>
          <a:noFill/>
        </p:spPr>
        <p:txBody>
          <a:bodyPr wrap="square" lIns="182854" tIns="146284" rIns="182854" bIns="146284" rtlCol="0">
            <a:spAutoFit/>
          </a:bodyPr>
          <a:lstStyle/>
          <a:p>
            <a:pPr marL="336145" indent="-336145">
              <a:lnSpc>
                <a:spcPct val="150000"/>
              </a:lnSpc>
              <a:buFont typeface="Arial" panose="020B0604020202020204" pitchFamily="34" charset="0"/>
              <a:buChar char="•"/>
            </a:pPr>
            <a:r>
              <a:rPr lang="en-US" sz="2400" dirty="0"/>
              <a:t>Client</a:t>
            </a:r>
            <a:r>
              <a:rPr lang="en-US" sz="2400"/>
              <a:t> authentication with AAD</a:t>
            </a:r>
            <a:endParaRPr lang="en-US" sz="2400" dirty="0"/>
          </a:p>
          <a:p>
            <a:pPr marL="336145" indent="-336145">
              <a:lnSpc>
                <a:spcPct val="150000"/>
              </a:lnSpc>
              <a:buFont typeface="Arial" panose="020B0604020202020204" pitchFamily="34" charset="0"/>
              <a:buChar char="•"/>
            </a:pPr>
            <a:r>
              <a:rPr lang="en-US" sz="2400" dirty="0"/>
              <a:t>File</a:t>
            </a:r>
            <a:r>
              <a:rPr lang="en-US" sz="2400"/>
              <a:t> operations</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0379241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1809" y="13018"/>
            <a:ext cx="10515600" cy="1325563"/>
          </a:xfrm>
        </p:spPr>
        <p:txBody>
          <a:bodyPr/>
          <a:lstStyle/>
          <a:p>
            <a:r>
              <a:rPr lang="en-US" dirty="0">
                <a:solidFill>
                  <a:srgbClr val="0070C0"/>
                </a:solidFill>
              </a:rPr>
              <a:t>ADLS - .NET(C#) Code Snippet</a:t>
            </a:r>
          </a:p>
        </p:txBody>
      </p:sp>
      <p:sp>
        <p:nvSpPr>
          <p:cNvPr id="5" name="Rounded Rectangle 4"/>
          <p:cNvSpPr/>
          <p:nvPr/>
        </p:nvSpPr>
        <p:spPr bwMode="auto">
          <a:xfrm>
            <a:off x="270068" y="1388299"/>
            <a:ext cx="2669080" cy="840923"/>
          </a:xfrm>
          <a:prstGeom prst="roundRect">
            <a:avLst/>
          </a:prstGeom>
          <a:solidFill>
            <a:schemeClr val="accent5">
              <a:lumMod val="75000"/>
            </a:schemeClr>
          </a:solidFill>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defTabSz="932293"/>
            <a:r>
              <a:rPr lang="en-US" sz="2000" dirty="0">
                <a:gradFill>
                  <a:gsLst>
                    <a:gs pos="0">
                      <a:srgbClr val="FFFFFF"/>
                    </a:gs>
                    <a:gs pos="100000">
                      <a:srgbClr val="FFFFFF"/>
                    </a:gs>
                  </a:gsLst>
                  <a:lin ang="5400000" scaled="0"/>
                </a:gradFill>
              </a:rPr>
              <a:t>Get Token</a:t>
            </a:r>
          </a:p>
        </p:txBody>
      </p:sp>
      <p:sp>
        <p:nvSpPr>
          <p:cNvPr id="13" name="Rounded Rectangle 12"/>
          <p:cNvSpPr/>
          <p:nvPr/>
        </p:nvSpPr>
        <p:spPr bwMode="auto">
          <a:xfrm>
            <a:off x="337049" y="3519272"/>
            <a:ext cx="1780503" cy="1030280"/>
          </a:xfrm>
          <a:prstGeom prst="roundRect">
            <a:avLst/>
          </a:prstGeom>
          <a:solidFill>
            <a:schemeClr val="accent5">
              <a:lumMod val="75000"/>
            </a:schemeClr>
          </a:solidFill>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a:r>
              <a:rPr lang="en-US" sz="2000" dirty="0">
                <a:gradFill>
                  <a:gsLst>
                    <a:gs pos="0">
                      <a:srgbClr val="FFFFFF"/>
                    </a:gs>
                    <a:gs pos="100000">
                      <a:srgbClr val="FFFFFF"/>
                    </a:gs>
                  </a:gsLst>
                  <a:lin ang="5400000" scaled="0"/>
                </a:gradFill>
              </a:rPr>
              <a:t>Make File Operations</a:t>
            </a:r>
          </a:p>
        </p:txBody>
      </p:sp>
      <p:sp>
        <p:nvSpPr>
          <p:cNvPr id="59" name="Oval 58"/>
          <p:cNvSpPr/>
          <p:nvPr/>
        </p:nvSpPr>
        <p:spPr bwMode="auto">
          <a:xfrm>
            <a:off x="162422" y="1151523"/>
            <a:ext cx="490781" cy="471881"/>
          </a:xfrm>
          <a:prstGeom prst="ellipse">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a:r>
              <a:rPr lang="en-US" sz="2000" dirty="0">
                <a:gradFill>
                  <a:gsLst>
                    <a:gs pos="0">
                      <a:srgbClr val="FFFFFF"/>
                    </a:gs>
                    <a:gs pos="100000">
                      <a:srgbClr val="FFFFFF"/>
                    </a:gs>
                  </a:gsLst>
                  <a:lin ang="5400000" scaled="0"/>
                </a:gradFill>
              </a:rPr>
              <a:t>1</a:t>
            </a:r>
          </a:p>
        </p:txBody>
      </p:sp>
      <p:sp>
        <p:nvSpPr>
          <p:cNvPr id="61" name="Oval 60"/>
          <p:cNvSpPr/>
          <p:nvPr/>
        </p:nvSpPr>
        <p:spPr bwMode="auto">
          <a:xfrm>
            <a:off x="162422" y="3250794"/>
            <a:ext cx="490781" cy="471881"/>
          </a:xfrm>
          <a:prstGeom prst="ellipse">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a:r>
              <a:rPr lang="en-US" sz="2000" dirty="0">
                <a:gradFill>
                  <a:gsLst>
                    <a:gs pos="0">
                      <a:srgbClr val="FFFFFF"/>
                    </a:gs>
                    <a:gs pos="100000">
                      <a:srgbClr val="FFFFFF"/>
                    </a:gs>
                  </a:gsLst>
                  <a:lin ang="5400000" scaled="0"/>
                </a:gradFill>
              </a:rPr>
              <a:t>2</a:t>
            </a:r>
          </a:p>
        </p:txBody>
      </p:sp>
      <p:sp>
        <p:nvSpPr>
          <p:cNvPr id="14" name="Rounded Rectangle 13"/>
          <p:cNvSpPr/>
          <p:nvPr/>
        </p:nvSpPr>
        <p:spPr bwMode="auto">
          <a:xfrm>
            <a:off x="2561841" y="2663406"/>
            <a:ext cx="3343927" cy="380138"/>
          </a:xfrm>
          <a:prstGeom prst="roundRect">
            <a:avLst/>
          </a:prstGeom>
          <a:solidFill>
            <a:srgbClr val="7030A0"/>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defTabSz="932293"/>
            <a:r>
              <a:rPr lang="en-US" sz="1600" dirty="0">
                <a:solidFill>
                  <a:schemeClr val="bg1"/>
                </a:solidFill>
              </a:rPr>
              <a:t>Create Directory</a:t>
            </a:r>
          </a:p>
        </p:txBody>
      </p:sp>
      <p:sp>
        <p:nvSpPr>
          <p:cNvPr id="17" name="Rounded Rectangle 16"/>
          <p:cNvSpPr/>
          <p:nvPr/>
        </p:nvSpPr>
        <p:spPr bwMode="auto">
          <a:xfrm>
            <a:off x="2561842" y="5373105"/>
            <a:ext cx="2775867" cy="745886"/>
          </a:xfrm>
          <a:prstGeom prst="roundRect">
            <a:avLst/>
          </a:prstGeom>
          <a:solidFill>
            <a:srgbClr val="7030A0"/>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defTabSz="932293"/>
            <a:r>
              <a:rPr lang="en-US" sz="1600" dirty="0">
                <a:solidFill>
                  <a:schemeClr val="bg1"/>
                </a:solidFill>
              </a:rPr>
              <a:t>Download File</a:t>
            </a:r>
          </a:p>
        </p:txBody>
      </p:sp>
      <p:sp>
        <p:nvSpPr>
          <p:cNvPr id="15" name="Rounded Rectangle 14"/>
          <p:cNvSpPr/>
          <p:nvPr/>
        </p:nvSpPr>
        <p:spPr bwMode="auto">
          <a:xfrm>
            <a:off x="2561842" y="3220616"/>
            <a:ext cx="2497993" cy="824086"/>
          </a:xfrm>
          <a:prstGeom prst="roundRect">
            <a:avLst/>
          </a:prstGeom>
          <a:solidFill>
            <a:srgbClr val="7030A0"/>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defTabSz="932293"/>
            <a:r>
              <a:rPr lang="en-US" sz="1600" dirty="0">
                <a:solidFill>
                  <a:schemeClr val="bg1"/>
                </a:solidFill>
              </a:rPr>
              <a:t>Upload File</a:t>
            </a:r>
          </a:p>
        </p:txBody>
      </p:sp>
      <p:sp>
        <p:nvSpPr>
          <p:cNvPr id="16" name="Rounded Rectangle 15"/>
          <p:cNvSpPr/>
          <p:nvPr/>
        </p:nvSpPr>
        <p:spPr bwMode="auto">
          <a:xfrm>
            <a:off x="2561841" y="4310101"/>
            <a:ext cx="1658111" cy="754638"/>
          </a:xfrm>
          <a:prstGeom prst="roundRect">
            <a:avLst/>
          </a:prstGeom>
          <a:solidFill>
            <a:srgbClr val="7030A0"/>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defTabSz="932293"/>
            <a:r>
              <a:rPr lang="en-US" sz="1600" dirty="0">
                <a:solidFill>
                  <a:schemeClr val="bg1"/>
                </a:solidFill>
              </a:rPr>
              <a:t>List File</a:t>
            </a:r>
          </a:p>
        </p:txBody>
      </p:sp>
      <p:cxnSp>
        <p:nvCxnSpPr>
          <p:cNvPr id="24" name="Elbow Connector 23"/>
          <p:cNvCxnSpPr>
            <a:cxnSpLocks/>
            <a:stCxn id="13" idx="3"/>
            <a:endCxn id="15" idx="1"/>
          </p:cNvCxnSpPr>
          <p:nvPr/>
        </p:nvCxnSpPr>
        <p:spPr>
          <a:xfrm flipV="1">
            <a:off x="2125413" y="3632659"/>
            <a:ext cx="436428" cy="401752"/>
          </a:xfrm>
          <a:prstGeom prst="bentConnector3">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3"/>
          <a:stretch>
            <a:fillRect/>
          </a:stretch>
        </p:blipFill>
        <p:spPr>
          <a:xfrm>
            <a:off x="2209800" y="1767297"/>
            <a:ext cx="8850542" cy="601551"/>
          </a:xfrm>
          <a:prstGeom prst="rect">
            <a:avLst/>
          </a:prstGeom>
        </p:spPr>
      </p:pic>
      <p:pic>
        <p:nvPicPr>
          <p:cNvPr id="18" name="Picture 17"/>
          <p:cNvPicPr>
            <a:picLocks noChangeAspect="1"/>
          </p:cNvPicPr>
          <p:nvPr/>
        </p:nvPicPr>
        <p:blipFill>
          <a:blip r:embed="rId4"/>
          <a:stretch>
            <a:fillRect/>
          </a:stretch>
        </p:blipFill>
        <p:spPr>
          <a:xfrm>
            <a:off x="4400837" y="2919981"/>
            <a:ext cx="6511478" cy="203828"/>
          </a:xfrm>
          <a:prstGeom prst="rect">
            <a:avLst/>
          </a:prstGeom>
        </p:spPr>
      </p:pic>
      <p:pic>
        <p:nvPicPr>
          <p:cNvPr id="20" name="Picture 19"/>
          <p:cNvPicPr>
            <a:picLocks noChangeAspect="1"/>
          </p:cNvPicPr>
          <p:nvPr/>
        </p:nvPicPr>
        <p:blipFill>
          <a:blip r:embed="rId5"/>
          <a:stretch>
            <a:fillRect/>
          </a:stretch>
        </p:blipFill>
        <p:spPr>
          <a:xfrm>
            <a:off x="3745696" y="3579527"/>
            <a:ext cx="8404937" cy="581216"/>
          </a:xfrm>
          <a:prstGeom prst="rect">
            <a:avLst/>
          </a:prstGeom>
        </p:spPr>
      </p:pic>
      <p:pic>
        <p:nvPicPr>
          <p:cNvPr id="32" name="Picture 31"/>
          <p:cNvPicPr>
            <a:picLocks noChangeAspect="1"/>
          </p:cNvPicPr>
          <p:nvPr/>
        </p:nvPicPr>
        <p:blipFill>
          <a:blip r:embed="rId6"/>
          <a:stretch>
            <a:fillRect/>
          </a:stretch>
        </p:blipFill>
        <p:spPr>
          <a:xfrm>
            <a:off x="3312584" y="4920383"/>
            <a:ext cx="8687984" cy="288711"/>
          </a:xfrm>
          <a:prstGeom prst="rect">
            <a:avLst/>
          </a:prstGeom>
        </p:spPr>
      </p:pic>
      <p:pic>
        <p:nvPicPr>
          <p:cNvPr id="33" name="Picture 32"/>
          <p:cNvPicPr>
            <a:picLocks noChangeAspect="1"/>
          </p:cNvPicPr>
          <p:nvPr/>
        </p:nvPicPr>
        <p:blipFill>
          <a:blip r:embed="rId7"/>
          <a:stretch>
            <a:fillRect/>
          </a:stretch>
        </p:blipFill>
        <p:spPr>
          <a:xfrm>
            <a:off x="3908313" y="5855348"/>
            <a:ext cx="8235694" cy="527285"/>
          </a:xfrm>
          <a:prstGeom prst="rect">
            <a:avLst/>
          </a:prstGeom>
        </p:spPr>
      </p:pic>
      <p:cxnSp>
        <p:nvCxnSpPr>
          <p:cNvPr id="35" name="Elbow Connector 34"/>
          <p:cNvCxnSpPr>
            <a:cxnSpLocks/>
            <a:stCxn id="13" idx="3"/>
            <a:endCxn id="14" idx="1"/>
          </p:cNvCxnSpPr>
          <p:nvPr/>
        </p:nvCxnSpPr>
        <p:spPr>
          <a:xfrm flipV="1">
            <a:off x="2125413" y="2853475"/>
            <a:ext cx="436428" cy="1180937"/>
          </a:xfrm>
          <a:prstGeom prst="bentConnector3">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Elbow Connector 36"/>
          <p:cNvCxnSpPr>
            <a:cxnSpLocks/>
            <a:stCxn id="13" idx="3"/>
            <a:endCxn id="16" idx="1"/>
          </p:cNvCxnSpPr>
          <p:nvPr/>
        </p:nvCxnSpPr>
        <p:spPr>
          <a:xfrm>
            <a:off x="2125413" y="4034411"/>
            <a:ext cx="436428" cy="653010"/>
          </a:xfrm>
          <a:prstGeom prst="bentConnector3">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a:cxnSpLocks/>
            <a:stCxn id="13" idx="3"/>
            <a:endCxn id="17" idx="1"/>
          </p:cNvCxnSpPr>
          <p:nvPr/>
        </p:nvCxnSpPr>
        <p:spPr>
          <a:xfrm>
            <a:off x="2125413" y="4034412"/>
            <a:ext cx="436428" cy="1711637"/>
          </a:xfrm>
          <a:prstGeom prst="bentConnector3">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a:off x="941557" y="2229221"/>
            <a:ext cx="0" cy="129005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58514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0066" y="327772"/>
            <a:ext cx="11654187" cy="899537"/>
          </a:xfrm>
        </p:spPr>
        <p:txBody>
          <a:bodyPr/>
          <a:lstStyle/>
          <a:p>
            <a:r>
              <a:rPr lang="en-US" dirty="0">
                <a:solidFill>
                  <a:srgbClr val="0070C0"/>
                </a:solidFill>
              </a:rPr>
              <a:t>ADLS Java Code Snippet</a:t>
            </a:r>
          </a:p>
        </p:txBody>
      </p:sp>
      <p:sp>
        <p:nvSpPr>
          <p:cNvPr id="5" name="Rounded Rectangle 4"/>
          <p:cNvSpPr/>
          <p:nvPr/>
        </p:nvSpPr>
        <p:spPr bwMode="auto">
          <a:xfrm>
            <a:off x="559918" y="1235967"/>
            <a:ext cx="3258882" cy="2362765"/>
          </a:xfrm>
          <a:prstGeom prst="roundRect">
            <a:avLst/>
          </a:prstGeom>
          <a:solidFill>
            <a:schemeClr val="accent5">
              <a:lumMod val="75000"/>
            </a:schemeClr>
          </a:solidFill>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defTabSz="932293"/>
            <a:r>
              <a:rPr lang="en-US" sz="2000" dirty="0">
                <a:gradFill>
                  <a:gsLst>
                    <a:gs pos="0">
                      <a:srgbClr val="FFFFFF"/>
                    </a:gs>
                    <a:gs pos="100000">
                      <a:srgbClr val="FFFFFF"/>
                    </a:gs>
                  </a:gsLst>
                  <a:lin ang="5400000" scaled="0"/>
                </a:gradFill>
              </a:rPr>
              <a:t>Get Token</a:t>
            </a:r>
          </a:p>
        </p:txBody>
      </p:sp>
      <p:pic>
        <p:nvPicPr>
          <p:cNvPr id="8" name="Picture 7"/>
          <p:cNvPicPr>
            <a:picLocks noChangeAspect="1"/>
          </p:cNvPicPr>
          <p:nvPr/>
        </p:nvPicPr>
        <p:blipFill>
          <a:blip r:embed="rId3"/>
          <a:stretch>
            <a:fillRect/>
          </a:stretch>
        </p:blipFill>
        <p:spPr>
          <a:xfrm>
            <a:off x="2012151" y="3113445"/>
            <a:ext cx="3622808" cy="315555"/>
          </a:xfrm>
          <a:prstGeom prst="rect">
            <a:avLst/>
          </a:prstGeom>
          <a:ln>
            <a:noFill/>
          </a:ln>
          <a:effectLst>
            <a:outerShdw blurRad="292100" dist="139700" dir="2700000" algn="tl" rotWithShape="0">
              <a:srgbClr val="333333">
                <a:alpha val="65000"/>
              </a:srgbClr>
            </a:outerShdw>
          </a:effectLst>
        </p:spPr>
      </p:pic>
      <p:sp>
        <p:nvSpPr>
          <p:cNvPr id="13" name="Rounded Rectangle 12"/>
          <p:cNvSpPr/>
          <p:nvPr/>
        </p:nvSpPr>
        <p:spPr bwMode="auto">
          <a:xfrm>
            <a:off x="852100" y="4449238"/>
            <a:ext cx="2669080" cy="708369"/>
          </a:xfrm>
          <a:prstGeom prst="roundRect">
            <a:avLst/>
          </a:prstGeom>
          <a:solidFill>
            <a:schemeClr val="accent5">
              <a:lumMod val="75000"/>
            </a:schemeClr>
          </a:solidFill>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a:r>
              <a:rPr lang="en-US" sz="2000" dirty="0">
                <a:gradFill>
                  <a:gsLst>
                    <a:gs pos="0">
                      <a:srgbClr val="FFFFFF"/>
                    </a:gs>
                    <a:gs pos="100000">
                      <a:srgbClr val="FFFFFF"/>
                    </a:gs>
                  </a:gsLst>
                  <a:lin ang="5400000" scaled="0"/>
                </a:gradFill>
              </a:rPr>
              <a:t>Make File Operations</a:t>
            </a:r>
          </a:p>
        </p:txBody>
      </p:sp>
      <p:sp>
        <p:nvSpPr>
          <p:cNvPr id="14" name="Rounded Rectangle 13"/>
          <p:cNvSpPr/>
          <p:nvPr/>
        </p:nvSpPr>
        <p:spPr bwMode="auto">
          <a:xfrm>
            <a:off x="4864730" y="3553729"/>
            <a:ext cx="2389583" cy="554782"/>
          </a:xfrm>
          <a:prstGeom prst="roundRect">
            <a:avLst/>
          </a:prstGeom>
          <a:solidFill>
            <a:srgbClr val="7030A0"/>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defTabSz="932293"/>
            <a:r>
              <a:rPr lang="en-US" sz="1600" b="1" dirty="0">
                <a:solidFill>
                  <a:schemeClr val="bg1"/>
                </a:solidFill>
              </a:rPr>
              <a:t>Create Directory</a:t>
            </a:r>
          </a:p>
        </p:txBody>
      </p:sp>
      <p:sp>
        <p:nvSpPr>
          <p:cNvPr id="15" name="Rounded Rectangle 14"/>
          <p:cNvSpPr/>
          <p:nvPr/>
        </p:nvSpPr>
        <p:spPr bwMode="auto">
          <a:xfrm>
            <a:off x="4888204" y="4294436"/>
            <a:ext cx="1949523" cy="517355"/>
          </a:xfrm>
          <a:prstGeom prst="roundRect">
            <a:avLst/>
          </a:prstGeom>
          <a:solidFill>
            <a:srgbClr val="7030A0"/>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defTabSz="932293"/>
            <a:r>
              <a:rPr lang="en-US" sz="1600" b="1" dirty="0">
                <a:solidFill>
                  <a:schemeClr val="bg1"/>
                </a:solidFill>
              </a:rPr>
              <a:t>Upload File</a:t>
            </a:r>
          </a:p>
        </p:txBody>
      </p:sp>
      <p:sp>
        <p:nvSpPr>
          <p:cNvPr id="16" name="Rounded Rectangle 15"/>
          <p:cNvSpPr/>
          <p:nvPr/>
        </p:nvSpPr>
        <p:spPr bwMode="auto">
          <a:xfrm>
            <a:off x="4888205" y="5029095"/>
            <a:ext cx="1455354" cy="496699"/>
          </a:xfrm>
          <a:prstGeom prst="roundRect">
            <a:avLst/>
          </a:prstGeom>
          <a:solidFill>
            <a:srgbClr val="7030A0"/>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defTabSz="932293"/>
            <a:r>
              <a:rPr lang="en-US" sz="1600" b="1" dirty="0">
                <a:solidFill>
                  <a:schemeClr val="bg1"/>
                </a:solidFill>
              </a:rPr>
              <a:t>List File</a:t>
            </a:r>
          </a:p>
        </p:txBody>
      </p:sp>
      <p:sp>
        <p:nvSpPr>
          <p:cNvPr id="17" name="Rounded Rectangle 16"/>
          <p:cNvSpPr/>
          <p:nvPr/>
        </p:nvSpPr>
        <p:spPr bwMode="auto">
          <a:xfrm>
            <a:off x="4864730" y="5787223"/>
            <a:ext cx="1910654" cy="537088"/>
          </a:xfrm>
          <a:prstGeom prst="roundRect">
            <a:avLst/>
          </a:prstGeom>
          <a:solidFill>
            <a:srgbClr val="7030A0"/>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defTabSz="932293"/>
            <a:r>
              <a:rPr lang="en-US" sz="1600" b="1" dirty="0">
                <a:solidFill>
                  <a:schemeClr val="bg1"/>
                </a:solidFill>
              </a:rPr>
              <a:t>Download File</a:t>
            </a:r>
          </a:p>
        </p:txBody>
      </p:sp>
      <p:pic>
        <p:nvPicPr>
          <p:cNvPr id="18" name="Picture 17"/>
          <p:cNvPicPr>
            <a:picLocks noChangeAspect="1"/>
          </p:cNvPicPr>
          <p:nvPr/>
        </p:nvPicPr>
        <p:blipFill>
          <a:blip r:embed="rId4"/>
          <a:stretch>
            <a:fillRect/>
          </a:stretch>
        </p:blipFill>
        <p:spPr>
          <a:xfrm>
            <a:off x="6435180" y="3655361"/>
            <a:ext cx="2536874" cy="312765"/>
          </a:xfrm>
          <a:prstGeom prst="rect">
            <a:avLst/>
          </a:prstGeom>
          <a:ln>
            <a:noFill/>
          </a:ln>
          <a:effectLst>
            <a:outerShdw blurRad="292100" dist="139700" dir="2700000" algn="tl" rotWithShape="0">
              <a:srgbClr val="333333">
                <a:alpha val="65000"/>
              </a:srgbClr>
            </a:outerShdw>
          </a:effectLst>
        </p:spPr>
      </p:pic>
      <p:pic>
        <p:nvPicPr>
          <p:cNvPr id="19" name="Picture 18"/>
          <p:cNvPicPr>
            <a:picLocks noChangeAspect="1"/>
          </p:cNvPicPr>
          <p:nvPr/>
        </p:nvPicPr>
        <p:blipFill>
          <a:blip r:embed="rId5"/>
          <a:stretch>
            <a:fillRect/>
          </a:stretch>
        </p:blipFill>
        <p:spPr>
          <a:xfrm>
            <a:off x="5975807" y="4406501"/>
            <a:ext cx="4379271" cy="291953"/>
          </a:xfrm>
          <a:prstGeom prst="rect">
            <a:avLst/>
          </a:prstGeom>
          <a:ln>
            <a:noFill/>
          </a:ln>
          <a:effectLst>
            <a:outerShdw blurRad="292100" dist="139700" dir="2700000" algn="tl" rotWithShape="0">
              <a:srgbClr val="333333">
                <a:alpha val="65000"/>
              </a:srgbClr>
            </a:outerShdw>
          </a:effectLst>
        </p:spPr>
      </p:pic>
      <p:pic>
        <p:nvPicPr>
          <p:cNvPr id="20" name="Picture 19"/>
          <p:cNvPicPr>
            <a:picLocks noChangeAspect="1"/>
          </p:cNvPicPr>
          <p:nvPr/>
        </p:nvPicPr>
        <p:blipFill>
          <a:blip r:embed="rId6"/>
          <a:stretch>
            <a:fillRect/>
          </a:stretch>
        </p:blipFill>
        <p:spPr>
          <a:xfrm>
            <a:off x="5659934" y="5127130"/>
            <a:ext cx="2994506" cy="319320"/>
          </a:xfrm>
          <a:prstGeom prst="rect">
            <a:avLst/>
          </a:prstGeom>
          <a:ln>
            <a:noFill/>
          </a:ln>
          <a:effectLst>
            <a:outerShdw blurRad="292100" dist="139700" dir="2700000" algn="tl" rotWithShape="0">
              <a:srgbClr val="333333">
                <a:alpha val="65000"/>
              </a:srgbClr>
            </a:outerShdw>
          </a:effectLst>
        </p:spPr>
      </p:pic>
      <p:pic>
        <p:nvPicPr>
          <p:cNvPr id="21" name="Picture 20"/>
          <p:cNvPicPr>
            <a:picLocks noChangeAspect="1"/>
          </p:cNvPicPr>
          <p:nvPr/>
        </p:nvPicPr>
        <p:blipFill>
          <a:blip r:embed="rId7"/>
          <a:stretch>
            <a:fillRect/>
          </a:stretch>
        </p:blipFill>
        <p:spPr>
          <a:xfrm>
            <a:off x="6255219" y="5899451"/>
            <a:ext cx="5592840" cy="289285"/>
          </a:xfrm>
          <a:prstGeom prst="rect">
            <a:avLst/>
          </a:prstGeom>
          <a:ln>
            <a:noFill/>
          </a:ln>
          <a:effectLst>
            <a:outerShdw blurRad="292100" dist="139700" dir="2700000" algn="tl" rotWithShape="0">
              <a:srgbClr val="333333">
                <a:alpha val="65000"/>
              </a:srgbClr>
            </a:outerShdw>
          </a:effectLst>
        </p:spPr>
      </p:pic>
      <p:sp>
        <p:nvSpPr>
          <p:cNvPr id="59" name="Oval 58"/>
          <p:cNvSpPr/>
          <p:nvPr/>
        </p:nvSpPr>
        <p:spPr bwMode="auto">
          <a:xfrm>
            <a:off x="395800" y="1073685"/>
            <a:ext cx="490781" cy="471881"/>
          </a:xfrm>
          <a:prstGeom prst="ellipse">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a:r>
              <a:rPr lang="en-US" sz="2000" dirty="0">
                <a:gradFill>
                  <a:gsLst>
                    <a:gs pos="0">
                      <a:srgbClr val="FFFFFF"/>
                    </a:gs>
                    <a:gs pos="100000">
                      <a:srgbClr val="FFFFFF"/>
                    </a:gs>
                  </a:gsLst>
                  <a:lin ang="5400000" scaled="0"/>
                </a:gradFill>
              </a:rPr>
              <a:t>1</a:t>
            </a:r>
          </a:p>
        </p:txBody>
      </p:sp>
      <p:sp>
        <p:nvSpPr>
          <p:cNvPr id="60" name="Oval 59"/>
          <p:cNvSpPr/>
          <p:nvPr/>
        </p:nvSpPr>
        <p:spPr bwMode="auto">
          <a:xfrm>
            <a:off x="395800" y="4108510"/>
            <a:ext cx="490781" cy="471881"/>
          </a:xfrm>
          <a:prstGeom prst="ellipse">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a:r>
              <a:rPr lang="en-US" sz="2000" dirty="0">
                <a:gradFill>
                  <a:gsLst>
                    <a:gs pos="0">
                      <a:srgbClr val="FFFFFF"/>
                    </a:gs>
                    <a:gs pos="100000">
                      <a:srgbClr val="FFFFFF"/>
                    </a:gs>
                  </a:gsLst>
                  <a:lin ang="5400000" scaled="0"/>
                </a:gradFill>
              </a:rPr>
              <a:t>2</a:t>
            </a:r>
          </a:p>
        </p:txBody>
      </p:sp>
      <p:pic>
        <p:nvPicPr>
          <p:cNvPr id="4" name="Picture 3"/>
          <p:cNvPicPr>
            <a:picLocks noChangeAspect="1"/>
          </p:cNvPicPr>
          <p:nvPr/>
        </p:nvPicPr>
        <p:blipFill>
          <a:blip r:embed="rId8"/>
          <a:stretch>
            <a:fillRect/>
          </a:stretch>
        </p:blipFill>
        <p:spPr>
          <a:xfrm>
            <a:off x="2012150" y="2760883"/>
            <a:ext cx="6587189" cy="241163"/>
          </a:xfrm>
          <a:prstGeom prst="rect">
            <a:avLst/>
          </a:prstGeom>
          <a:ln>
            <a:noFill/>
          </a:ln>
          <a:effectLst>
            <a:outerShdw blurRad="292100" dist="139700" dir="2700000" algn="tl" rotWithShape="0">
              <a:srgbClr val="333333">
                <a:alpha val="65000"/>
              </a:srgbClr>
            </a:outerShdw>
          </a:effectLst>
        </p:spPr>
      </p:pic>
      <p:cxnSp>
        <p:nvCxnSpPr>
          <p:cNvPr id="12" name="Elbow Connector 11"/>
          <p:cNvCxnSpPr>
            <a:stCxn id="5" idx="2"/>
            <a:endCxn id="13" idx="0"/>
          </p:cNvCxnSpPr>
          <p:nvPr/>
        </p:nvCxnSpPr>
        <p:spPr>
          <a:xfrm rot="5400000">
            <a:off x="1762747" y="4022625"/>
            <a:ext cx="850507" cy="2719"/>
          </a:xfrm>
          <a:prstGeom prst="bentConnector3">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13" idx="3"/>
            <a:endCxn id="14" idx="1"/>
          </p:cNvCxnSpPr>
          <p:nvPr/>
        </p:nvCxnSpPr>
        <p:spPr>
          <a:xfrm flipV="1">
            <a:off x="3521180" y="3831120"/>
            <a:ext cx="1343550" cy="972303"/>
          </a:xfrm>
          <a:prstGeom prst="bentConnector3">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a:stCxn id="13" idx="3"/>
            <a:endCxn id="15" idx="1"/>
          </p:cNvCxnSpPr>
          <p:nvPr/>
        </p:nvCxnSpPr>
        <p:spPr>
          <a:xfrm flipV="1">
            <a:off x="3521180" y="4553114"/>
            <a:ext cx="1367024" cy="250310"/>
          </a:xfrm>
          <a:prstGeom prst="bentConnector3">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13" idx="3"/>
            <a:endCxn id="16" idx="1"/>
          </p:cNvCxnSpPr>
          <p:nvPr/>
        </p:nvCxnSpPr>
        <p:spPr>
          <a:xfrm>
            <a:off x="3521180" y="4803423"/>
            <a:ext cx="1367025" cy="474022"/>
          </a:xfrm>
          <a:prstGeom prst="bentConnector3">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p:cNvCxnSpPr>
            <a:stCxn id="13" idx="3"/>
            <a:endCxn id="17" idx="1"/>
          </p:cNvCxnSpPr>
          <p:nvPr/>
        </p:nvCxnSpPr>
        <p:spPr>
          <a:xfrm>
            <a:off x="3521180" y="4803423"/>
            <a:ext cx="1343550" cy="1252344"/>
          </a:xfrm>
          <a:prstGeom prst="bentConnector3">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rotWithShape="1">
          <a:blip r:embed="rId9"/>
          <a:srcRect t="1" r="57380" b="280"/>
          <a:stretch/>
        </p:blipFill>
        <p:spPr>
          <a:xfrm>
            <a:off x="2012151" y="1391945"/>
            <a:ext cx="4318279" cy="460526"/>
          </a:xfrm>
          <a:prstGeom prst="rect">
            <a:avLst/>
          </a:prstGeom>
          <a:ln>
            <a:noFill/>
          </a:ln>
          <a:effectLst>
            <a:outerShdw blurRad="292100" dist="139700" dir="2700000" algn="tl" rotWithShape="0">
              <a:srgbClr val="333333">
                <a:alpha val="65000"/>
              </a:srgbClr>
            </a:outerShdw>
          </a:effectLst>
        </p:spPr>
      </p:pic>
      <p:pic>
        <p:nvPicPr>
          <p:cNvPr id="37" name="Picture 36"/>
          <p:cNvPicPr>
            <a:picLocks noChangeAspect="1"/>
          </p:cNvPicPr>
          <p:nvPr/>
        </p:nvPicPr>
        <p:blipFill rotWithShape="1">
          <a:blip r:embed="rId10"/>
          <a:srcRect r="12332" b="-11183"/>
          <a:stretch/>
        </p:blipFill>
        <p:spPr>
          <a:xfrm>
            <a:off x="2012150" y="1925205"/>
            <a:ext cx="9499144" cy="482082"/>
          </a:xfrm>
          <a:prstGeom prst="rect">
            <a:avLst/>
          </a:prstGeom>
          <a:ln>
            <a:noFill/>
          </a:ln>
          <a:effectLst>
            <a:outerShdw blurRad="292100" dist="139700" dir="2700000" algn="tl" rotWithShape="0">
              <a:srgbClr val="333333">
                <a:alpha val="65000"/>
              </a:srgbClr>
            </a:outerShdw>
          </a:effectLst>
        </p:spPr>
      </p:pic>
      <p:pic>
        <p:nvPicPr>
          <p:cNvPr id="40" name="Picture 39"/>
          <p:cNvPicPr>
            <a:picLocks noChangeAspect="1"/>
          </p:cNvPicPr>
          <p:nvPr/>
        </p:nvPicPr>
        <p:blipFill>
          <a:blip r:embed="rId11"/>
          <a:stretch>
            <a:fillRect/>
          </a:stretch>
        </p:blipFill>
        <p:spPr>
          <a:xfrm>
            <a:off x="2012149" y="2440659"/>
            <a:ext cx="4439509" cy="23260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7454975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6"/>
          <p:cNvSpPr>
            <a:spLocks noGrp="1"/>
          </p:cNvSpPr>
          <p:nvPr>
            <p:ph type="title"/>
          </p:nvPr>
        </p:nvSpPr>
        <p:spPr/>
        <p:txBody>
          <a:bodyPr/>
          <a:lstStyle/>
          <a:p>
            <a:pPr algn="l"/>
            <a:r>
              <a:rPr lang="en-US" dirty="0"/>
              <a:t>Module : Azure Data Lake Store</a:t>
            </a:r>
          </a:p>
        </p:txBody>
      </p:sp>
      <p:sp>
        <p:nvSpPr>
          <p:cNvPr id="38915" name="Text Placeholder 7"/>
          <p:cNvSpPr>
            <a:spLocks noGrp="1"/>
          </p:cNvSpPr>
          <p:nvPr>
            <p:ph type="body" sz="quarter" idx="16"/>
          </p:nvPr>
        </p:nvSpPr>
        <p:spPr>
          <a:xfrm>
            <a:off x="0" y="3200400"/>
            <a:ext cx="4572000" cy="704850"/>
          </a:xfrm>
          <a:solidFill>
            <a:schemeClr val="bg2">
              <a:alpha val="90195"/>
            </a:schemeClr>
          </a:solidFill>
        </p:spPr>
        <p:txBody>
          <a:bodyPr/>
          <a:lstStyle/>
          <a:p>
            <a:pPr>
              <a:spcBef>
                <a:spcPct val="0"/>
              </a:spcBef>
            </a:pPr>
            <a:endParaRPr lang="en-US" dirty="0"/>
          </a:p>
        </p:txBody>
      </p:sp>
      <p:sp>
        <p:nvSpPr>
          <p:cNvPr id="38916" name="Slide Number Placeholder 1"/>
          <p:cNvSpPr>
            <a:spLocks noGrp="1"/>
          </p:cNvSpPr>
          <p:nvPr>
            <p:ph type="sldNum" sz="quarter" idx="17"/>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fontAlgn="base">
              <a:spcBef>
                <a:spcPct val="0"/>
              </a:spcBef>
              <a:spcAft>
                <a:spcPct val="0"/>
              </a:spcAft>
            </a:pPr>
            <a:fld id="{4001B048-344F-45EB-A713-1464F3425731}" type="slidenum">
              <a:rPr lang="en-US">
                <a:solidFill>
                  <a:srgbClr val="3F3F3F"/>
                </a:solidFill>
                <a:ea typeface="Segoe Pro Light"/>
              </a:rPr>
              <a:pPr fontAlgn="base">
                <a:spcBef>
                  <a:spcPct val="0"/>
                </a:spcBef>
                <a:spcAft>
                  <a:spcPct val="0"/>
                </a:spcAft>
              </a:pPr>
              <a:t>3</a:t>
            </a:fld>
            <a:endParaRPr lang="en-US" dirty="0">
              <a:solidFill>
                <a:srgbClr val="3F3F3F"/>
              </a:solidFill>
              <a:ea typeface="Segoe Pro Light"/>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0979" y="365125"/>
            <a:ext cx="10992821" cy="1325563"/>
          </a:xfrm>
        </p:spPr>
        <p:txBody>
          <a:bodyPr/>
          <a:lstStyle/>
          <a:p>
            <a:r>
              <a:rPr lang="en-US" dirty="0">
                <a:solidFill>
                  <a:srgbClr val="0070C0"/>
                </a:solidFill>
              </a:rPr>
              <a:t>ADLS– Key Takeaways</a:t>
            </a:r>
          </a:p>
        </p:txBody>
      </p:sp>
      <p:graphicFrame>
        <p:nvGraphicFramePr>
          <p:cNvPr id="5" name="Table 4"/>
          <p:cNvGraphicFramePr>
            <a:graphicFrameLocks noGrp="1"/>
          </p:cNvGraphicFramePr>
          <p:nvPr>
            <p:extLst>
              <p:ext uri="{D42A27DB-BD31-4B8C-83A1-F6EECF244321}">
                <p14:modId xmlns:p14="http://schemas.microsoft.com/office/powerpoint/2010/main" val="1821197502"/>
              </p:ext>
            </p:extLst>
          </p:nvPr>
        </p:nvGraphicFramePr>
        <p:xfrm>
          <a:off x="360979" y="1434002"/>
          <a:ext cx="11297621" cy="4974960"/>
        </p:xfrm>
        <a:graphic>
          <a:graphicData uri="http://schemas.openxmlformats.org/drawingml/2006/table">
            <a:tbl>
              <a:tblPr firstRow="1" bandRow="1">
                <a:tableStyleId>{5C22544A-7EE6-4342-B048-85BDC9FD1C3A}</a:tableStyleId>
              </a:tblPr>
              <a:tblGrid>
                <a:gridCol w="3068021">
                  <a:extLst>
                    <a:ext uri="{9D8B030D-6E8A-4147-A177-3AD203B41FA5}">
                      <a16:colId xmlns:a16="http://schemas.microsoft.com/office/drawing/2014/main" val="3731744597"/>
                    </a:ext>
                  </a:extLst>
                </a:gridCol>
                <a:gridCol w="5116320">
                  <a:extLst>
                    <a:ext uri="{9D8B030D-6E8A-4147-A177-3AD203B41FA5}">
                      <a16:colId xmlns:a16="http://schemas.microsoft.com/office/drawing/2014/main" val="3796973885"/>
                    </a:ext>
                  </a:extLst>
                </a:gridCol>
                <a:gridCol w="3113280">
                  <a:extLst>
                    <a:ext uri="{9D8B030D-6E8A-4147-A177-3AD203B41FA5}">
                      <a16:colId xmlns:a16="http://schemas.microsoft.com/office/drawing/2014/main" val="2190123714"/>
                    </a:ext>
                  </a:extLst>
                </a:gridCol>
              </a:tblGrid>
              <a:tr h="623398">
                <a:tc>
                  <a:txBody>
                    <a:bodyPr/>
                    <a:lstStyle/>
                    <a:p>
                      <a:pPr marL="0" marR="0" fontAlgn="t">
                        <a:spcBef>
                          <a:spcPts val="0"/>
                        </a:spcBef>
                        <a:spcAft>
                          <a:spcPts val="0"/>
                        </a:spcAft>
                      </a:pPr>
                      <a:r>
                        <a:rPr lang="en-US" sz="2700" b="1" dirty="0">
                          <a:effectLst/>
                          <a:latin typeface="Calibri" panose="020F0502020204030204" pitchFamily="34" charset="0"/>
                        </a:rPr>
                        <a:t>Value-prop</a:t>
                      </a:r>
                    </a:p>
                  </a:txBody>
                  <a:tcPr marL="49801" marR="49801" marT="49801" marB="49801"/>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What does it mean?</a:t>
                      </a:r>
                      <a:endParaRPr lang="en-US" sz="1100" dirty="0">
                        <a:effectLst/>
                        <a:latin typeface="Calibri" panose="020F0502020204030204" pitchFamily="34" charset="0"/>
                      </a:endParaRPr>
                    </a:p>
                  </a:txBody>
                  <a:tcPr marL="49801" marR="49801" marT="49801" marB="49801"/>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Enabling Technology</a:t>
                      </a:r>
                      <a:endParaRPr kumimoji="0" lang="en-US" sz="11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a:txBody>
                  <a:tcPr marL="49801" marR="49801" marT="49801" marB="49801"/>
                </a:tc>
                <a:extLst>
                  <a:ext uri="{0D108BD9-81ED-4DB2-BD59-A6C34878D82A}">
                    <a16:rowId xmlns:a16="http://schemas.microsoft.com/office/drawing/2014/main" val="1773452506"/>
                  </a:ext>
                </a:extLst>
              </a:tr>
              <a:tr h="1505484">
                <a:tc>
                  <a:txBody>
                    <a:bodyPr/>
                    <a:lstStyle/>
                    <a:p>
                      <a:pPr marL="0" marR="0" fontAlgn="t">
                        <a:spcBef>
                          <a:spcPts val="0"/>
                        </a:spcBef>
                        <a:spcAft>
                          <a:spcPts val="0"/>
                        </a:spcAft>
                      </a:pPr>
                      <a:r>
                        <a:rPr lang="en-US" sz="2700" b="1" dirty="0">
                          <a:effectLst/>
                          <a:latin typeface="Calibri" panose="020F0502020204030204" pitchFamily="34" charset="0"/>
                        </a:rPr>
                        <a:t>Built as a file system on Open</a:t>
                      </a:r>
                      <a:r>
                        <a:rPr lang="en-US" sz="2700" b="1" baseline="0" dirty="0">
                          <a:effectLst/>
                          <a:latin typeface="Calibri" panose="020F0502020204030204" pitchFamily="34" charset="0"/>
                        </a:rPr>
                        <a:t> standards</a:t>
                      </a:r>
                      <a:r>
                        <a:rPr lang="en-US" sz="2700" b="1" dirty="0">
                          <a:effectLst/>
                          <a:latin typeface="Calibri" panose="020F0502020204030204" pitchFamily="34" charset="0"/>
                        </a:rPr>
                        <a:t> </a:t>
                      </a:r>
                    </a:p>
                  </a:txBody>
                  <a:tcPr marL="49801" marR="49801" marT="49801" marB="49801"/>
                </a:tc>
                <a:tc>
                  <a:txBody>
                    <a:bodyPr/>
                    <a:lstStyle/>
                    <a:p>
                      <a:pPr marL="0" marR="0" indent="0" fontAlgn="t">
                        <a:spcBef>
                          <a:spcPts val="0"/>
                        </a:spcBef>
                        <a:spcAft>
                          <a:spcPts val="0"/>
                        </a:spcAft>
                        <a:buFont typeface="Arial" panose="020B0604020202020204" pitchFamily="34" charset="0"/>
                        <a:buNone/>
                      </a:pPr>
                      <a:r>
                        <a:rPr lang="en-US" sz="1600" dirty="0">
                          <a:effectLst/>
                          <a:latin typeface="Calibri" panose="020F0502020204030204" pitchFamily="34" charset="0"/>
                        </a:rPr>
                        <a:t>First class “folder” and “file” hierarchical abstractions</a:t>
                      </a:r>
                    </a:p>
                    <a:p>
                      <a:pPr marL="0" marR="0" indent="0" fontAlgn="t">
                        <a:spcBef>
                          <a:spcPts val="0"/>
                        </a:spcBef>
                        <a:spcAft>
                          <a:spcPts val="0"/>
                        </a:spcAft>
                        <a:buFont typeface="Arial" panose="020B0604020202020204" pitchFamily="34" charset="0"/>
                        <a:buNone/>
                      </a:pPr>
                      <a:r>
                        <a:rPr lang="en-US" sz="1600" dirty="0">
                          <a:effectLst/>
                          <a:latin typeface="Calibri" panose="020F0502020204030204" pitchFamily="34" charset="0"/>
                        </a:rPr>
                        <a:t>Append file semantics</a:t>
                      </a:r>
                    </a:p>
                    <a:p>
                      <a:pPr marL="0" marR="0" indent="0" fontAlgn="t">
                        <a:spcBef>
                          <a:spcPts val="0"/>
                        </a:spcBef>
                        <a:spcAft>
                          <a:spcPts val="0"/>
                        </a:spcAft>
                        <a:buFont typeface="Arial" panose="020B0604020202020204" pitchFamily="34" charset="0"/>
                        <a:buNone/>
                      </a:pPr>
                      <a:r>
                        <a:rPr lang="en-US" sz="1600" dirty="0">
                          <a:effectLst/>
                          <a:latin typeface="Calibri" panose="020F0502020204030204" pitchFamily="34" charset="0"/>
                        </a:rPr>
                        <a:t>Efficient enumerate folder</a:t>
                      </a:r>
                    </a:p>
                    <a:p>
                      <a:pPr marL="0" marR="0" indent="0" algn="l" defTabSz="932742" rtl="0" eaLnBrk="1" fontAlgn="t" latinLnBrk="0" hangingPunct="1">
                        <a:lnSpc>
                          <a:spcPct val="100000"/>
                        </a:lnSpc>
                        <a:spcBef>
                          <a:spcPts val="0"/>
                        </a:spcBef>
                        <a:spcAft>
                          <a:spcPts val="0"/>
                        </a:spcAft>
                        <a:buClrTx/>
                        <a:buSzTx/>
                        <a:buFont typeface="Arial" panose="020B0604020202020204" pitchFamily="34" charset="0"/>
                        <a:buNone/>
                        <a:tabLst/>
                        <a:defRPr/>
                      </a:pPr>
                      <a:r>
                        <a:rPr lang="en-US" sz="1600" dirty="0">
                          <a:effectLst/>
                          <a:latin typeface="Calibri" panose="020F0502020204030204" pitchFamily="34" charset="0"/>
                        </a:rPr>
                        <a:t>Instant Folder Delete </a:t>
                      </a:r>
                    </a:p>
                    <a:p>
                      <a:pPr marL="0" marR="0" indent="0" fontAlgn="t">
                        <a:spcBef>
                          <a:spcPts val="0"/>
                        </a:spcBef>
                        <a:spcAft>
                          <a:spcPts val="0"/>
                        </a:spcAft>
                        <a:buFont typeface="Arial" panose="020B0604020202020204" pitchFamily="34" charset="0"/>
                        <a:buNone/>
                      </a:pPr>
                      <a:r>
                        <a:rPr lang="en-US" sz="1600" dirty="0">
                          <a:effectLst/>
                          <a:latin typeface="Calibri" panose="020F0502020204030204" pitchFamily="34" charset="0"/>
                        </a:rPr>
                        <a:t>Settings at folder level (e.g. encryption)</a:t>
                      </a:r>
                    </a:p>
                    <a:p>
                      <a:pPr marL="0" marR="0" indent="0" algn="l" defTabSz="932742" rtl="0" eaLnBrk="1" fontAlgn="t" latinLnBrk="0" hangingPunct="1">
                        <a:lnSpc>
                          <a:spcPct val="100000"/>
                        </a:lnSpc>
                        <a:spcBef>
                          <a:spcPts val="0"/>
                        </a:spcBef>
                        <a:spcAft>
                          <a:spcPts val="0"/>
                        </a:spcAft>
                        <a:buClrTx/>
                        <a:buSzTx/>
                        <a:buFont typeface="Arial" panose="020B0604020202020204" pitchFamily="34" charset="0"/>
                        <a:buNone/>
                        <a:tabLst/>
                        <a:defRPr/>
                      </a:pPr>
                      <a:r>
                        <a:rPr lang="en-US" sz="1600" dirty="0">
                          <a:effectLst/>
                          <a:latin typeface="Calibri" panose="020F0502020204030204" pitchFamily="34" charset="0"/>
                        </a:rPr>
                        <a:t>Naturally fits</a:t>
                      </a:r>
                      <a:r>
                        <a:rPr lang="en-US" sz="1600" baseline="0" dirty="0">
                          <a:effectLst/>
                          <a:latin typeface="Calibri" panose="020F0502020204030204" pitchFamily="34" charset="0"/>
                        </a:rPr>
                        <a:t> apps built on file systems</a:t>
                      </a:r>
                      <a:endParaRPr lang="en-US" sz="1600" dirty="0">
                        <a:effectLst/>
                        <a:latin typeface="Calibri" panose="020F0502020204030204" pitchFamily="34" charset="0"/>
                      </a:endParaRPr>
                    </a:p>
                  </a:txBody>
                  <a:tcPr marL="49801" marR="49801" marT="49801" marB="49801"/>
                </a:tc>
                <a:tc>
                  <a:txBody>
                    <a:bodyPr/>
                    <a:lstStyle/>
                    <a:p>
                      <a:pPr marL="0" marR="0" fontAlgn="t">
                        <a:spcBef>
                          <a:spcPts val="0"/>
                        </a:spcBef>
                        <a:spcAft>
                          <a:spcPts val="0"/>
                        </a:spcAft>
                      </a:pPr>
                      <a:r>
                        <a:rPr lang="en-US" sz="1600">
                          <a:effectLst/>
                          <a:latin typeface="Calibri" panose="020F0502020204030204" pitchFamily="34" charset="0"/>
                        </a:rPr>
                        <a:t>Distributed Naming Service</a:t>
                      </a:r>
                    </a:p>
                  </a:txBody>
                  <a:tcPr marL="49801" marR="49801" marT="49801" marB="49801"/>
                </a:tc>
                <a:extLst>
                  <a:ext uri="{0D108BD9-81ED-4DB2-BD59-A6C34878D82A}">
                    <a16:rowId xmlns:a16="http://schemas.microsoft.com/office/drawing/2014/main" val="899678135"/>
                  </a:ext>
                </a:extLst>
              </a:tr>
              <a:tr h="800721">
                <a:tc>
                  <a:txBody>
                    <a:bodyPr/>
                    <a:lstStyle/>
                    <a:p>
                      <a:pPr marL="0" marR="0" fontAlgn="t">
                        <a:spcBef>
                          <a:spcPts val="0"/>
                        </a:spcBef>
                        <a:spcAft>
                          <a:spcPts val="0"/>
                        </a:spcAft>
                      </a:pPr>
                      <a:r>
                        <a:rPr lang="en-US" sz="2700" b="1">
                          <a:effectLst/>
                          <a:latin typeface="Calibri" panose="020F0502020204030204" pitchFamily="34" charset="0"/>
                        </a:rPr>
                        <a:t>Unlimited Scale</a:t>
                      </a:r>
                    </a:p>
                  </a:txBody>
                  <a:tcPr marL="49801" marR="49801" marT="49801" marB="49801"/>
                </a:tc>
                <a:tc>
                  <a:txBody>
                    <a:bodyPr/>
                    <a:lstStyle/>
                    <a:p>
                      <a:pPr marL="0" marR="0" indent="0" fontAlgn="t">
                        <a:spcBef>
                          <a:spcPts val="0"/>
                        </a:spcBef>
                        <a:spcAft>
                          <a:spcPts val="0"/>
                        </a:spcAft>
                        <a:buFont typeface="Arial" panose="020B0604020202020204" pitchFamily="34" charset="0"/>
                        <a:buNone/>
                      </a:pPr>
                      <a:r>
                        <a:rPr lang="en-US" sz="1600" dirty="0">
                          <a:effectLst/>
                          <a:latin typeface="Calibri" panose="020F0502020204030204" pitchFamily="34" charset="0"/>
                        </a:rPr>
                        <a:t>PB file size</a:t>
                      </a:r>
                    </a:p>
                    <a:p>
                      <a:pPr marL="0" marR="0" indent="0" fontAlgn="t">
                        <a:spcBef>
                          <a:spcPts val="0"/>
                        </a:spcBef>
                        <a:spcAft>
                          <a:spcPts val="0"/>
                        </a:spcAft>
                        <a:buFont typeface="Arial" panose="020B0604020202020204" pitchFamily="34" charset="0"/>
                        <a:buNone/>
                      </a:pPr>
                      <a:r>
                        <a:rPr lang="en-US" sz="1600" dirty="0">
                          <a:effectLst/>
                          <a:latin typeface="Calibri" panose="020F0502020204030204" pitchFamily="34" charset="0"/>
                        </a:rPr>
                        <a:t>No limits on account sizes</a:t>
                      </a:r>
                    </a:p>
                    <a:p>
                      <a:pPr marL="0" marR="0" indent="0" fontAlgn="t">
                        <a:spcBef>
                          <a:spcPts val="0"/>
                        </a:spcBef>
                        <a:spcAft>
                          <a:spcPts val="0"/>
                        </a:spcAft>
                        <a:buFont typeface="Arial" panose="020B0604020202020204" pitchFamily="34" charset="0"/>
                        <a:buNone/>
                      </a:pPr>
                      <a:r>
                        <a:rPr lang="en-US" sz="1600" dirty="0">
                          <a:effectLst/>
                          <a:latin typeface="Calibri" panose="020F0502020204030204" pitchFamily="34" charset="0"/>
                        </a:rPr>
                        <a:t>No application changes required</a:t>
                      </a:r>
                    </a:p>
                  </a:txBody>
                  <a:tcPr marL="49801" marR="49801" marT="49801" marB="49801"/>
                </a:tc>
                <a:tc>
                  <a:txBody>
                    <a:bodyPr/>
                    <a:lstStyle/>
                    <a:p>
                      <a:pPr marL="0" marR="0" fontAlgn="t">
                        <a:spcBef>
                          <a:spcPts val="0"/>
                        </a:spcBef>
                        <a:spcAft>
                          <a:spcPts val="0"/>
                        </a:spcAft>
                      </a:pPr>
                      <a:r>
                        <a:rPr lang="en-US" sz="1600" dirty="0">
                          <a:effectLst/>
                          <a:latin typeface="Calibri" panose="020F0502020204030204" pitchFamily="34" charset="0"/>
                        </a:rPr>
                        <a:t>Distributed Extent Location</a:t>
                      </a:r>
                      <a:r>
                        <a:rPr lang="en-US" sz="1600" baseline="0" dirty="0">
                          <a:effectLst/>
                          <a:latin typeface="Calibri" panose="020F0502020204030204" pitchFamily="34" charset="0"/>
                        </a:rPr>
                        <a:t> Service</a:t>
                      </a:r>
                    </a:p>
                    <a:p>
                      <a:pPr marL="0" marR="0" fontAlgn="t">
                        <a:spcBef>
                          <a:spcPts val="0"/>
                        </a:spcBef>
                        <a:spcAft>
                          <a:spcPts val="0"/>
                        </a:spcAft>
                      </a:pPr>
                      <a:r>
                        <a:rPr lang="en-US" sz="1600" dirty="0">
                          <a:effectLst/>
                          <a:latin typeface="Calibri" panose="020F0502020204030204" pitchFamily="34" charset="0"/>
                        </a:rPr>
                        <a:t>Scale out physical store</a:t>
                      </a:r>
                    </a:p>
                  </a:txBody>
                  <a:tcPr marL="49801" marR="49801" marT="49801" marB="49801"/>
                </a:tc>
                <a:extLst>
                  <a:ext uri="{0D108BD9-81ED-4DB2-BD59-A6C34878D82A}">
                    <a16:rowId xmlns:a16="http://schemas.microsoft.com/office/drawing/2014/main" val="4138459957"/>
                  </a:ext>
                </a:extLst>
              </a:tr>
              <a:tr h="882836">
                <a:tc>
                  <a:txBody>
                    <a:bodyPr/>
                    <a:lstStyle/>
                    <a:p>
                      <a:pPr marL="0" marR="0" fontAlgn="t">
                        <a:spcBef>
                          <a:spcPts val="0"/>
                        </a:spcBef>
                        <a:spcAft>
                          <a:spcPts val="0"/>
                        </a:spcAft>
                      </a:pPr>
                      <a:r>
                        <a:rPr lang="en-US" sz="2700" b="1" dirty="0">
                          <a:effectLst/>
                          <a:latin typeface="Calibri" panose="020F0502020204030204" pitchFamily="34" charset="0"/>
                        </a:rPr>
                        <a:t>High performance</a:t>
                      </a:r>
                    </a:p>
                  </a:txBody>
                  <a:tcPr marL="49801" marR="49801" marT="49801" marB="49801"/>
                </a:tc>
                <a:tc>
                  <a:txBody>
                    <a:bodyPr/>
                    <a:lstStyle/>
                    <a:p>
                      <a:pPr marL="0" marR="0" indent="0" fontAlgn="t">
                        <a:spcBef>
                          <a:spcPts val="0"/>
                        </a:spcBef>
                        <a:spcAft>
                          <a:spcPts val="0"/>
                        </a:spcAft>
                        <a:buFont typeface="Arial" panose="020B0604020202020204" pitchFamily="34" charset="0"/>
                        <a:buNone/>
                      </a:pPr>
                      <a:r>
                        <a:rPr lang="en-US" sz="1600" dirty="0">
                          <a:effectLst/>
                          <a:latin typeface="Calibri" panose="020F0502020204030204" pitchFamily="34" charset="0"/>
                        </a:rPr>
                        <a:t>Parallel read on same large file (e.g. genomics, seismic)</a:t>
                      </a:r>
                    </a:p>
                    <a:p>
                      <a:pPr marL="0" marR="0" indent="0" fontAlgn="t">
                        <a:spcBef>
                          <a:spcPts val="0"/>
                        </a:spcBef>
                        <a:spcAft>
                          <a:spcPts val="0"/>
                        </a:spcAft>
                        <a:buFont typeface="Arial" panose="020B0604020202020204" pitchFamily="34" charset="0"/>
                        <a:buNone/>
                      </a:pPr>
                      <a:r>
                        <a:rPr lang="en-US" sz="1600" dirty="0">
                          <a:effectLst/>
                          <a:latin typeface="Calibri" panose="020F0502020204030204" pitchFamily="34" charset="0"/>
                        </a:rPr>
                        <a:t>Low latency small writes for Event storage, transaction logs</a:t>
                      </a:r>
                    </a:p>
                    <a:p>
                      <a:pPr marL="0" marR="0" indent="0" fontAlgn="t">
                        <a:spcBef>
                          <a:spcPts val="0"/>
                        </a:spcBef>
                        <a:spcAft>
                          <a:spcPts val="0"/>
                        </a:spcAft>
                        <a:buFont typeface="Arial" panose="020B0604020202020204" pitchFamily="34" charset="0"/>
                        <a:buNone/>
                      </a:pPr>
                      <a:r>
                        <a:rPr lang="en-US" sz="1600" dirty="0">
                          <a:effectLst/>
                          <a:latin typeface="Calibri" panose="020F0502020204030204" pitchFamily="34" charset="0"/>
                        </a:rPr>
                        <a:t>Scalable throughput</a:t>
                      </a:r>
                    </a:p>
                  </a:txBody>
                  <a:tcPr marL="49801" marR="49801" marT="49801" marB="49801"/>
                </a:tc>
                <a:tc>
                  <a:txBody>
                    <a:bodyPr/>
                    <a:lstStyle/>
                    <a:p>
                      <a:pPr marL="0" marR="0" fontAlgn="t">
                        <a:spcBef>
                          <a:spcPts val="0"/>
                        </a:spcBef>
                        <a:spcAft>
                          <a:spcPts val="0"/>
                        </a:spcAft>
                      </a:pPr>
                      <a:r>
                        <a:rPr lang="en-US" sz="1600" dirty="0">
                          <a:effectLst/>
                          <a:latin typeface="Calibri" panose="020F0502020204030204" pitchFamily="34" charset="0"/>
                        </a:rPr>
                        <a:t>Scale out physical store</a:t>
                      </a:r>
                    </a:p>
                    <a:p>
                      <a:pPr marL="0" marR="0" fontAlgn="t">
                        <a:spcBef>
                          <a:spcPts val="0"/>
                        </a:spcBef>
                        <a:spcAft>
                          <a:spcPts val="0"/>
                        </a:spcAft>
                      </a:pPr>
                      <a:r>
                        <a:rPr lang="en-US" sz="1600" dirty="0">
                          <a:effectLst/>
                          <a:latin typeface="Calibri" panose="020F0502020204030204" pitchFamily="34" charset="0"/>
                        </a:rPr>
                        <a:t>SSD-based ingestion</a:t>
                      </a:r>
                      <a:r>
                        <a:rPr lang="en-US" sz="1600" baseline="0" dirty="0">
                          <a:effectLst/>
                          <a:latin typeface="Calibri" panose="020F0502020204030204" pitchFamily="34" charset="0"/>
                        </a:rPr>
                        <a:t> service</a:t>
                      </a:r>
                      <a:endParaRPr lang="en-US" sz="1600" dirty="0">
                        <a:effectLst/>
                        <a:latin typeface="Calibri" panose="020F0502020204030204" pitchFamily="34" charset="0"/>
                      </a:endParaRPr>
                    </a:p>
                    <a:p>
                      <a:pPr marL="0" marR="0" fontAlgn="t">
                        <a:spcBef>
                          <a:spcPts val="0"/>
                        </a:spcBef>
                        <a:spcAft>
                          <a:spcPts val="0"/>
                        </a:spcAft>
                      </a:pPr>
                      <a:r>
                        <a:rPr lang="en-US" sz="1600" dirty="0">
                          <a:effectLst/>
                          <a:latin typeface="Calibri" panose="020F0502020204030204" pitchFamily="34" charset="0"/>
                        </a:rPr>
                        <a:t> </a:t>
                      </a:r>
                    </a:p>
                  </a:txBody>
                  <a:tcPr marL="49801" marR="49801" marT="49801" marB="49801"/>
                </a:tc>
                <a:extLst>
                  <a:ext uri="{0D108BD9-81ED-4DB2-BD59-A6C34878D82A}">
                    <a16:rowId xmlns:a16="http://schemas.microsoft.com/office/drawing/2014/main" val="2662393519"/>
                  </a:ext>
                </a:extLst>
              </a:tr>
              <a:tr h="1035642">
                <a:tc>
                  <a:txBody>
                    <a:bodyPr/>
                    <a:lstStyle/>
                    <a:p>
                      <a:pPr marL="0" marR="0" fontAlgn="t">
                        <a:spcBef>
                          <a:spcPts val="0"/>
                        </a:spcBef>
                        <a:spcAft>
                          <a:spcPts val="0"/>
                        </a:spcAft>
                      </a:pPr>
                      <a:r>
                        <a:rPr lang="en-US" sz="2700" b="1">
                          <a:effectLst/>
                          <a:latin typeface="Calibri" panose="020F0502020204030204" pitchFamily="34" charset="0"/>
                        </a:rPr>
                        <a:t>Enterprise Grade Security</a:t>
                      </a:r>
                      <a:endParaRPr lang="en-US" sz="2700" b="1" dirty="0">
                        <a:effectLst/>
                        <a:latin typeface="Calibri" panose="020F0502020204030204" pitchFamily="34" charset="0"/>
                      </a:endParaRPr>
                    </a:p>
                  </a:txBody>
                  <a:tcPr marL="49801" marR="49801" marT="49801" marB="49801"/>
                </a:tc>
                <a:tc>
                  <a:txBody>
                    <a:bodyPr/>
                    <a:lstStyle/>
                    <a:p>
                      <a:pPr marL="0" marR="0" indent="0" fontAlgn="t">
                        <a:spcBef>
                          <a:spcPts val="0"/>
                        </a:spcBef>
                        <a:spcAft>
                          <a:spcPts val="0"/>
                        </a:spcAft>
                        <a:buFont typeface="Arial" panose="020B0604020202020204" pitchFamily="34" charset="0"/>
                        <a:buNone/>
                      </a:pPr>
                      <a:r>
                        <a:rPr lang="en-US" sz="1600" dirty="0">
                          <a:effectLst/>
                          <a:latin typeface="Calibri" panose="020F0502020204030204" pitchFamily="34" charset="0"/>
                        </a:rPr>
                        <a:t>Role Based access control on data</a:t>
                      </a:r>
                    </a:p>
                    <a:p>
                      <a:pPr marL="0" marR="0" indent="0" fontAlgn="t">
                        <a:spcBef>
                          <a:spcPts val="0"/>
                        </a:spcBef>
                        <a:spcAft>
                          <a:spcPts val="0"/>
                        </a:spcAft>
                        <a:buFont typeface="Arial" panose="020B0604020202020204" pitchFamily="34" charset="0"/>
                        <a:buNone/>
                      </a:pPr>
                      <a:r>
                        <a:rPr lang="en-US" sz="1600" dirty="0">
                          <a:effectLst/>
                          <a:latin typeface="Calibri" panose="020F0502020204030204" pitchFamily="34" charset="0"/>
                        </a:rPr>
                        <a:t>Single Sign On</a:t>
                      </a:r>
                    </a:p>
                    <a:p>
                      <a:pPr marL="0" marR="0" indent="0" fontAlgn="t">
                        <a:spcBef>
                          <a:spcPts val="0"/>
                        </a:spcBef>
                        <a:spcAft>
                          <a:spcPts val="0"/>
                        </a:spcAft>
                        <a:buFont typeface="Arial" panose="020B0604020202020204" pitchFamily="34" charset="0"/>
                        <a:buNone/>
                      </a:pPr>
                      <a:r>
                        <a:rPr lang="en-US" sz="1600" dirty="0">
                          <a:effectLst/>
                          <a:latin typeface="Calibri" panose="020F0502020204030204" pitchFamily="34" charset="0"/>
                        </a:rPr>
                        <a:t>Encryption of data at rest with azure managed and bring-your-own-key</a:t>
                      </a:r>
                    </a:p>
                  </a:txBody>
                  <a:tcPr marL="49801" marR="49801" marT="49801" marB="49801"/>
                </a:tc>
                <a:tc>
                  <a:txBody>
                    <a:bodyPr/>
                    <a:lstStyle/>
                    <a:p>
                      <a:pPr marL="0" marR="0" fontAlgn="t">
                        <a:spcBef>
                          <a:spcPts val="0"/>
                        </a:spcBef>
                        <a:spcAft>
                          <a:spcPts val="0"/>
                        </a:spcAft>
                      </a:pPr>
                      <a:r>
                        <a:rPr lang="en-US" sz="1600" dirty="0">
                          <a:effectLst/>
                          <a:latin typeface="Calibri" panose="020F0502020204030204" pitchFamily="34" charset="0"/>
                        </a:rPr>
                        <a:t>POSIX ACLs on files and folders</a:t>
                      </a:r>
                    </a:p>
                    <a:p>
                      <a:pPr marL="0" marR="0" fontAlgn="t">
                        <a:spcBef>
                          <a:spcPts val="0"/>
                        </a:spcBef>
                        <a:spcAft>
                          <a:spcPts val="0"/>
                        </a:spcAft>
                      </a:pPr>
                      <a:r>
                        <a:rPr lang="en-US" sz="1600" dirty="0">
                          <a:effectLst/>
                          <a:latin typeface="Calibri" panose="020F0502020204030204" pitchFamily="34" charset="0"/>
                        </a:rPr>
                        <a:t>Azure AD Integration</a:t>
                      </a:r>
                    </a:p>
                    <a:p>
                      <a:pPr marL="0" marR="0" fontAlgn="t">
                        <a:spcBef>
                          <a:spcPts val="0"/>
                        </a:spcBef>
                        <a:spcAft>
                          <a:spcPts val="0"/>
                        </a:spcAft>
                      </a:pPr>
                      <a:r>
                        <a:rPr lang="en-US" sz="1600" dirty="0">
                          <a:effectLst/>
                          <a:latin typeface="Calibri" panose="020F0502020204030204" pitchFamily="34" charset="0"/>
                        </a:rPr>
                        <a:t>Azure Key Vault Integration</a:t>
                      </a:r>
                    </a:p>
                  </a:txBody>
                  <a:tcPr marL="49801" marR="49801" marT="49801" marB="49801"/>
                </a:tc>
                <a:extLst>
                  <a:ext uri="{0D108BD9-81ED-4DB2-BD59-A6C34878D82A}">
                    <a16:rowId xmlns:a16="http://schemas.microsoft.com/office/drawing/2014/main" val="3011628059"/>
                  </a:ext>
                </a:extLst>
              </a:tr>
            </a:tbl>
          </a:graphicData>
        </a:graphic>
      </p:graphicFrame>
    </p:spTree>
    <p:extLst>
      <p:ext uri="{BB962C8B-B14F-4D97-AF65-F5344CB8AC3E}">
        <p14:creationId xmlns:p14="http://schemas.microsoft.com/office/powerpoint/2010/main" val="7063877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ext Placeholder 6"/>
          <p:cNvSpPr>
            <a:spLocks noGrp="1"/>
          </p:cNvSpPr>
          <p:nvPr>
            <p:ph type="body" sz="quarter" idx="13"/>
          </p:nvPr>
        </p:nvSpPr>
        <p:spPr>
          <a:xfrm>
            <a:off x="0" y="1143000"/>
            <a:ext cx="6035675" cy="2286000"/>
          </a:xfrm>
          <a:solidFill>
            <a:schemeClr val="accent1">
              <a:alpha val="90195"/>
            </a:schemeClr>
          </a:solidFill>
        </p:spPr>
        <p:txBody>
          <a:bodyPr/>
          <a:lstStyle/>
          <a:p>
            <a:pPr>
              <a:spcBef>
                <a:spcPct val="0"/>
              </a:spcBef>
            </a:pPr>
            <a:r>
              <a:rPr lang="en-US" dirty="0"/>
              <a:t>Demo: Azure Data Lake Store</a:t>
            </a:r>
          </a:p>
        </p:txBody>
      </p:sp>
      <p:sp>
        <p:nvSpPr>
          <p:cNvPr id="2" name="Slide Number Placeholder 1"/>
          <p:cNvSpPr>
            <a:spLocks noGrp="1"/>
          </p:cNvSpPr>
          <p:nvPr>
            <p:ph type="sldNum" sz="quarter" idx="19"/>
          </p:nvPr>
        </p:nvSpPr>
        <p:spPr/>
        <p:txBody>
          <a:bodyPr/>
          <a:lstStyle/>
          <a:p>
            <a:pPr>
              <a:defRPr/>
            </a:pPr>
            <a:fld id="{3D1B5734-3614-4DC6-A13F-4700EA017BC8}" type="slidenum">
              <a:rPr lang="en-US" smtClean="0"/>
              <a:pPr>
                <a:defRPr/>
              </a:pPr>
              <a:t>31</a:t>
            </a:fld>
            <a:endParaRPr lang="en-US"/>
          </a:p>
        </p:txBody>
      </p:sp>
    </p:spTree>
    <p:extLst>
      <p:ext uri="{BB962C8B-B14F-4D97-AF65-F5344CB8AC3E}">
        <p14:creationId xmlns:p14="http://schemas.microsoft.com/office/powerpoint/2010/main" val="16872317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Number Placeholder 4"/>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fontAlgn="base">
              <a:spcBef>
                <a:spcPct val="0"/>
              </a:spcBef>
              <a:spcAft>
                <a:spcPct val="0"/>
              </a:spcAft>
            </a:pPr>
            <a:fld id="{C126BB60-CBB6-4365-97E5-91AD37B29074}" type="slidenum">
              <a:rPr lang="en-US">
                <a:solidFill>
                  <a:srgbClr val="3F3F3F"/>
                </a:solidFill>
                <a:ea typeface="Segoe Pro Light"/>
              </a:rPr>
              <a:pPr fontAlgn="base">
                <a:spcBef>
                  <a:spcPct val="0"/>
                </a:spcBef>
                <a:spcAft>
                  <a:spcPct val="0"/>
                </a:spcAft>
              </a:pPr>
              <a:t>32</a:t>
            </a:fld>
            <a:endParaRPr lang="en-US">
              <a:solidFill>
                <a:srgbClr val="3F3F3F"/>
              </a:solidFill>
              <a:ea typeface="Segoe Pro Light"/>
            </a:endParaRPr>
          </a:p>
        </p:txBody>
      </p:sp>
      <p:pic>
        <p:nvPicPr>
          <p:cNvPr id="49155"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357688" y="2895600"/>
            <a:ext cx="3567112" cy="84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09278" y="365125"/>
            <a:ext cx="10515600" cy="1325563"/>
          </a:xfrm>
        </p:spPr>
        <p:txBody>
          <a:bodyPr/>
          <a:lstStyle/>
          <a:p>
            <a:r>
              <a:rPr lang="en-US" dirty="0">
                <a:solidFill>
                  <a:srgbClr val="0070C0"/>
                </a:solidFill>
              </a:rPr>
              <a:t>What’s a Data Lake?</a:t>
            </a:r>
            <a:br>
              <a:rPr lang="en-US" dirty="0">
                <a:solidFill>
                  <a:srgbClr val="00B0F0"/>
                </a:solidFill>
              </a:rPr>
            </a:br>
            <a:r>
              <a:rPr lang="en-US" sz="2000" dirty="0"/>
              <a:t>It’s a pattern of being analytics! Store any kind of data regardless of type!</a:t>
            </a:r>
          </a:p>
        </p:txBody>
      </p:sp>
      <p:grpSp>
        <p:nvGrpSpPr>
          <p:cNvPr id="8" name="Group 7"/>
          <p:cNvGrpSpPr/>
          <p:nvPr/>
        </p:nvGrpSpPr>
        <p:grpSpPr>
          <a:xfrm>
            <a:off x="1143000" y="1930584"/>
            <a:ext cx="10070160" cy="4241616"/>
            <a:chOff x="690419" y="3219103"/>
            <a:chExt cx="11779686" cy="3284489"/>
          </a:xfrm>
        </p:grpSpPr>
        <p:cxnSp>
          <p:nvCxnSpPr>
            <p:cNvPr id="9" name="Straight Arrow Connector 8"/>
            <p:cNvCxnSpPr/>
            <p:nvPr/>
          </p:nvCxnSpPr>
          <p:spPr>
            <a:xfrm flipV="1">
              <a:off x="7910421" y="3752553"/>
              <a:ext cx="1927258" cy="671949"/>
            </a:xfrm>
            <a:prstGeom prst="straightConnector1">
              <a:avLst/>
            </a:prstGeom>
            <a:ln w="57150">
              <a:solidFill>
                <a:schemeClr val="accent5">
                  <a:lumMod val="50000"/>
                </a:schemeClr>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V="1">
              <a:off x="8026471" y="4261261"/>
              <a:ext cx="1814251" cy="381447"/>
            </a:xfrm>
            <a:prstGeom prst="straightConnector1">
              <a:avLst/>
            </a:prstGeom>
            <a:ln w="57150">
              <a:solidFill>
                <a:schemeClr val="accent5">
                  <a:lumMod val="50000"/>
                </a:schemeClr>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8064897" y="5059657"/>
              <a:ext cx="1772781" cy="278758"/>
            </a:xfrm>
            <a:prstGeom prst="straightConnector1">
              <a:avLst/>
            </a:prstGeom>
            <a:ln w="57150">
              <a:solidFill>
                <a:schemeClr val="accent5">
                  <a:lumMod val="50000"/>
                </a:schemeClr>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7910421" y="5272072"/>
              <a:ext cx="1927258" cy="501833"/>
            </a:xfrm>
            <a:prstGeom prst="straightConnector1">
              <a:avLst/>
            </a:prstGeom>
            <a:ln w="57150">
              <a:solidFill>
                <a:schemeClr val="accent5">
                  <a:lumMod val="50000"/>
                </a:schemeClr>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8055117" y="4846534"/>
              <a:ext cx="1785605" cy="48267"/>
            </a:xfrm>
            <a:prstGeom prst="straightConnector1">
              <a:avLst/>
            </a:prstGeom>
            <a:ln w="57150">
              <a:solidFill>
                <a:schemeClr val="accent5">
                  <a:lumMod val="50000"/>
                </a:schemeClr>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sp>
          <p:nvSpPr>
            <p:cNvPr id="14" name="Oval 13"/>
            <p:cNvSpPr/>
            <p:nvPr/>
          </p:nvSpPr>
          <p:spPr bwMode="auto">
            <a:xfrm>
              <a:off x="4293575" y="3546258"/>
              <a:ext cx="3732896" cy="2679309"/>
            </a:xfrm>
            <a:prstGeom prst="ellipse">
              <a:avLst/>
            </a:prstGeom>
            <a:solidFill>
              <a:srgbClr val="00B0F0"/>
            </a:solidFill>
            <a:ln>
              <a:noFill/>
              <a:headEnd type="none" w="med" len="med"/>
              <a:tailEnd type="none" w="med" len="me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80">
                <a:lnSpc>
                  <a:spcPct val="90000"/>
                </a:lnSpc>
              </a:pPr>
              <a:endParaRPr lang="en-US" sz="2352" kern="0" dirty="0">
                <a:solidFill>
                  <a:schemeClr val="bg1"/>
                </a:solidFill>
                <a:ea typeface="Segoe UI" pitchFamily="34" charset="0"/>
                <a:cs typeface="Segoe UI" pitchFamily="34" charset="0"/>
              </a:endParaRPr>
            </a:p>
          </p:txBody>
        </p:sp>
        <p:cxnSp>
          <p:nvCxnSpPr>
            <p:cNvPr id="15" name="Straight Arrow Connector 14"/>
            <p:cNvCxnSpPr/>
            <p:nvPr/>
          </p:nvCxnSpPr>
          <p:spPr>
            <a:xfrm>
              <a:off x="1773386" y="4150494"/>
              <a:ext cx="2593691" cy="401512"/>
            </a:xfrm>
            <a:prstGeom prst="straightConnector1">
              <a:avLst/>
            </a:prstGeom>
            <a:ln w="57150">
              <a:solidFill>
                <a:schemeClr val="accent5">
                  <a:lumMod val="50000"/>
                </a:schemeClr>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2333860" y="3584022"/>
              <a:ext cx="2218219" cy="684323"/>
            </a:xfrm>
            <a:prstGeom prst="straightConnector1">
              <a:avLst/>
            </a:prstGeom>
            <a:ln w="57150">
              <a:solidFill>
                <a:schemeClr val="accent5">
                  <a:lumMod val="50000"/>
                </a:schemeClr>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2304193" y="4894562"/>
              <a:ext cx="1989382" cy="123958"/>
            </a:xfrm>
            <a:prstGeom prst="straightConnector1">
              <a:avLst/>
            </a:prstGeom>
            <a:ln w="57150">
              <a:solidFill>
                <a:schemeClr val="accent5">
                  <a:lumMod val="50000"/>
                </a:schemeClr>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2385740" y="5178223"/>
              <a:ext cx="1983633" cy="452972"/>
            </a:xfrm>
            <a:prstGeom prst="straightConnector1">
              <a:avLst/>
            </a:prstGeom>
            <a:ln w="57150">
              <a:solidFill>
                <a:schemeClr val="accent5">
                  <a:lumMod val="50000"/>
                </a:schemeClr>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2388617" y="5453027"/>
              <a:ext cx="2163462" cy="936820"/>
            </a:xfrm>
            <a:prstGeom prst="straightConnector1">
              <a:avLst/>
            </a:prstGeom>
            <a:ln w="57150">
              <a:solidFill>
                <a:schemeClr val="accent5">
                  <a:lumMod val="50000"/>
                </a:schemeClr>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9902506" y="4035692"/>
              <a:ext cx="2495050" cy="405703"/>
            </a:xfrm>
            <a:prstGeom prst="rect">
              <a:avLst/>
            </a:prstGeom>
            <a:noFill/>
          </p:spPr>
          <p:txBody>
            <a:bodyPr wrap="none" lIns="0" rtlCol="0">
              <a:spAutoFit/>
            </a:bodyPr>
            <a:lstStyle>
              <a:defPPr>
                <a:defRPr lang="en-US"/>
              </a:defPPr>
              <a:lvl1pPr defTabSz="932418">
                <a:defRPr>
                  <a:solidFill>
                    <a:schemeClr val="bg1">
                      <a:lumMod val="75000"/>
                    </a:schemeClr>
                  </a:solidFill>
                  <a:latin typeface="+mj-lt"/>
                </a:defRPr>
              </a:lvl1pPr>
            </a:lstStyle>
            <a:p>
              <a:pPr defTabSz="776885"/>
              <a:r>
                <a:rPr lang="en-US" sz="2117" kern="0" dirty="0">
                  <a:solidFill>
                    <a:schemeClr val="tx1"/>
                  </a:solidFill>
                </a:rPr>
                <a:t>Interactive queries</a:t>
              </a:r>
            </a:p>
          </p:txBody>
        </p:sp>
        <p:sp>
          <p:nvSpPr>
            <p:cNvPr id="21" name="TextBox 20"/>
            <p:cNvSpPr txBox="1"/>
            <p:nvPr/>
          </p:nvSpPr>
          <p:spPr>
            <a:xfrm>
              <a:off x="9902506" y="3529879"/>
              <a:ext cx="1895008" cy="405703"/>
            </a:xfrm>
            <a:prstGeom prst="rect">
              <a:avLst/>
            </a:prstGeom>
            <a:noFill/>
          </p:spPr>
          <p:txBody>
            <a:bodyPr wrap="none" lIns="0" rtlCol="0">
              <a:spAutoFit/>
            </a:bodyPr>
            <a:lstStyle/>
            <a:p>
              <a:pPr defTabSz="913928"/>
              <a:r>
                <a:rPr lang="en-US" sz="2117" kern="0" dirty="0">
                  <a:latin typeface="Segoe UI Light"/>
                </a:rPr>
                <a:t>Batch</a:t>
              </a:r>
              <a:r>
                <a:rPr lang="en-US" sz="2117" kern="0" dirty="0">
                  <a:solidFill>
                    <a:schemeClr val="bg1"/>
                  </a:solidFill>
                  <a:latin typeface="Segoe UI Light"/>
                </a:rPr>
                <a:t> </a:t>
              </a:r>
              <a:r>
                <a:rPr lang="en-US" sz="2117" kern="0" dirty="0">
                  <a:latin typeface="Segoe UI Light"/>
                </a:rPr>
                <a:t>queries</a:t>
              </a:r>
            </a:p>
          </p:txBody>
        </p:sp>
        <p:sp>
          <p:nvSpPr>
            <p:cNvPr id="22" name="TextBox 21"/>
            <p:cNvSpPr txBox="1"/>
            <p:nvPr/>
          </p:nvSpPr>
          <p:spPr>
            <a:xfrm>
              <a:off x="9902505" y="5117286"/>
              <a:ext cx="2480049" cy="405703"/>
            </a:xfrm>
            <a:prstGeom prst="rect">
              <a:avLst/>
            </a:prstGeom>
            <a:noFill/>
          </p:spPr>
          <p:txBody>
            <a:bodyPr wrap="none" lIns="0" rtlCol="0">
              <a:spAutoFit/>
            </a:bodyPr>
            <a:lstStyle/>
            <a:p>
              <a:pPr defTabSz="913928"/>
              <a:r>
                <a:rPr lang="en-US" sz="2117" kern="0" dirty="0">
                  <a:latin typeface="Segoe UI Light"/>
                </a:rPr>
                <a:t>Machine Learning</a:t>
              </a:r>
            </a:p>
          </p:txBody>
        </p:sp>
        <p:sp>
          <p:nvSpPr>
            <p:cNvPr id="23" name="TextBox 22"/>
            <p:cNvSpPr txBox="1"/>
            <p:nvPr/>
          </p:nvSpPr>
          <p:spPr>
            <a:xfrm>
              <a:off x="9902505" y="5610236"/>
              <a:ext cx="2260658" cy="405703"/>
            </a:xfrm>
            <a:prstGeom prst="rect">
              <a:avLst/>
            </a:prstGeom>
            <a:noFill/>
          </p:spPr>
          <p:txBody>
            <a:bodyPr wrap="none" lIns="0" rtlCol="0">
              <a:spAutoFit/>
            </a:bodyPr>
            <a:lstStyle/>
            <a:p>
              <a:pPr defTabSz="913928"/>
              <a:r>
                <a:rPr lang="en-US" sz="2117" kern="0" dirty="0">
                  <a:latin typeface="Segoe UI Light"/>
                </a:rPr>
                <a:t>Data warehouse</a:t>
              </a:r>
            </a:p>
          </p:txBody>
        </p:sp>
        <p:sp>
          <p:nvSpPr>
            <p:cNvPr id="24" name="TextBox 23"/>
            <p:cNvSpPr txBox="1"/>
            <p:nvPr/>
          </p:nvSpPr>
          <p:spPr>
            <a:xfrm>
              <a:off x="9888799" y="4586888"/>
              <a:ext cx="2581306" cy="405703"/>
            </a:xfrm>
            <a:prstGeom prst="rect">
              <a:avLst/>
            </a:prstGeom>
            <a:noFill/>
          </p:spPr>
          <p:txBody>
            <a:bodyPr wrap="none" lIns="0" rtlCol="0">
              <a:spAutoFit/>
            </a:bodyPr>
            <a:lstStyle/>
            <a:p>
              <a:pPr defTabSz="913928"/>
              <a:r>
                <a:rPr lang="en-US" sz="2117" kern="0" dirty="0">
                  <a:latin typeface="Segoe UI Light"/>
                </a:rPr>
                <a:t>Real-time analytics</a:t>
              </a:r>
            </a:p>
          </p:txBody>
        </p:sp>
        <p:grpSp>
          <p:nvGrpSpPr>
            <p:cNvPr id="25" name="Group 24"/>
            <p:cNvGrpSpPr/>
            <p:nvPr/>
          </p:nvGrpSpPr>
          <p:grpSpPr>
            <a:xfrm>
              <a:off x="690419" y="3219103"/>
              <a:ext cx="1788903" cy="3284489"/>
              <a:chOff x="811294" y="3787522"/>
              <a:chExt cx="2104781" cy="3864452"/>
            </a:xfrm>
          </p:grpSpPr>
          <p:sp>
            <p:nvSpPr>
              <p:cNvPr id="31" name="Rectangle 30"/>
              <p:cNvSpPr/>
              <p:nvPr>
                <p:custDataLst>
                  <p:tags r:id="rId1"/>
                </p:custDataLst>
              </p:nvPr>
            </p:nvSpPr>
            <p:spPr bwMode="auto">
              <a:xfrm>
                <a:off x="811294" y="3787522"/>
                <a:ext cx="987193" cy="93477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5" rIns="67222" bIns="44815" numCol="1" spcCol="0" rtlCol="0" fromWordArt="0" anchor="b" anchorCtr="0" forceAA="0" compatLnSpc="1">
                <a:prstTxWarp prst="textNoShape">
                  <a:avLst/>
                </a:prstTxWarp>
                <a:noAutofit/>
              </a:bodyPr>
              <a:lstStyle/>
              <a:p>
                <a:pPr defTabSz="913980">
                  <a:lnSpc>
                    <a:spcPct val="90000"/>
                  </a:lnSpc>
                </a:pPr>
                <a:r>
                  <a:rPr lang="en-US" sz="980" kern="0" dirty="0">
                    <a:solidFill>
                      <a:schemeClr val="bg1"/>
                    </a:solidFill>
                    <a:latin typeface="Segoe UI Light"/>
                    <a:ea typeface="Segoe UI" pitchFamily="34" charset="0"/>
                    <a:cs typeface="Segoe UI" pitchFamily="34" charset="0"/>
                  </a:rPr>
                  <a:t>Devices</a:t>
                </a:r>
              </a:p>
            </p:txBody>
          </p:sp>
          <p:grpSp>
            <p:nvGrpSpPr>
              <p:cNvPr id="32" name="Group 31"/>
              <p:cNvGrpSpPr/>
              <p:nvPr/>
            </p:nvGrpSpPr>
            <p:grpSpPr>
              <a:xfrm>
                <a:off x="1003573" y="3951140"/>
                <a:ext cx="670827" cy="360306"/>
                <a:chOff x="2769908" y="1409697"/>
                <a:chExt cx="1965320" cy="1055586"/>
              </a:xfrm>
              <a:solidFill>
                <a:schemeClr val="bg1"/>
              </a:solidFill>
            </p:grpSpPr>
            <p:sp>
              <p:nvSpPr>
                <p:cNvPr id="49"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rtlCol="0" anchor="ctr"/>
                <a:lstStyle/>
                <a:p>
                  <a:pPr defTabSz="896267">
                    <a:defRPr/>
                  </a:pPr>
                  <a:endParaRPr lang="en-US" sz="980" kern="0" dirty="0">
                    <a:solidFill>
                      <a:schemeClr val="bg1"/>
                    </a:solidFill>
                    <a:latin typeface="Segoe UI Light"/>
                  </a:endParaRPr>
                </a:p>
              </p:txBody>
            </p:sp>
            <p:sp>
              <p:nvSpPr>
                <p:cNvPr id="50"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5" rIns="44815" bIns="89630" numCol="1" spcCol="0" rtlCol="0" fromWordArt="0" anchor="b" anchorCtr="0" forceAA="0" compatLnSpc="1">
                  <a:prstTxWarp prst="textNoShape">
                    <a:avLst/>
                  </a:prstTxWarp>
                  <a:noAutofit/>
                </a:bodyPr>
                <a:lstStyle/>
                <a:p>
                  <a:pPr defTabSz="895972"/>
                  <a:endParaRPr lang="en-US" sz="980" kern="0" spc="-49" dirty="0">
                    <a:solidFill>
                      <a:schemeClr val="bg1"/>
                    </a:solidFill>
                    <a:latin typeface="Segoe UI Light"/>
                    <a:ea typeface="Segoe UI" pitchFamily="34" charset="0"/>
                    <a:cs typeface="Segoe UI" pitchFamily="34" charset="0"/>
                  </a:endParaRPr>
                </a:p>
              </p:txBody>
            </p:sp>
            <p:sp>
              <p:nvSpPr>
                <p:cNvPr id="51"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defTabSz="806633"/>
                  <a:endParaRPr lang="en-US" sz="980" kern="0" spc="-132" dirty="0">
                    <a:solidFill>
                      <a:schemeClr val="bg1"/>
                    </a:solidFill>
                    <a:latin typeface="Segoe UI Light"/>
                  </a:endParaRPr>
                </a:p>
              </p:txBody>
            </p:sp>
          </p:grpSp>
          <p:sp>
            <p:nvSpPr>
              <p:cNvPr id="33" name="Rectangle 32"/>
              <p:cNvSpPr/>
              <p:nvPr>
                <p:custDataLst>
                  <p:tags r:id="rId2"/>
                </p:custDataLst>
              </p:nvPr>
            </p:nvSpPr>
            <p:spPr bwMode="auto">
              <a:xfrm>
                <a:off x="811294" y="6717204"/>
                <a:ext cx="987192" cy="93477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5" rIns="67222" bIns="44815" numCol="1" spcCol="0" rtlCol="0" fromWordArt="0" anchor="b" anchorCtr="0" forceAA="0" compatLnSpc="1">
                <a:prstTxWarp prst="textNoShape">
                  <a:avLst/>
                </a:prstTxWarp>
                <a:noAutofit/>
              </a:bodyPr>
              <a:lstStyle/>
              <a:p>
                <a:pPr defTabSz="913980">
                  <a:lnSpc>
                    <a:spcPct val="90000"/>
                  </a:lnSpc>
                </a:pPr>
                <a:r>
                  <a:rPr lang="en-US" sz="980" kern="0" dirty="0">
                    <a:ln>
                      <a:solidFill>
                        <a:srgbClr val="505050">
                          <a:alpha val="0"/>
                        </a:srgbClr>
                      </a:solidFill>
                    </a:ln>
                    <a:solidFill>
                      <a:schemeClr val="bg1"/>
                    </a:solidFill>
                    <a:latin typeface="Segoe UI Light"/>
                  </a:rPr>
                  <a:t>Relational</a:t>
                </a:r>
                <a:endParaRPr lang="en-US" sz="980" kern="0" dirty="0">
                  <a:solidFill>
                    <a:schemeClr val="bg1"/>
                  </a:solidFill>
                  <a:latin typeface="Segoe UI Light"/>
                  <a:ea typeface="Segoe UI" pitchFamily="34" charset="0"/>
                  <a:cs typeface="Segoe UI" pitchFamily="34" charset="0"/>
                </a:endParaRPr>
              </a:p>
            </p:txBody>
          </p:sp>
          <p:grpSp>
            <p:nvGrpSpPr>
              <p:cNvPr id="34" name="Group 33"/>
              <p:cNvGrpSpPr/>
              <p:nvPr/>
            </p:nvGrpSpPr>
            <p:grpSpPr>
              <a:xfrm>
                <a:off x="1135692" y="6818367"/>
                <a:ext cx="390821" cy="430165"/>
                <a:chOff x="9677938" y="4380341"/>
                <a:chExt cx="180750" cy="203154"/>
              </a:xfrm>
              <a:solidFill>
                <a:schemeClr val="bg1"/>
              </a:solidFill>
            </p:grpSpPr>
            <p:sp>
              <p:nvSpPr>
                <p:cNvPr id="47" name="Freeform 46"/>
                <p:cNvSpPr/>
                <p:nvPr/>
              </p:nvSpPr>
              <p:spPr>
                <a:xfrm>
                  <a:off x="9677938" y="4380341"/>
                  <a:ext cx="180750" cy="203154"/>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w="12700" cap="flat" cmpd="sng" algn="ctr">
                  <a:noFill/>
                  <a:prstDash val="solid"/>
                  <a:miter lim="800000"/>
                </a:ln>
                <a:effectLst/>
              </p:spPr>
              <p:txBody>
                <a:bodyPr rtlCol="0" anchor="ctr"/>
                <a:lstStyle/>
                <a:p>
                  <a:pPr defTabSz="913842">
                    <a:defRPr/>
                  </a:pPr>
                  <a:endParaRPr lang="en-US" sz="980" kern="0" dirty="0">
                    <a:solidFill>
                      <a:schemeClr val="bg1"/>
                    </a:solidFill>
                    <a:latin typeface="Segoe UI Light"/>
                  </a:endParaRPr>
                </a:p>
              </p:txBody>
            </p:sp>
            <p:sp>
              <p:nvSpPr>
                <p:cNvPr id="48" name="Oval 47"/>
                <p:cNvSpPr/>
                <p:nvPr/>
              </p:nvSpPr>
              <p:spPr>
                <a:xfrm>
                  <a:off x="9692924" y="4389921"/>
                  <a:ext cx="146753" cy="40388"/>
                </a:xfrm>
                <a:prstGeom prst="ellipse">
                  <a:avLst/>
                </a:prstGeom>
                <a:grpFill/>
                <a:ln w="12700" cap="flat" cmpd="sng" algn="ctr">
                  <a:noFill/>
                  <a:prstDash val="solid"/>
                  <a:miter lim="800000"/>
                </a:ln>
                <a:effectLst/>
              </p:spPr>
              <p:txBody>
                <a:bodyPr rtlCol="0" anchor="ctr"/>
                <a:lstStyle/>
                <a:p>
                  <a:pPr defTabSz="913842">
                    <a:defRPr/>
                  </a:pPr>
                  <a:endParaRPr lang="en-US" sz="980" kern="0" dirty="0">
                    <a:solidFill>
                      <a:schemeClr val="bg1"/>
                    </a:solidFill>
                    <a:latin typeface="Segoe UI Light"/>
                  </a:endParaRPr>
                </a:p>
              </p:txBody>
            </p:sp>
          </p:grpSp>
          <p:sp>
            <p:nvSpPr>
              <p:cNvPr id="35" name="Rectangle 34"/>
              <p:cNvSpPr/>
              <p:nvPr>
                <p:custDataLst>
                  <p:tags r:id="rId3"/>
                </p:custDataLst>
              </p:nvPr>
            </p:nvSpPr>
            <p:spPr bwMode="auto">
              <a:xfrm>
                <a:off x="1867819" y="5738267"/>
                <a:ext cx="1048256" cy="93477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5" rIns="67222" bIns="44815" numCol="1" spcCol="0" rtlCol="0" fromWordArt="0" anchor="b" anchorCtr="0" forceAA="0" compatLnSpc="1">
                <a:prstTxWarp prst="textNoShape">
                  <a:avLst/>
                </a:prstTxWarp>
                <a:noAutofit/>
              </a:bodyPr>
              <a:lstStyle/>
              <a:p>
                <a:pPr defTabSz="913980">
                  <a:lnSpc>
                    <a:spcPct val="90000"/>
                  </a:lnSpc>
                </a:pPr>
                <a:r>
                  <a:rPr lang="en-US" sz="980" kern="0" dirty="0">
                    <a:ln>
                      <a:solidFill>
                        <a:srgbClr val="505050">
                          <a:alpha val="0"/>
                        </a:srgbClr>
                      </a:solidFill>
                    </a:ln>
                    <a:solidFill>
                      <a:schemeClr val="bg1"/>
                    </a:solidFill>
                    <a:latin typeface="Segoe UI Light"/>
                  </a:rPr>
                  <a:t>Sensors</a:t>
                </a:r>
                <a:endParaRPr lang="en-US" sz="980" kern="0" dirty="0">
                  <a:solidFill>
                    <a:schemeClr val="bg1"/>
                  </a:solidFill>
                  <a:latin typeface="Segoe UI Light"/>
                  <a:ea typeface="Segoe UI" pitchFamily="34" charset="0"/>
                  <a:cs typeface="Segoe UI" pitchFamily="34" charset="0"/>
                </a:endParaRPr>
              </a:p>
            </p:txBody>
          </p:sp>
          <p:sp>
            <p:nvSpPr>
              <p:cNvPr id="36" name="Frame 5"/>
              <p:cNvSpPr>
                <a:spLocks noChangeAspect="1"/>
              </p:cNvSpPr>
              <p:nvPr/>
            </p:nvSpPr>
            <p:spPr bwMode="auto">
              <a:xfrm>
                <a:off x="2152205" y="5851349"/>
                <a:ext cx="366000" cy="36590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426" tIns="52714" rIns="52714" bIns="105426" numCol="1" spcCol="0" rtlCol="0" fromWordArt="0" anchor="b" anchorCtr="0" forceAA="0" compatLnSpc="1">
                <a:prstTxWarp prst="textNoShape">
                  <a:avLst/>
                </a:prstTxWarp>
                <a:noAutofit/>
              </a:bodyPr>
              <a:lstStyle/>
              <a:p>
                <a:pPr defTabSz="1053782">
                  <a:defRPr/>
                </a:pPr>
                <a:endParaRPr lang="en-US" sz="980" kern="0" spc="-57" dirty="0">
                  <a:solidFill>
                    <a:schemeClr val="bg1"/>
                  </a:solidFill>
                  <a:latin typeface="Segoe UI Light"/>
                  <a:ea typeface="Segoe UI" pitchFamily="34" charset="0"/>
                  <a:cs typeface="Segoe UI" pitchFamily="34" charset="0"/>
                </a:endParaRPr>
              </a:p>
            </p:txBody>
          </p:sp>
          <p:sp>
            <p:nvSpPr>
              <p:cNvPr id="37" name="Rectangle 36"/>
              <p:cNvSpPr/>
              <p:nvPr>
                <p:custDataLst>
                  <p:tags r:id="rId4"/>
                </p:custDataLst>
              </p:nvPr>
            </p:nvSpPr>
            <p:spPr bwMode="auto">
              <a:xfrm>
                <a:off x="1867819" y="4764151"/>
                <a:ext cx="1048256" cy="93477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5" rIns="67222" bIns="44815" numCol="1" spcCol="0" rtlCol="0" fromWordArt="0" anchor="b" anchorCtr="0" forceAA="0" compatLnSpc="1">
                <a:prstTxWarp prst="textNoShape">
                  <a:avLst/>
                </a:prstTxWarp>
                <a:noAutofit/>
              </a:bodyPr>
              <a:lstStyle/>
              <a:p>
                <a:pPr defTabSz="913980">
                  <a:lnSpc>
                    <a:spcPct val="90000"/>
                  </a:lnSpc>
                </a:pPr>
                <a:r>
                  <a:rPr lang="en-US" sz="980" kern="0" dirty="0">
                    <a:ln>
                      <a:solidFill>
                        <a:srgbClr val="505050">
                          <a:alpha val="0"/>
                        </a:srgbClr>
                      </a:solidFill>
                    </a:ln>
                    <a:solidFill>
                      <a:schemeClr val="bg1"/>
                    </a:solidFill>
                    <a:latin typeface="Segoe UI Light"/>
                  </a:rPr>
                  <a:t>Video</a:t>
                </a:r>
                <a:endParaRPr lang="en-US" sz="980" kern="0" dirty="0">
                  <a:solidFill>
                    <a:schemeClr val="bg1"/>
                  </a:solidFill>
                  <a:latin typeface="Segoe UI Light"/>
                  <a:ea typeface="Segoe UI" pitchFamily="34" charset="0"/>
                  <a:cs typeface="Segoe UI" pitchFamily="34" charset="0"/>
                </a:endParaRPr>
              </a:p>
            </p:txBody>
          </p:sp>
          <p:sp>
            <p:nvSpPr>
              <p:cNvPr id="38" name="Freeform 7"/>
              <p:cNvSpPr>
                <a:spLocks noEditPoints="1"/>
              </p:cNvSpPr>
              <p:nvPr/>
            </p:nvSpPr>
            <p:spPr bwMode="auto">
              <a:xfrm>
                <a:off x="2133982" y="4882373"/>
                <a:ext cx="402443" cy="432390"/>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defTabSz="806633"/>
                <a:endParaRPr lang="en-US" sz="980" kern="0" spc="-132" dirty="0">
                  <a:solidFill>
                    <a:schemeClr val="bg1"/>
                  </a:solidFill>
                  <a:latin typeface="Segoe UI Light"/>
                </a:endParaRPr>
              </a:p>
            </p:txBody>
          </p:sp>
          <p:sp>
            <p:nvSpPr>
              <p:cNvPr id="39" name="Rectangle 38"/>
              <p:cNvSpPr/>
              <p:nvPr>
                <p:custDataLst>
                  <p:tags r:id="rId5"/>
                </p:custDataLst>
              </p:nvPr>
            </p:nvSpPr>
            <p:spPr bwMode="auto">
              <a:xfrm>
                <a:off x="811294" y="4766297"/>
                <a:ext cx="987192" cy="93477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5" rIns="67222" bIns="44815" numCol="1" spcCol="0" rtlCol="0" fromWordArt="0" anchor="b" anchorCtr="0" forceAA="0" compatLnSpc="1">
                <a:prstTxWarp prst="textNoShape">
                  <a:avLst/>
                </a:prstTxWarp>
                <a:noAutofit/>
              </a:bodyPr>
              <a:lstStyle/>
              <a:p>
                <a:pPr defTabSz="913842">
                  <a:lnSpc>
                    <a:spcPct val="90000"/>
                  </a:lnSpc>
                </a:pPr>
                <a:r>
                  <a:rPr lang="en-US" sz="980" kern="0" dirty="0">
                    <a:ln>
                      <a:solidFill>
                        <a:srgbClr val="505050">
                          <a:alpha val="0"/>
                        </a:srgbClr>
                      </a:solidFill>
                    </a:ln>
                    <a:solidFill>
                      <a:schemeClr val="bg1"/>
                    </a:solidFill>
                    <a:latin typeface="Segoe UI Light"/>
                  </a:rPr>
                  <a:t>LOB applications</a:t>
                </a:r>
              </a:p>
            </p:txBody>
          </p:sp>
          <p:sp>
            <p:nvSpPr>
              <p:cNvPr id="40" name="Donut 59"/>
              <p:cNvSpPr>
                <a:spLocks noChangeAspect="1"/>
              </p:cNvSpPr>
              <p:nvPr/>
            </p:nvSpPr>
            <p:spPr bwMode="auto">
              <a:xfrm>
                <a:off x="1157698" y="4861745"/>
                <a:ext cx="346807" cy="374240"/>
              </a:xfrm>
              <a:custGeom>
                <a:avLst/>
                <a:gdLst/>
                <a:ahLst/>
                <a:cxnLst/>
                <a:rect l="l" t="t" r="r" b="b"/>
                <a:pathLst>
                  <a:path w="1872166" h="2020785">
                    <a:moveTo>
                      <a:pt x="930606" y="1257014"/>
                    </a:moveTo>
                    <a:cubicBezTo>
                      <a:pt x="968577" y="1257014"/>
                      <a:pt x="999359" y="1287795"/>
                      <a:pt x="999359" y="1325766"/>
                    </a:cubicBezTo>
                    <a:cubicBezTo>
                      <a:pt x="999359" y="1363737"/>
                      <a:pt x="968577" y="1394519"/>
                      <a:pt x="930606" y="1394519"/>
                    </a:cubicBezTo>
                    <a:cubicBezTo>
                      <a:pt x="892635" y="1394519"/>
                      <a:pt x="861853" y="1363737"/>
                      <a:pt x="861853" y="1325766"/>
                    </a:cubicBezTo>
                    <a:cubicBezTo>
                      <a:pt x="861853" y="1287795"/>
                      <a:pt x="892635" y="1257014"/>
                      <a:pt x="930606" y="1257014"/>
                    </a:cubicBezTo>
                    <a:close/>
                    <a:moveTo>
                      <a:pt x="930606" y="1188261"/>
                    </a:moveTo>
                    <a:cubicBezTo>
                      <a:pt x="854664" y="1188261"/>
                      <a:pt x="793100" y="1249824"/>
                      <a:pt x="793100" y="1325766"/>
                    </a:cubicBezTo>
                    <a:cubicBezTo>
                      <a:pt x="793100" y="1401709"/>
                      <a:pt x="854664" y="1463272"/>
                      <a:pt x="930606" y="1463272"/>
                    </a:cubicBezTo>
                    <a:cubicBezTo>
                      <a:pt x="1006548" y="1463272"/>
                      <a:pt x="1068111" y="1401709"/>
                      <a:pt x="1068111" y="1325766"/>
                    </a:cubicBezTo>
                    <a:cubicBezTo>
                      <a:pt x="1068111" y="1249824"/>
                      <a:pt x="1006548" y="1188261"/>
                      <a:pt x="930606" y="1188261"/>
                    </a:cubicBezTo>
                    <a:close/>
                    <a:moveTo>
                      <a:pt x="971250" y="956702"/>
                    </a:moveTo>
                    <a:lnTo>
                      <a:pt x="986880" y="1028990"/>
                    </a:lnTo>
                    <a:lnTo>
                      <a:pt x="1061122" y="1054389"/>
                    </a:lnTo>
                    <a:lnTo>
                      <a:pt x="1106057" y="1005545"/>
                    </a:lnTo>
                    <a:lnTo>
                      <a:pt x="1174438" y="1052435"/>
                    </a:lnTo>
                    <a:lnTo>
                      <a:pt x="1149040" y="1120816"/>
                    </a:lnTo>
                    <a:lnTo>
                      <a:pt x="1186160" y="1175520"/>
                    </a:lnTo>
                    <a:lnTo>
                      <a:pt x="1262356" y="1175520"/>
                    </a:lnTo>
                    <a:lnTo>
                      <a:pt x="1285801" y="1261484"/>
                    </a:lnTo>
                    <a:lnTo>
                      <a:pt x="1233050" y="1302513"/>
                    </a:lnTo>
                    <a:lnTo>
                      <a:pt x="1233050" y="1366986"/>
                    </a:lnTo>
                    <a:lnTo>
                      <a:pt x="1281894" y="1411922"/>
                    </a:lnTo>
                    <a:lnTo>
                      <a:pt x="1264310" y="1490071"/>
                    </a:lnTo>
                    <a:lnTo>
                      <a:pt x="1180299" y="1492025"/>
                    </a:lnTo>
                    <a:lnTo>
                      <a:pt x="1150993" y="1538914"/>
                    </a:lnTo>
                    <a:lnTo>
                      <a:pt x="1168577" y="1611202"/>
                    </a:lnTo>
                    <a:lnTo>
                      <a:pt x="1106057" y="1658092"/>
                    </a:lnTo>
                    <a:lnTo>
                      <a:pt x="1049399" y="1613156"/>
                    </a:lnTo>
                    <a:lnTo>
                      <a:pt x="986880" y="1640508"/>
                    </a:lnTo>
                    <a:lnTo>
                      <a:pt x="973203" y="1708889"/>
                    </a:lnTo>
                    <a:lnTo>
                      <a:pt x="893100" y="1716704"/>
                    </a:lnTo>
                    <a:lnTo>
                      <a:pt x="873563" y="1632694"/>
                    </a:lnTo>
                    <a:lnTo>
                      <a:pt x="809090" y="1613156"/>
                    </a:lnTo>
                    <a:lnTo>
                      <a:pt x="754385" y="1658092"/>
                    </a:lnTo>
                    <a:lnTo>
                      <a:pt x="699681" y="1609249"/>
                    </a:lnTo>
                    <a:lnTo>
                      <a:pt x="719218" y="1544776"/>
                    </a:lnTo>
                    <a:lnTo>
                      <a:pt x="678190" y="1490071"/>
                    </a:lnTo>
                    <a:lnTo>
                      <a:pt x="601994" y="1488117"/>
                    </a:lnTo>
                    <a:lnTo>
                      <a:pt x="586364" y="1411922"/>
                    </a:lnTo>
                    <a:lnTo>
                      <a:pt x="646930" y="1380662"/>
                    </a:lnTo>
                    <a:lnTo>
                      <a:pt x="644976" y="1304466"/>
                    </a:lnTo>
                    <a:lnTo>
                      <a:pt x="586364" y="1255623"/>
                    </a:lnTo>
                    <a:lnTo>
                      <a:pt x="607855" y="1183335"/>
                    </a:lnTo>
                    <a:lnTo>
                      <a:pt x="680143" y="1185289"/>
                    </a:lnTo>
                    <a:lnTo>
                      <a:pt x="721172" y="1140353"/>
                    </a:lnTo>
                    <a:lnTo>
                      <a:pt x="695773" y="1052435"/>
                    </a:lnTo>
                    <a:lnTo>
                      <a:pt x="752431" y="1007499"/>
                    </a:lnTo>
                    <a:lnTo>
                      <a:pt x="818858" y="1052435"/>
                    </a:lnTo>
                    <a:lnTo>
                      <a:pt x="873563" y="1032898"/>
                    </a:lnTo>
                    <a:lnTo>
                      <a:pt x="895054" y="958656"/>
                    </a:lnTo>
                    <a:close/>
                    <a:moveTo>
                      <a:pt x="966353" y="561544"/>
                    </a:moveTo>
                    <a:lnTo>
                      <a:pt x="1484176" y="561544"/>
                    </a:lnTo>
                    <a:cubicBezTo>
                      <a:pt x="1519876" y="561544"/>
                      <a:pt x="1548815" y="590484"/>
                      <a:pt x="1548815" y="626184"/>
                    </a:cubicBezTo>
                    <a:cubicBezTo>
                      <a:pt x="1548815" y="661883"/>
                      <a:pt x="1519875" y="690823"/>
                      <a:pt x="1484175" y="690823"/>
                    </a:cubicBezTo>
                    <a:lnTo>
                      <a:pt x="966353" y="690822"/>
                    </a:lnTo>
                    <a:cubicBezTo>
                      <a:pt x="930653" y="690822"/>
                      <a:pt x="901714" y="661883"/>
                      <a:pt x="901714" y="626184"/>
                    </a:cubicBezTo>
                    <a:cubicBezTo>
                      <a:pt x="901714" y="590484"/>
                      <a:pt x="930653" y="561544"/>
                      <a:pt x="966353" y="561544"/>
                    </a:cubicBezTo>
                    <a:close/>
                    <a:moveTo>
                      <a:pt x="590322" y="106687"/>
                    </a:moveTo>
                    <a:cubicBezTo>
                      <a:pt x="590332" y="226008"/>
                      <a:pt x="591688" y="375662"/>
                      <a:pt x="590317" y="464513"/>
                    </a:cubicBezTo>
                    <a:cubicBezTo>
                      <a:pt x="588940" y="553814"/>
                      <a:pt x="569467" y="576664"/>
                      <a:pt x="482849" y="576882"/>
                    </a:cubicBezTo>
                    <a:lnTo>
                      <a:pt x="101828" y="577428"/>
                    </a:lnTo>
                    <a:cubicBezTo>
                      <a:pt x="94937" y="958413"/>
                      <a:pt x="101760" y="1616638"/>
                      <a:pt x="104708" y="1753748"/>
                    </a:cubicBezTo>
                    <a:cubicBezTo>
                      <a:pt x="107681" y="1892031"/>
                      <a:pt x="168011" y="1914803"/>
                      <a:pt x="277215" y="1914081"/>
                    </a:cubicBezTo>
                    <a:lnTo>
                      <a:pt x="1773325" y="1910255"/>
                    </a:lnTo>
                    <a:cubicBezTo>
                      <a:pt x="1759000" y="1375795"/>
                      <a:pt x="1765208" y="446089"/>
                      <a:pt x="1768691" y="339408"/>
                    </a:cubicBezTo>
                    <a:cubicBezTo>
                      <a:pt x="1772174" y="232725"/>
                      <a:pt x="1746468" y="112940"/>
                      <a:pt x="1588386" y="110513"/>
                    </a:cubicBezTo>
                    <a:cubicBezTo>
                      <a:pt x="1430337" y="108086"/>
                      <a:pt x="851841" y="106688"/>
                      <a:pt x="590322" y="106687"/>
                    </a:cubicBezTo>
                    <a:close/>
                    <a:moveTo>
                      <a:pt x="549320" y="0"/>
                    </a:moveTo>
                    <a:cubicBezTo>
                      <a:pt x="841627" y="0"/>
                      <a:pt x="1488650" y="1563"/>
                      <a:pt x="1665394" y="4277"/>
                    </a:cubicBezTo>
                    <a:cubicBezTo>
                      <a:pt x="1842137" y="6992"/>
                      <a:pt x="1870878" y="140918"/>
                      <a:pt x="1866984" y="260194"/>
                    </a:cubicBezTo>
                    <a:cubicBezTo>
                      <a:pt x="1863090" y="379470"/>
                      <a:pt x="1856150" y="1418933"/>
                      <a:pt x="1872166" y="2016489"/>
                    </a:cubicBezTo>
                    <a:lnTo>
                      <a:pt x="199432" y="2020767"/>
                    </a:lnTo>
                    <a:cubicBezTo>
                      <a:pt x="77336" y="2021574"/>
                      <a:pt x="9884" y="1996114"/>
                      <a:pt x="6560" y="1841505"/>
                    </a:cubicBezTo>
                    <a:cubicBezTo>
                      <a:pt x="3235" y="1686896"/>
                      <a:pt x="-4497" y="939636"/>
                      <a:pt x="3513" y="51544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5" rIns="44815" bIns="89630" numCol="1" spcCol="0" rtlCol="0" fromWordArt="0" anchor="b" anchorCtr="0" forceAA="0" compatLnSpc="1">
                <a:prstTxWarp prst="textNoShape">
                  <a:avLst/>
                </a:prstTxWarp>
                <a:noAutofit/>
              </a:bodyPr>
              <a:lstStyle/>
              <a:p>
                <a:pPr defTabSz="895972"/>
                <a:endParaRPr lang="en-US" sz="980" kern="0" spc="-49" dirty="0">
                  <a:solidFill>
                    <a:schemeClr val="bg1"/>
                  </a:solidFill>
                  <a:latin typeface="Segoe UI Light"/>
                  <a:ea typeface="Segoe UI" pitchFamily="34" charset="0"/>
                  <a:cs typeface="Segoe UI" pitchFamily="34" charset="0"/>
                </a:endParaRPr>
              </a:p>
            </p:txBody>
          </p:sp>
          <p:sp>
            <p:nvSpPr>
              <p:cNvPr id="41" name="Rectangle 40"/>
              <p:cNvSpPr/>
              <p:nvPr>
                <p:custDataLst>
                  <p:tags r:id="rId6"/>
                </p:custDataLst>
              </p:nvPr>
            </p:nvSpPr>
            <p:spPr bwMode="auto">
              <a:xfrm>
                <a:off x="811294" y="5742559"/>
                <a:ext cx="987192" cy="93477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5" rIns="67222" bIns="44815" numCol="1" spcCol="0" rtlCol="0" fromWordArt="0" anchor="b" anchorCtr="0" forceAA="0" compatLnSpc="1">
                <a:prstTxWarp prst="textNoShape">
                  <a:avLst/>
                </a:prstTxWarp>
                <a:noAutofit/>
              </a:bodyPr>
              <a:lstStyle/>
              <a:p>
                <a:pPr defTabSz="913980">
                  <a:lnSpc>
                    <a:spcPct val="90000"/>
                  </a:lnSpc>
                </a:pPr>
                <a:r>
                  <a:rPr lang="en-US" sz="980" kern="0" dirty="0">
                    <a:ln>
                      <a:solidFill>
                        <a:srgbClr val="505050">
                          <a:alpha val="0"/>
                        </a:srgbClr>
                      </a:solidFill>
                    </a:ln>
                    <a:solidFill>
                      <a:schemeClr val="bg1"/>
                    </a:solidFill>
                    <a:latin typeface="Segoe UI Light"/>
                  </a:rPr>
                  <a:t>Web</a:t>
                </a:r>
                <a:endParaRPr lang="en-US" sz="980" kern="0" dirty="0">
                  <a:solidFill>
                    <a:schemeClr val="bg1"/>
                  </a:solidFill>
                  <a:latin typeface="Segoe UI Light"/>
                  <a:ea typeface="Segoe UI" pitchFamily="34" charset="0"/>
                  <a:cs typeface="Segoe UI" pitchFamily="34" charset="0"/>
                </a:endParaRPr>
              </a:p>
            </p:txBody>
          </p:sp>
          <p:sp>
            <p:nvSpPr>
              <p:cNvPr id="42" name="Rounded Rectangle 18"/>
              <p:cNvSpPr/>
              <p:nvPr/>
            </p:nvSpPr>
            <p:spPr bwMode="auto">
              <a:xfrm>
                <a:off x="1171516" y="5874167"/>
                <a:ext cx="319171" cy="328831"/>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5" rIns="44815" bIns="89630" numCol="1" spcCol="0" rtlCol="0" fromWordArt="0" anchor="b" anchorCtr="0" forceAA="0" compatLnSpc="1">
                <a:prstTxWarp prst="textNoShape">
                  <a:avLst/>
                </a:prstTxWarp>
                <a:noAutofit/>
              </a:bodyPr>
              <a:lstStyle/>
              <a:p>
                <a:pPr defTabSz="895972"/>
                <a:endParaRPr lang="en-US" sz="980" kern="0" spc="-49" dirty="0">
                  <a:solidFill>
                    <a:schemeClr val="bg1"/>
                  </a:solidFill>
                  <a:latin typeface="Segoe UI Light"/>
                  <a:ea typeface="Segoe UI" pitchFamily="34" charset="0"/>
                  <a:cs typeface="Segoe UI" pitchFamily="34" charset="0"/>
                </a:endParaRPr>
              </a:p>
            </p:txBody>
          </p:sp>
          <p:sp>
            <p:nvSpPr>
              <p:cNvPr id="43" name="Rectangle 42"/>
              <p:cNvSpPr/>
              <p:nvPr>
                <p:custDataLst>
                  <p:tags r:id="rId7"/>
                </p:custDataLst>
              </p:nvPr>
            </p:nvSpPr>
            <p:spPr bwMode="auto">
              <a:xfrm>
                <a:off x="1867819" y="3787522"/>
                <a:ext cx="1048256" cy="93477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5" rIns="67222" bIns="44815" numCol="1" spcCol="0" rtlCol="0" fromWordArt="0" anchor="b" anchorCtr="0" forceAA="0" compatLnSpc="1">
                <a:prstTxWarp prst="textNoShape">
                  <a:avLst/>
                </a:prstTxWarp>
                <a:noAutofit/>
              </a:bodyPr>
              <a:lstStyle/>
              <a:p>
                <a:pPr defTabSz="913980">
                  <a:lnSpc>
                    <a:spcPct val="90000"/>
                  </a:lnSpc>
                </a:pPr>
                <a:r>
                  <a:rPr lang="en-US" sz="980" kern="0" dirty="0">
                    <a:ln>
                      <a:solidFill>
                        <a:srgbClr val="505050">
                          <a:alpha val="0"/>
                        </a:srgbClr>
                      </a:solidFill>
                    </a:ln>
                    <a:solidFill>
                      <a:schemeClr val="bg1"/>
                    </a:solidFill>
                    <a:latin typeface="Segoe UI Light"/>
                  </a:rPr>
                  <a:t>Social</a:t>
                </a:r>
                <a:endParaRPr lang="en-US" sz="980" kern="0" dirty="0">
                  <a:solidFill>
                    <a:schemeClr val="bg1"/>
                  </a:solidFill>
                  <a:latin typeface="Segoe UI Light"/>
                  <a:ea typeface="Segoe UI" pitchFamily="34" charset="0"/>
                  <a:cs typeface="Segoe UI" pitchFamily="34" charset="0"/>
                </a:endParaRPr>
              </a:p>
            </p:txBody>
          </p:sp>
          <p:sp>
            <p:nvSpPr>
              <p:cNvPr id="44" name="Freeform 5"/>
              <p:cNvSpPr>
                <a:spLocks noEditPoints="1"/>
              </p:cNvSpPr>
              <p:nvPr/>
            </p:nvSpPr>
            <p:spPr bwMode="auto">
              <a:xfrm>
                <a:off x="2159934" y="3936523"/>
                <a:ext cx="350539" cy="294063"/>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761872"/>
                <a:endParaRPr lang="en-US" sz="980" kern="0" dirty="0">
                  <a:solidFill>
                    <a:schemeClr val="bg1"/>
                  </a:solidFill>
                  <a:latin typeface="Segoe UI Light"/>
                </a:endParaRPr>
              </a:p>
            </p:txBody>
          </p:sp>
          <p:sp>
            <p:nvSpPr>
              <p:cNvPr id="45" name="Rectangle 44"/>
              <p:cNvSpPr/>
              <p:nvPr>
                <p:custDataLst>
                  <p:tags r:id="rId8"/>
                </p:custDataLst>
              </p:nvPr>
            </p:nvSpPr>
            <p:spPr bwMode="auto">
              <a:xfrm>
                <a:off x="1867818" y="6710767"/>
                <a:ext cx="1048257" cy="93477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5" rIns="67222" bIns="44815" numCol="1" spcCol="0" rtlCol="0" fromWordArt="0" anchor="b" anchorCtr="0" forceAA="0" compatLnSpc="1">
                <a:prstTxWarp prst="textNoShape">
                  <a:avLst/>
                </a:prstTxWarp>
                <a:noAutofit/>
              </a:bodyPr>
              <a:lstStyle/>
              <a:p>
                <a:pPr defTabSz="913980">
                  <a:lnSpc>
                    <a:spcPct val="90000"/>
                  </a:lnSpc>
                </a:pPr>
                <a:r>
                  <a:rPr lang="en-US" sz="980" kern="0" dirty="0">
                    <a:ln>
                      <a:solidFill>
                        <a:srgbClr val="505050">
                          <a:alpha val="0"/>
                        </a:srgbClr>
                      </a:solidFill>
                    </a:ln>
                    <a:solidFill>
                      <a:schemeClr val="bg1"/>
                    </a:solidFill>
                    <a:latin typeface="Segoe UI Light"/>
                  </a:rPr>
                  <a:t>Clickstream</a:t>
                </a:r>
                <a:endParaRPr lang="en-US" sz="980" kern="0" dirty="0">
                  <a:solidFill>
                    <a:schemeClr val="bg1"/>
                  </a:solidFill>
                  <a:latin typeface="Segoe UI Light"/>
                  <a:ea typeface="Segoe UI" pitchFamily="34" charset="0"/>
                  <a:cs typeface="Segoe UI" pitchFamily="34" charset="0"/>
                </a:endParaRPr>
              </a:p>
            </p:txBody>
          </p:sp>
          <p:sp>
            <p:nvSpPr>
              <p:cNvPr id="46" name="Freeform 45"/>
              <p:cNvSpPr>
                <a:spLocks noChangeAspect="1"/>
              </p:cNvSpPr>
              <p:nvPr/>
            </p:nvSpPr>
            <p:spPr bwMode="auto">
              <a:xfrm>
                <a:off x="2131166" y="6836050"/>
                <a:ext cx="408075" cy="411311"/>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80">
                  <a:lnSpc>
                    <a:spcPct val="90000"/>
                  </a:lnSpc>
                </a:pPr>
                <a:endParaRPr lang="en-US" sz="980" kern="0" dirty="0">
                  <a:solidFill>
                    <a:schemeClr val="bg1"/>
                  </a:solidFill>
                  <a:latin typeface="Segoe UI Light"/>
                  <a:ea typeface="Segoe UI" pitchFamily="34" charset="0"/>
                  <a:cs typeface="Segoe UI" pitchFamily="34" charset="0"/>
                </a:endParaRPr>
              </a:p>
            </p:txBody>
          </p:sp>
        </p:grpSp>
        <p:sp>
          <p:nvSpPr>
            <p:cNvPr id="28" name="Rectangle 27"/>
            <p:cNvSpPr/>
            <p:nvPr/>
          </p:nvSpPr>
          <p:spPr>
            <a:xfrm>
              <a:off x="5115927" y="4642708"/>
              <a:ext cx="1970993" cy="485981"/>
            </a:xfrm>
            <a:prstGeom prst="rect">
              <a:avLst/>
            </a:prstGeom>
            <a:ln>
              <a:noFill/>
            </a:ln>
          </p:spPr>
          <p:txBody>
            <a:bodyPr wrap="none">
              <a:spAutoFit/>
            </a:bodyPr>
            <a:lstStyle/>
            <a:p>
              <a:pPr defTabSz="761872"/>
              <a:r>
                <a:rPr lang="en-US" sz="2666" kern="0" spc="-29" dirty="0">
                  <a:latin typeface="Segoe UI Semilight" panose="020B0402040204020203" pitchFamily="34" charset="0"/>
                  <a:ea typeface="MS PGothic" panose="020B0600070205080204" pitchFamily="34" charset="-128"/>
                  <a:cs typeface="Segoe UI Semilight" panose="020B0402040204020203" pitchFamily="34" charset="0"/>
                </a:rPr>
                <a:t> Data Lake</a:t>
              </a:r>
              <a:endParaRPr lang="en-US" sz="2666" kern="0" dirty="0">
                <a:ea typeface="MS PGothic" panose="020B0600070205080204" pitchFamily="34" charset="-128"/>
              </a:endParaRPr>
            </a:p>
          </p:txBody>
        </p:sp>
      </p:grpSp>
    </p:spTree>
    <p:extLst>
      <p:ext uri="{BB962C8B-B14F-4D97-AF65-F5344CB8AC3E}">
        <p14:creationId xmlns:p14="http://schemas.microsoft.com/office/powerpoint/2010/main" val="278897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31947" y="1714500"/>
            <a:ext cx="11328106" cy="3810000"/>
            <a:chOff x="579474" y="3009900"/>
            <a:chExt cx="13593727" cy="4572000"/>
          </a:xfrm>
        </p:grpSpPr>
        <p:sp>
          <p:nvSpPr>
            <p:cNvPr id="4" name="Title 1"/>
            <p:cNvSpPr txBox="1">
              <a:spLocks/>
            </p:cNvSpPr>
            <p:nvPr/>
          </p:nvSpPr>
          <p:spPr>
            <a:xfrm>
              <a:off x="632638" y="3286126"/>
              <a:ext cx="13540563" cy="1781176"/>
            </a:xfrm>
            <a:prstGeom prst="rect">
              <a:avLst/>
            </a:prstGeom>
            <a:noFill/>
          </p:spPr>
          <p:txBody>
            <a:bodyPr vert="horz" lIns="76200" tIns="38100" rIns="76200" bIns="38100"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marL="0" marR="0" lvl="0" indent="0" algn="l" defTabSz="1097280" rtl="0" eaLnBrk="1" fontAlgn="auto" latinLnBrk="0" hangingPunct="1">
                <a:lnSpc>
                  <a:spcPct val="90000"/>
                </a:lnSpc>
                <a:spcBef>
                  <a:spcPct val="0"/>
                </a:spcBef>
                <a:spcAft>
                  <a:spcPts val="0"/>
                </a:spcAft>
                <a:buClrTx/>
                <a:buSzTx/>
                <a:buFontTx/>
                <a:buNone/>
                <a:tabLst/>
                <a:defRPr/>
              </a:pPr>
              <a:r>
                <a:rPr kumimoji="0" lang="en-US" sz="2667" b="0" i="0" u="none" strike="noStrike" kern="1200" cap="none" spc="0" normalizeH="0" baseline="0" noProof="0" dirty="0">
                  <a:ln>
                    <a:noFill/>
                  </a:ln>
                  <a:solidFill>
                    <a:schemeClr val="tx2"/>
                  </a:solidFill>
                  <a:effectLst/>
                  <a:uLnTx/>
                  <a:uFillTx/>
                  <a:latin typeface="+mj-lt"/>
                  <a:ea typeface="+mj-ea"/>
                  <a:cs typeface="+mj-cs"/>
                </a:rPr>
                <a:t>Analytics</a:t>
              </a:r>
            </a:p>
          </p:txBody>
        </p:sp>
        <p:sp>
          <p:nvSpPr>
            <p:cNvPr id="5" name="Title 1"/>
            <p:cNvSpPr txBox="1">
              <a:spLocks/>
            </p:cNvSpPr>
            <p:nvPr/>
          </p:nvSpPr>
          <p:spPr>
            <a:xfrm>
              <a:off x="579474" y="5524500"/>
              <a:ext cx="13540563" cy="1781175"/>
            </a:xfrm>
            <a:prstGeom prst="rect">
              <a:avLst/>
            </a:prstGeom>
            <a:noFill/>
          </p:spPr>
          <p:txBody>
            <a:bodyPr vert="horz" lIns="76200" tIns="38100" rIns="76200" bIns="38100" rtlCol="0" anchor="ctr">
              <a:normAutofit/>
            </a:bodyPr>
            <a:lstStyle>
              <a:defPPr>
                <a:defRPr lang="en-US"/>
              </a:defPPr>
              <a:lvl1pPr marR="0" lvl="0" indent="0" fontAlgn="auto">
                <a:lnSpc>
                  <a:spcPct val="90000"/>
                </a:lnSpc>
                <a:spcBef>
                  <a:spcPct val="0"/>
                </a:spcBef>
                <a:spcAft>
                  <a:spcPts val="0"/>
                </a:spcAft>
                <a:buClrTx/>
                <a:buSzTx/>
                <a:buFontTx/>
                <a:buNone/>
                <a:tabLst/>
                <a:defRPr kumimoji="0" sz="3200" b="0" i="0" u="none" strike="noStrike" cap="none" spc="0" normalizeH="0" baseline="0">
                  <a:ln>
                    <a:noFill/>
                  </a:ln>
                  <a:solidFill>
                    <a:prstClr val="white"/>
                  </a:solidFill>
                  <a:effectLst/>
                  <a:uLnTx/>
                  <a:uFillTx/>
                  <a:latin typeface="Segoe UI Light"/>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2667" b="0" i="0" u="none" strike="noStrike" kern="0" cap="none" spc="0" normalizeH="0" baseline="0" noProof="0" dirty="0">
                  <a:ln>
                    <a:noFill/>
                  </a:ln>
                  <a:solidFill>
                    <a:schemeClr val="tx2"/>
                  </a:solidFill>
                  <a:effectLst/>
                  <a:uLnTx/>
                  <a:uFillTx/>
                  <a:latin typeface="Segoe UI Light"/>
                  <a:ea typeface="+mj-ea"/>
                  <a:cs typeface="+mj-cs"/>
                </a:rPr>
                <a:t>Storage</a:t>
              </a:r>
            </a:p>
          </p:txBody>
        </p:sp>
        <p:sp>
          <p:nvSpPr>
            <p:cNvPr id="6" name="Title 1"/>
            <p:cNvSpPr txBox="1">
              <a:spLocks/>
            </p:cNvSpPr>
            <p:nvPr/>
          </p:nvSpPr>
          <p:spPr>
            <a:xfrm>
              <a:off x="3685422" y="3286126"/>
              <a:ext cx="4417120" cy="1781176"/>
            </a:xfrm>
            <a:prstGeom prst="rect">
              <a:avLst/>
            </a:prstGeom>
            <a:solidFill>
              <a:srgbClr val="002060"/>
            </a:solidFill>
            <a:effectLst/>
          </p:spPr>
          <p:txBody>
            <a:bodyPr vert="horz" lIns="76200" tIns="38100" rIns="76200" bIns="38100"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marL="0" marR="0" lvl="0" indent="0" algn="ctr" defTabSz="1097280" rtl="0" eaLnBrk="1" fontAlgn="auto" latinLnBrk="0" hangingPunct="1">
                <a:lnSpc>
                  <a:spcPct val="90000"/>
                </a:lnSpc>
                <a:spcBef>
                  <a:spcPct val="0"/>
                </a:spcBef>
                <a:spcAft>
                  <a:spcPts val="0"/>
                </a:spcAft>
                <a:buClrTx/>
                <a:buSzTx/>
                <a:buFontTx/>
                <a:buNone/>
                <a:tabLst/>
                <a:defRPr/>
              </a:pPr>
              <a:r>
                <a:rPr kumimoji="0" lang="en-US" sz="2333" b="0" i="0" u="none" strike="noStrike" kern="1200" cap="none" spc="0" normalizeH="0" baseline="0" noProof="0" dirty="0">
                  <a:ln>
                    <a:noFill/>
                  </a:ln>
                  <a:solidFill>
                    <a:prstClr val="white"/>
                  </a:solidFill>
                  <a:effectLst/>
                  <a:uLnTx/>
                  <a:uFillTx/>
                  <a:latin typeface="+mj-lt"/>
                  <a:ea typeface="+mj-ea"/>
                  <a:cs typeface="+mj-cs"/>
                </a:rPr>
                <a:t>HDInsight</a:t>
              </a:r>
            </a:p>
            <a:p>
              <a:pPr marL="0" marR="0" lvl="0" indent="0" algn="ctr" defTabSz="1097280" rtl="0" eaLnBrk="1" fontAlgn="auto" latinLnBrk="0" hangingPunct="1">
                <a:lnSpc>
                  <a:spcPct val="90000"/>
                </a:lnSpc>
                <a:spcBef>
                  <a:spcPct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mj-lt"/>
                  <a:ea typeface="+mj-ea"/>
                  <a:cs typeface="+mj-cs"/>
                </a:rPr>
                <a:t>(“managed clusters”)</a:t>
              </a:r>
            </a:p>
            <a:p>
              <a:pPr marL="0" marR="0" lvl="0" indent="0" algn="ctr" defTabSz="1097280" rtl="0" eaLnBrk="1" fontAlgn="auto" latinLnBrk="0" hangingPunct="1">
                <a:lnSpc>
                  <a:spcPct val="90000"/>
                </a:lnSpc>
                <a:spcBef>
                  <a:spcPct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mj-lt"/>
                <a:ea typeface="+mj-ea"/>
                <a:cs typeface="+mj-cs"/>
              </a:endParaRPr>
            </a:p>
            <a:p>
              <a:pPr marL="0" marR="0" lvl="0" indent="0" algn="ctr" defTabSz="1097280" rtl="0" eaLnBrk="1" fontAlgn="auto" latinLnBrk="0" hangingPunct="1">
                <a:lnSpc>
                  <a:spcPct val="90000"/>
                </a:lnSpc>
                <a:spcBef>
                  <a:spcPct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mj-lt"/>
                <a:ea typeface="+mj-ea"/>
                <a:cs typeface="+mj-cs"/>
              </a:endParaRPr>
            </a:p>
          </p:txBody>
        </p:sp>
        <p:sp>
          <p:nvSpPr>
            <p:cNvPr id="7" name="Title 1"/>
            <p:cNvSpPr txBox="1">
              <a:spLocks/>
            </p:cNvSpPr>
            <p:nvPr/>
          </p:nvSpPr>
          <p:spPr>
            <a:xfrm>
              <a:off x="8486022" y="3286126"/>
              <a:ext cx="4417120" cy="1781176"/>
            </a:xfrm>
            <a:prstGeom prst="rect">
              <a:avLst/>
            </a:prstGeom>
            <a:solidFill>
              <a:srgbClr val="002060"/>
            </a:solidFill>
            <a:effectLst/>
          </p:spPr>
          <p:txBody>
            <a:bodyPr vert="horz" lIns="76200" tIns="38100" rIns="76200" bIns="38100"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marL="0" marR="0" lvl="0" indent="0" algn="ctr" defTabSz="1097280" rtl="0" eaLnBrk="1" fontAlgn="auto" latinLnBrk="0" hangingPunct="1">
                <a:lnSpc>
                  <a:spcPct val="90000"/>
                </a:lnSpc>
                <a:spcBef>
                  <a:spcPct val="0"/>
                </a:spcBef>
                <a:spcAft>
                  <a:spcPts val="0"/>
                </a:spcAft>
                <a:buClrTx/>
                <a:buSzTx/>
                <a:buFontTx/>
                <a:buNone/>
                <a:tabLst/>
                <a:defRPr/>
              </a:pPr>
              <a:r>
                <a:rPr kumimoji="0" lang="en-US" sz="2333" b="0" i="0" u="none" strike="noStrike" kern="1200" cap="none" spc="0" normalizeH="0" baseline="0" noProof="0" dirty="0">
                  <a:ln>
                    <a:noFill/>
                  </a:ln>
                  <a:solidFill>
                    <a:prstClr val="white"/>
                  </a:solidFill>
                  <a:effectLst/>
                  <a:uLnTx/>
                  <a:uFillTx/>
                  <a:latin typeface="+mj-lt"/>
                  <a:ea typeface="+mj-ea"/>
                  <a:cs typeface="+mj-cs"/>
                </a:rPr>
                <a:t>Azure Data Lake </a:t>
              </a:r>
              <a:r>
                <a:rPr kumimoji="0" lang="en-US" sz="2333" b="0" i="0" u="none" strike="noStrike" kern="1200" cap="none" spc="0" normalizeH="0" baseline="0" noProof="0" dirty="0">
                  <a:ln>
                    <a:noFill/>
                  </a:ln>
                  <a:solidFill>
                    <a:prstClr val="white"/>
                  </a:solidFill>
                  <a:effectLst/>
                  <a:uLnTx/>
                  <a:uFillTx/>
                  <a:latin typeface="Segoe UI Semibold" panose="020B0702040204020203" pitchFamily="34" charset="0"/>
                  <a:ea typeface="+mj-ea"/>
                  <a:cs typeface="Segoe UI Semibold" panose="020B0702040204020203" pitchFamily="34" charset="0"/>
                </a:rPr>
                <a:t>Analytics</a:t>
              </a:r>
            </a:p>
            <a:p>
              <a:pPr marL="0" marR="0" lvl="0" indent="0" algn="ctr" defTabSz="1097280" rtl="0" eaLnBrk="1" fontAlgn="auto" latinLnBrk="0" hangingPunct="1">
                <a:lnSpc>
                  <a:spcPct val="90000"/>
                </a:lnSpc>
                <a:spcBef>
                  <a:spcPct val="0"/>
                </a:spcBef>
                <a:spcAft>
                  <a:spcPts val="0"/>
                </a:spcAft>
                <a:buClrTx/>
                <a:buSzTx/>
                <a:buFontTx/>
                <a:buNone/>
                <a:tabLst/>
                <a:defRPr/>
              </a:pPr>
              <a:endParaRPr kumimoji="0" lang="en-US" sz="2333" b="0" i="0" u="none" strike="noStrike" kern="1200" cap="none" spc="0" normalizeH="0" baseline="0" noProof="0" dirty="0">
                <a:ln>
                  <a:noFill/>
                </a:ln>
                <a:solidFill>
                  <a:prstClr val="white"/>
                </a:solidFill>
                <a:effectLst/>
                <a:uLnTx/>
                <a:uFillTx/>
                <a:latin typeface="Segoe UI Semibold" panose="020B0702040204020203" pitchFamily="34" charset="0"/>
                <a:ea typeface="+mj-ea"/>
                <a:cs typeface="Segoe UI Semibold" panose="020B0702040204020203" pitchFamily="34" charset="0"/>
              </a:endParaRPr>
            </a:p>
            <a:p>
              <a:pPr marL="0" marR="0" lvl="0" indent="0" algn="ctr" defTabSz="1097280" rtl="0" eaLnBrk="1" fontAlgn="auto" latinLnBrk="0" hangingPunct="1">
                <a:lnSpc>
                  <a:spcPct val="90000"/>
                </a:lnSpc>
                <a:spcBef>
                  <a:spcPct val="0"/>
                </a:spcBef>
                <a:spcAft>
                  <a:spcPts val="0"/>
                </a:spcAft>
                <a:buClrTx/>
                <a:buSzTx/>
                <a:buFontTx/>
                <a:buNone/>
                <a:tabLst/>
                <a:defRPr/>
              </a:pPr>
              <a:endParaRPr kumimoji="0" lang="en-US" sz="2333" b="0" i="0" u="none" strike="noStrike" kern="1200" cap="none" spc="0" normalizeH="0" baseline="0" noProof="0" dirty="0">
                <a:ln>
                  <a:noFill/>
                </a:ln>
                <a:solidFill>
                  <a:prstClr val="white"/>
                </a:solidFill>
                <a:effectLst/>
                <a:uLnTx/>
                <a:uFillTx/>
                <a:latin typeface="Segoe UI Semibold" panose="020B0702040204020203" pitchFamily="34" charset="0"/>
                <a:ea typeface="+mj-ea"/>
                <a:cs typeface="Segoe UI Semibold" panose="020B0702040204020203" pitchFamily="34" charset="0"/>
              </a:endParaRPr>
            </a:p>
          </p:txBody>
        </p:sp>
        <p:sp>
          <p:nvSpPr>
            <p:cNvPr id="9" name="Title 1"/>
            <p:cNvSpPr txBox="1">
              <a:spLocks/>
            </p:cNvSpPr>
            <p:nvPr/>
          </p:nvSpPr>
          <p:spPr>
            <a:xfrm>
              <a:off x="6400800" y="5524499"/>
              <a:ext cx="4417120" cy="1781176"/>
            </a:xfrm>
            <a:prstGeom prst="rect">
              <a:avLst/>
            </a:prstGeom>
            <a:solidFill>
              <a:srgbClr val="7030A0"/>
            </a:solidFill>
            <a:effectLst/>
          </p:spPr>
          <p:txBody>
            <a:bodyPr vert="horz" lIns="76200" tIns="38100" rIns="76200" bIns="38100"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marL="0" marR="0" lvl="0" indent="0" algn="ctr" defTabSz="1097280" rtl="0" eaLnBrk="1" fontAlgn="auto" latinLnBrk="0" hangingPunct="1">
                <a:lnSpc>
                  <a:spcPct val="90000"/>
                </a:lnSpc>
                <a:spcBef>
                  <a:spcPct val="0"/>
                </a:spcBef>
                <a:spcAft>
                  <a:spcPts val="0"/>
                </a:spcAft>
                <a:buClrTx/>
                <a:buSzTx/>
                <a:buFontTx/>
                <a:buNone/>
                <a:tabLst/>
                <a:defRPr/>
              </a:pPr>
              <a:r>
                <a:rPr kumimoji="0" lang="en-US" sz="2333" b="0" i="0" u="none" strike="noStrike" kern="1200" cap="none" spc="0" normalizeH="0" baseline="0" noProof="0" dirty="0">
                  <a:ln>
                    <a:noFill/>
                  </a:ln>
                  <a:solidFill>
                    <a:prstClr val="white"/>
                  </a:solidFill>
                  <a:effectLst/>
                  <a:uLnTx/>
                  <a:uFillTx/>
                  <a:latin typeface="+mj-lt"/>
                  <a:ea typeface="+mj-ea"/>
                  <a:cs typeface="+mj-cs"/>
                </a:rPr>
                <a:t>Azure Data Lake </a:t>
              </a:r>
              <a:r>
                <a:rPr kumimoji="0" lang="en-US" sz="2333" b="0" i="0" u="none" strike="noStrike" kern="1200" cap="none" spc="0" normalizeH="0" baseline="0" noProof="0" dirty="0">
                  <a:ln>
                    <a:noFill/>
                  </a:ln>
                  <a:solidFill>
                    <a:prstClr val="white"/>
                  </a:solidFill>
                  <a:effectLst/>
                  <a:uLnTx/>
                  <a:uFillTx/>
                  <a:latin typeface="Segoe UI Semibold" panose="020B0702040204020203" pitchFamily="34" charset="0"/>
                  <a:ea typeface="+mj-ea"/>
                  <a:cs typeface="Segoe UI Semibold" panose="020B0702040204020203" pitchFamily="34" charset="0"/>
                </a:rPr>
                <a:t>Storage</a:t>
              </a:r>
            </a:p>
            <a:p>
              <a:pPr marL="0" marR="0" lvl="0" indent="0" algn="ctr" defTabSz="1097280" rtl="0" eaLnBrk="1" fontAlgn="auto" latinLnBrk="0" hangingPunct="1">
                <a:lnSpc>
                  <a:spcPct val="90000"/>
                </a:lnSpc>
                <a:spcBef>
                  <a:spcPct val="0"/>
                </a:spcBef>
                <a:spcAft>
                  <a:spcPts val="0"/>
                </a:spcAft>
                <a:buClrTx/>
                <a:buSzTx/>
                <a:buFontTx/>
                <a:buNone/>
                <a:tabLst/>
                <a:defRPr/>
              </a:pPr>
              <a:endParaRPr kumimoji="0" lang="en-US" sz="2333" b="0" i="0" u="none" strike="noStrike" kern="1200" cap="none" spc="0" normalizeH="0" baseline="0" noProof="0" dirty="0">
                <a:ln>
                  <a:noFill/>
                </a:ln>
                <a:solidFill>
                  <a:prstClr val="white"/>
                </a:solidFill>
                <a:effectLst/>
                <a:uLnTx/>
                <a:uFillTx/>
                <a:latin typeface="Segoe UI Semibold" panose="020B0702040204020203" pitchFamily="34" charset="0"/>
                <a:ea typeface="+mj-ea"/>
                <a:cs typeface="Segoe UI Semibold" panose="020B0702040204020203" pitchFamily="34" charset="0"/>
              </a:endParaRPr>
            </a:p>
            <a:p>
              <a:pPr marL="0" marR="0" lvl="0" indent="0" algn="ctr" defTabSz="1097280" rtl="0" eaLnBrk="1" fontAlgn="auto" latinLnBrk="0" hangingPunct="1">
                <a:lnSpc>
                  <a:spcPct val="90000"/>
                </a:lnSpc>
                <a:spcBef>
                  <a:spcPct val="0"/>
                </a:spcBef>
                <a:spcAft>
                  <a:spcPts val="0"/>
                </a:spcAft>
                <a:buClrTx/>
                <a:buSzTx/>
                <a:buFontTx/>
                <a:buNone/>
                <a:tabLst/>
                <a:defRPr/>
              </a:pPr>
              <a:endParaRPr kumimoji="0" lang="en-US" sz="2333" b="0" i="0" u="none" strike="noStrike" kern="1200" cap="none" spc="0" normalizeH="0" baseline="0" noProof="0" dirty="0">
                <a:ln>
                  <a:noFill/>
                </a:ln>
                <a:solidFill>
                  <a:prstClr val="white"/>
                </a:solidFill>
                <a:effectLst/>
                <a:uLnTx/>
                <a:uFillTx/>
                <a:latin typeface="Segoe UI Semibold" panose="020B0702040204020203" pitchFamily="34" charset="0"/>
                <a:ea typeface="+mj-ea"/>
                <a:cs typeface="Segoe UI Semibold" panose="020B0702040204020203" pitchFamily="34" charset="0"/>
              </a:endParaRPr>
            </a:p>
          </p:txBody>
        </p:sp>
        <p:sp>
          <p:nvSpPr>
            <p:cNvPr id="10" name="Rectangle 9"/>
            <p:cNvSpPr/>
            <p:nvPr/>
          </p:nvSpPr>
          <p:spPr>
            <a:xfrm>
              <a:off x="3430552" y="3009900"/>
              <a:ext cx="10056848" cy="4572000"/>
            </a:xfrm>
            <a:prstGeom prst="rect">
              <a:avLst/>
            </a:prstGeom>
            <a:noFill/>
            <a:ln w="76200">
              <a:solidFill>
                <a:schemeClr val="bg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white"/>
                </a:solidFill>
                <a:effectLst/>
                <a:uLnTx/>
                <a:uFillTx/>
              </a:endParaRPr>
            </a:p>
          </p:txBody>
        </p:sp>
        <p:sp>
          <p:nvSpPr>
            <p:cNvPr id="11" name="Left Brace 10"/>
            <p:cNvSpPr/>
            <p:nvPr/>
          </p:nvSpPr>
          <p:spPr>
            <a:xfrm>
              <a:off x="2514600" y="3286125"/>
              <a:ext cx="685800" cy="1781175"/>
            </a:xfrm>
            <a:prstGeom prst="leftBrace">
              <a:avLst>
                <a:gd name="adj1" fmla="val 53049"/>
                <a:gd name="adj2" fmla="val 50000"/>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2"/>
                </a:solidFill>
                <a:effectLst/>
                <a:uLnTx/>
                <a:uFillTx/>
              </a:endParaRPr>
            </a:p>
          </p:txBody>
        </p:sp>
        <p:sp>
          <p:nvSpPr>
            <p:cNvPr id="13" name="Left Brace 12"/>
            <p:cNvSpPr/>
            <p:nvPr/>
          </p:nvSpPr>
          <p:spPr>
            <a:xfrm>
              <a:off x="2514600" y="5524499"/>
              <a:ext cx="685800" cy="1781175"/>
            </a:xfrm>
            <a:prstGeom prst="leftBrace">
              <a:avLst>
                <a:gd name="adj1" fmla="val 53049"/>
                <a:gd name="adj2" fmla="val 50000"/>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2"/>
                </a:solidFill>
                <a:effectLst/>
                <a:uLnTx/>
                <a:uFillTx/>
              </a:endParaRPr>
            </a:p>
          </p:txBody>
        </p:sp>
      </p:gr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52820" y="2560573"/>
            <a:ext cx="822329" cy="822329"/>
          </a:xfrm>
          <a:prstGeom prst="rect">
            <a:avLst/>
          </a:prstGeom>
        </p:spPr>
      </p:pic>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0019" y="2738286"/>
            <a:ext cx="755255" cy="546908"/>
          </a:xfrm>
          <a:prstGeom prst="rect">
            <a:avLst/>
          </a:prstGeom>
        </p:spPr>
      </p:pic>
      <p:grpSp>
        <p:nvGrpSpPr>
          <p:cNvPr id="12" name="Group 11"/>
          <p:cNvGrpSpPr/>
          <p:nvPr/>
        </p:nvGrpSpPr>
        <p:grpSpPr>
          <a:xfrm>
            <a:off x="6628173" y="4396043"/>
            <a:ext cx="990690" cy="752305"/>
            <a:chOff x="6628173" y="4396043"/>
            <a:chExt cx="990690" cy="752305"/>
          </a:xfrm>
        </p:grpSpPr>
        <p:sp>
          <p:nvSpPr>
            <p:cNvPr id="18" name="Freeform 17"/>
            <p:cNvSpPr/>
            <p:nvPr/>
          </p:nvSpPr>
          <p:spPr bwMode="auto">
            <a:xfrm>
              <a:off x="6628173" y="4396043"/>
              <a:ext cx="990690" cy="752305"/>
            </a:xfrm>
            <a:custGeom>
              <a:avLst/>
              <a:gdLst>
                <a:gd name="connsiteX0" fmla="*/ 6673 w 990690"/>
                <a:gd name="connsiteY0" fmla="*/ 147731 h 752305"/>
                <a:gd name="connsiteX1" fmla="*/ 984017 w 990690"/>
                <a:gd name="connsiteY1" fmla="*/ 147731 h 752305"/>
                <a:gd name="connsiteX2" fmla="*/ 990312 w 990690"/>
                <a:gd name="connsiteY2" fmla="*/ 153489 h 752305"/>
                <a:gd name="connsiteX3" fmla="*/ 990357 w 990690"/>
                <a:gd name="connsiteY3" fmla="*/ 153489 h 752305"/>
                <a:gd name="connsiteX4" fmla="*/ 990400 w 990690"/>
                <a:gd name="connsiteY4" fmla="*/ 153702 h 752305"/>
                <a:gd name="connsiteX5" fmla="*/ 990690 w 990690"/>
                <a:gd name="connsiteY5" fmla="*/ 154404 h 752305"/>
                <a:gd name="connsiteX6" fmla="*/ 990690 w 990690"/>
                <a:gd name="connsiteY6" fmla="*/ 155142 h 752305"/>
                <a:gd name="connsiteX7" fmla="*/ 990690 w 990690"/>
                <a:gd name="connsiteY7" fmla="*/ 167750 h 752305"/>
                <a:gd name="connsiteX8" fmla="*/ 990690 w 990690"/>
                <a:gd name="connsiteY8" fmla="*/ 730287 h 752305"/>
                <a:gd name="connsiteX9" fmla="*/ 968672 w 990690"/>
                <a:gd name="connsiteY9" fmla="*/ 752305 h 752305"/>
                <a:gd name="connsiteX10" fmla="*/ 22018 w 990690"/>
                <a:gd name="connsiteY10" fmla="*/ 752305 h 752305"/>
                <a:gd name="connsiteX11" fmla="*/ 0 w 990690"/>
                <a:gd name="connsiteY11" fmla="*/ 730287 h 752305"/>
                <a:gd name="connsiteX12" fmla="*/ 0 w 990690"/>
                <a:gd name="connsiteY12" fmla="*/ 167750 h 752305"/>
                <a:gd name="connsiteX13" fmla="*/ 0 w 990690"/>
                <a:gd name="connsiteY13" fmla="*/ 155142 h 752305"/>
                <a:gd name="connsiteX14" fmla="*/ 0 w 990690"/>
                <a:gd name="connsiteY14" fmla="*/ 154404 h 752305"/>
                <a:gd name="connsiteX15" fmla="*/ 291 w 990690"/>
                <a:gd name="connsiteY15" fmla="*/ 153701 h 752305"/>
                <a:gd name="connsiteX16" fmla="*/ 334 w 990690"/>
                <a:gd name="connsiteY16" fmla="*/ 153489 h 752305"/>
                <a:gd name="connsiteX17" fmla="*/ 379 w 990690"/>
                <a:gd name="connsiteY17" fmla="*/ 153489 h 752305"/>
                <a:gd name="connsiteX18" fmla="*/ 6673 w 990690"/>
                <a:gd name="connsiteY18" fmla="*/ 147731 h 752305"/>
                <a:gd name="connsiteX19" fmla="*/ 109998 w 990690"/>
                <a:gd name="connsiteY19" fmla="*/ 0 h 752305"/>
                <a:gd name="connsiteX20" fmla="*/ 413872 w 990690"/>
                <a:gd name="connsiteY20" fmla="*/ 0 h 752305"/>
                <a:gd name="connsiteX21" fmla="*/ 445368 w 990690"/>
                <a:gd name="connsiteY21" fmla="*/ 31495 h 752305"/>
                <a:gd name="connsiteX22" fmla="*/ 445368 w 990690"/>
                <a:gd name="connsiteY22" fmla="*/ 90138 h 752305"/>
                <a:gd name="connsiteX23" fmla="*/ 937888 w 990690"/>
                <a:gd name="connsiteY23" fmla="*/ 90138 h 752305"/>
                <a:gd name="connsiteX24" fmla="*/ 946904 w 990690"/>
                <a:gd name="connsiteY24" fmla="*/ 99155 h 752305"/>
                <a:gd name="connsiteX25" fmla="*/ 946904 w 990690"/>
                <a:gd name="connsiteY25" fmla="*/ 132850 h 752305"/>
                <a:gd name="connsiteX26" fmla="*/ 44447 w 990690"/>
                <a:gd name="connsiteY26" fmla="*/ 132850 h 752305"/>
                <a:gd name="connsiteX27" fmla="*/ 44447 w 990690"/>
                <a:gd name="connsiteY27" fmla="*/ 99155 h 752305"/>
                <a:gd name="connsiteX28" fmla="*/ 53463 w 990690"/>
                <a:gd name="connsiteY28" fmla="*/ 90138 h 752305"/>
                <a:gd name="connsiteX29" fmla="*/ 78502 w 990690"/>
                <a:gd name="connsiteY29" fmla="*/ 90138 h 752305"/>
                <a:gd name="connsiteX30" fmla="*/ 78502 w 990690"/>
                <a:gd name="connsiteY30" fmla="*/ 31495 h 752305"/>
                <a:gd name="connsiteX31" fmla="*/ 109998 w 990690"/>
                <a:gd name="connsiteY31" fmla="*/ 0 h 75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0690" h="752305">
                  <a:moveTo>
                    <a:pt x="6673" y="147731"/>
                  </a:moveTo>
                  <a:lnTo>
                    <a:pt x="984017" y="147731"/>
                  </a:lnTo>
                  <a:cubicBezTo>
                    <a:pt x="987377" y="147731"/>
                    <a:pt x="990157" y="150214"/>
                    <a:pt x="990312" y="153489"/>
                  </a:cubicBezTo>
                  <a:lnTo>
                    <a:pt x="990357" y="153489"/>
                  </a:lnTo>
                  <a:lnTo>
                    <a:pt x="990400" y="153702"/>
                  </a:lnTo>
                  <a:cubicBezTo>
                    <a:pt x="990677" y="153914"/>
                    <a:pt x="990690" y="154158"/>
                    <a:pt x="990690" y="154404"/>
                  </a:cubicBezTo>
                  <a:lnTo>
                    <a:pt x="990690" y="155142"/>
                  </a:lnTo>
                  <a:lnTo>
                    <a:pt x="990690" y="167750"/>
                  </a:lnTo>
                  <a:lnTo>
                    <a:pt x="990690" y="730287"/>
                  </a:lnTo>
                  <a:cubicBezTo>
                    <a:pt x="990690" y="742447"/>
                    <a:pt x="980832" y="752305"/>
                    <a:pt x="968672" y="752305"/>
                  </a:cubicBezTo>
                  <a:lnTo>
                    <a:pt x="22018" y="752305"/>
                  </a:lnTo>
                  <a:cubicBezTo>
                    <a:pt x="9858" y="752305"/>
                    <a:pt x="0" y="742447"/>
                    <a:pt x="0" y="730287"/>
                  </a:cubicBezTo>
                  <a:lnTo>
                    <a:pt x="0" y="167750"/>
                  </a:lnTo>
                  <a:lnTo>
                    <a:pt x="0" y="155142"/>
                  </a:lnTo>
                  <a:lnTo>
                    <a:pt x="0" y="154404"/>
                  </a:lnTo>
                  <a:lnTo>
                    <a:pt x="291" y="153701"/>
                  </a:lnTo>
                  <a:lnTo>
                    <a:pt x="334" y="153489"/>
                  </a:lnTo>
                  <a:lnTo>
                    <a:pt x="379" y="153489"/>
                  </a:lnTo>
                  <a:cubicBezTo>
                    <a:pt x="533" y="150214"/>
                    <a:pt x="3313" y="147731"/>
                    <a:pt x="6673" y="147731"/>
                  </a:cubicBezTo>
                  <a:close/>
                  <a:moveTo>
                    <a:pt x="109998" y="0"/>
                  </a:moveTo>
                  <a:lnTo>
                    <a:pt x="413872" y="0"/>
                  </a:lnTo>
                  <a:cubicBezTo>
                    <a:pt x="431267" y="0"/>
                    <a:pt x="445368" y="14101"/>
                    <a:pt x="445368" y="31495"/>
                  </a:cubicBezTo>
                  <a:lnTo>
                    <a:pt x="445368" y="90138"/>
                  </a:lnTo>
                  <a:lnTo>
                    <a:pt x="937888" y="90138"/>
                  </a:lnTo>
                  <a:cubicBezTo>
                    <a:pt x="942868" y="90138"/>
                    <a:pt x="946904" y="94175"/>
                    <a:pt x="946904" y="99155"/>
                  </a:cubicBezTo>
                  <a:lnTo>
                    <a:pt x="946904" y="132850"/>
                  </a:lnTo>
                  <a:lnTo>
                    <a:pt x="44447" y="132850"/>
                  </a:lnTo>
                  <a:lnTo>
                    <a:pt x="44447" y="99155"/>
                  </a:lnTo>
                  <a:cubicBezTo>
                    <a:pt x="44447" y="94175"/>
                    <a:pt x="48484" y="90138"/>
                    <a:pt x="53463" y="90138"/>
                  </a:cubicBezTo>
                  <a:lnTo>
                    <a:pt x="78502" y="90138"/>
                  </a:lnTo>
                  <a:lnTo>
                    <a:pt x="78502" y="31495"/>
                  </a:lnTo>
                  <a:cubicBezTo>
                    <a:pt x="78502" y="14101"/>
                    <a:pt x="92603" y="0"/>
                    <a:pt x="10999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9" name="Freeform 18"/>
            <p:cNvSpPr/>
            <p:nvPr/>
          </p:nvSpPr>
          <p:spPr bwMode="auto">
            <a:xfrm rot="12373696">
              <a:off x="7033511" y="4584358"/>
              <a:ext cx="180012" cy="552664"/>
            </a:xfrm>
            <a:custGeom>
              <a:avLst/>
              <a:gdLst>
                <a:gd name="connsiteX0" fmla="*/ 200290 w 285509"/>
                <a:gd name="connsiteY0" fmla="*/ 552664 h 552664"/>
                <a:gd name="connsiteX1" fmla="*/ 118129 w 285509"/>
                <a:gd name="connsiteY1" fmla="*/ 360121 h 552664"/>
                <a:gd name="connsiteX2" fmla="*/ 0 w 285509"/>
                <a:gd name="connsiteY2" fmla="*/ 360121 h 552664"/>
                <a:gd name="connsiteX3" fmla="*/ 109094 w 285509"/>
                <a:gd name="connsiteY3" fmla="*/ 0 h 552664"/>
                <a:gd name="connsiteX4" fmla="*/ 167865 w 285509"/>
                <a:gd name="connsiteY4" fmla="*/ 194005 h 552664"/>
                <a:gd name="connsiteX5" fmla="*/ 285509 w 285509"/>
                <a:gd name="connsiteY5" fmla="*/ 183602 h 552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509" h="552664">
                  <a:moveTo>
                    <a:pt x="200290" y="552664"/>
                  </a:moveTo>
                  <a:lnTo>
                    <a:pt x="118129" y="360121"/>
                  </a:lnTo>
                  <a:lnTo>
                    <a:pt x="0" y="360121"/>
                  </a:lnTo>
                  <a:lnTo>
                    <a:pt x="109094" y="0"/>
                  </a:lnTo>
                  <a:lnTo>
                    <a:pt x="167865" y="194005"/>
                  </a:lnTo>
                  <a:lnTo>
                    <a:pt x="285509" y="183602"/>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20" name="Title 3"/>
          <p:cNvSpPr>
            <a:spLocks noGrp="1"/>
          </p:cNvSpPr>
          <p:nvPr>
            <p:ph type="title"/>
          </p:nvPr>
        </p:nvSpPr>
        <p:spPr>
          <a:xfrm>
            <a:off x="190500" y="142109"/>
            <a:ext cx="11811001" cy="1098758"/>
          </a:xfrm>
        </p:spPr>
        <p:txBody>
          <a:bodyPr>
            <a:normAutofit/>
          </a:bodyPr>
          <a:lstStyle/>
          <a:p>
            <a:r>
              <a:rPr lang="en-US" sz="4499" dirty="0">
                <a:solidFill>
                  <a:srgbClr val="0070C0"/>
                </a:solidFill>
              </a:rPr>
              <a:t>Azure Data Lake</a:t>
            </a:r>
            <a:endParaRPr lang="en-US" dirty="0">
              <a:solidFill>
                <a:srgbClr val="0070C0"/>
              </a:solidFill>
            </a:endParaRPr>
          </a:p>
        </p:txBody>
      </p:sp>
    </p:spTree>
    <p:extLst>
      <p:ext uri="{BB962C8B-B14F-4D97-AF65-F5344CB8AC3E}">
        <p14:creationId xmlns:p14="http://schemas.microsoft.com/office/powerpoint/2010/main" val="33638433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extBox 62"/>
          <p:cNvSpPr txBox="1"/>
          <p:nvPr/>
        </p:nvSpPr>
        <p:spPr>
          <a:xfrm>
            <a:off x="8149009" y="1262063"/>
            <a:ext cx="3608016" cy="5080371"/>
          </a:xfrm>
          <a:prstGeom prst="rect">
            <a:avLst/>
          </a:prstGeom>
          <a:noFill/>
        </p:spPr>
        <p:txBody>
          <a:bodyPr wrap="square" lIns="91440" tIns="146304" rIns="91440" bIns="146304" rtlCol="0">
            <a:noAutofit/>
          </a:bodyPr>
          <a:lstStyle/>
          <a:p>
            <a:pPr marL="339725" indent="-339725" fontAlgn="base">
              <a:spcAft>
                <a:spcPts val="800"/>
              </a:spcAft>
              <a:buClr>
                <a:srgbClr val="50B347"/>
              </a:buClr>
              <a:buSzPct val="100000"/>
              <a:buBlip>
                <a:blip r:embed="rId11"/>
              </a:buBlip>
            </a:pPr>
            <a:r>
              <a:rPr lang="en-US" dirty="0">
                <a:solidFill>
                  <a:srgbClr val="505050"/>
                </a:solidFill>
                <a:ea typeface="Segoe UI" pitchFamily="34" charset="0"/>
                <a:cs typeface="Segoe UI" pitchFamily="34" charset="0"/>
              </a:rPr>
              <a:t>Integrated analytics and storage</a:t>
            </a:r>
          </a:p>
          <a:p>
            <a:pPr marL="339725" indent="-339725" fontAlgn="base">
              <a:spcAft>
                <a:spcPts val="800"/>
              </a:spcAft>
              <a:buClr>
                <a:srgbClr val="50B347"/>
              </a:buClr>
              <a:buSzPct val="100000"/>
              <a:buBlip>
                <a:blip r:embed="rId11"/>
              </a:buBlip>
            </a:pPr>
            <a:r>
              <a:rPr lang="en-US" dirty="0">
                <a:solidFill>
                  <a:srgbClr val="505050"/>
                </a:solidFill>
                <a:ea typeface="Segoe UI" pitchFamily="34" charset="0"/>
                <a:cs typeface="Segoe UI" pitchFamily="34" charset="0"/>
              </a:rPr>
              <a:t>Fully managed</a:t>
            </a:r>
          </a:p>
          <a:p>
            <a:pPr marL="339725" indent="-339725" fontAlgn="base">
              <a:spcAft>
                <a:spcPts val="800"/>
              </a:spcAft>
              <a:buClr>
                <a:srgbClr val="50B347"/>
              </a:buClr>
              <a:buSzPct val="100000"/>
              <a:buBlip>
                <a:blip r:embed="rId11"/>
              </a:buBlip>
            </a:pPr>
            <a:r>
              <a:rPr lang="en-US" dirty="0">
                <a:solidFill>
                  <a:srgbClr val="505050"/>
                </a:solidFill>
                <a:ea typeface="Segoe UI" pitchFamily="34" charset="0"/>
                <a:cs typeface="Segoe UI" pitchFamily="34" charset="0"/>
              </a:rPr>
              <a:t>Easy to use–“dial for scale”</a:t>
            </a:r>
          </a:p>
          <a:p>
            <a:pPr marL="339725" indent="-339725" fontAlgn="base">
              <a:spcAft>
                <a:spcPts val="800"/>
              </a:spcAft>
              <a:buClr>
                <a:srgbClr val="50B347"/>
              </a:buClr>
              <a:buSzPct val="100000"/>
              <a:buBlip>
                <a:blip r:embed="rId11"/>
              </a:buBlip>
            </a:pPr>
            <a:r>
              <a:rPr lang="en-US" dirty="0">
                <a:solidFill>
                  <a:srgbClr val="505050"/>
                </a:solidFill>
                <a:ea typeface="Segoe UI" pitchFamily="34" charset="0"/>
                <a:cs typeface="Segoe UI" pitchFamily="34" charset="0"/>
              </a:rPr>
              <a:t>Proven at scale</a:t>
            </a:r>
          </a:p>
          <a:p>
            <a:pPr marL="339725" indent="-339725" fontAlgn="base">
              <a:spcAft>
                <a:spcPts val="800"/>
              </a:spcAft>
              <a:buClr>
                <a:srgbClr val="50B347"/>
              </a:buClr>
              <a:buSzPct val="100000"/>
              <a:buBlip>
                <a:blip r:embed="rId11"/>
              </a:buBlip>
            </a:pPr>
            <a:r>
              <a:rPr lang="en-US" dirty="0">
                <a:solidFill>
                  <a:srgbClr val="505050"/>
                </a:solidFill>
                <a:ea typeface="Segoe UI" pitchFamily="34" charset="0"/>
                <a:cs typeface="Segoe UI" pitchFamily="34" charset="0"/>
              </a:rPr>
              <a:t>Analyze data of any size, shape</a:t>
            </a:r>
            <a:br>
              <a:rPr lang="en-US" dirty="0">
                <a:solidFill>
                  <a:srgbClr val="505050"/>
                </a:solidFill>
                <a:ea typeface="Segoe UI" pitchFamily="34" charset="0"/>
                <a:cs typeface="Segoe UI" pitchFamily="34" charset="0"/>
              </a:rPr>
            </a:br>
            <a:r>
              <a:rPr lang="en-US" dirty="0">
                <a:solidFill>
                  <a:srgbClr val="505050"/>
                </a:solidFill>
                <a:ea typeface="Segoe UI" pitchFamily="34" charset="0"/>
                <a:cs typeface="Segoe UI" pitchFamily="34" charset="0"/>
              </a:rPr>
              <a:t>or speed</a:t>
            </a:r>
          </a:p>
          <a:p>
            <a:pPr marL="339725" indent="-339725" fontAlgn="base">
              <a:spcAft>
                <a:spcPts val="800"/>
              </a:spcAft>
              <a:buClr>
                <a:srgbClr val="50B347"/>
              </a:buClr>
              <a:buSzPct val="100000"/>
              <a:buBlip>
                <a:blip r:embed="rId11"/>
              </a:buBlip>
            </a:pPr>
            <a:r>
              <a:rPr lang="en-US" dirty="0">
                <a:solidFill>
                  <a:srgbClr val="505050"/>
                </a:solidFill>
                <a:ea typeface="Segoe UI" pitchFamily="34" charset="0"/>
                <a:cs typeface="Segoe UI" pitchFamily="34" charset="0"/>
              </a:rPr>
              <a:t>Open-standards based</a:t>
            </a:r>
          </a:p>
        </p:txBody>
      </p:sp>
      <p:sp>
        <p:nvSpPr>
          <p:cNvPr id="2" name="Title 1"/>
          <p:cNvSpPr>
            <a:spLocks noGrp="1"/>
          </p:cNvSpPr>
          <p:nvPr>
            <p:ph type="title"/>
          </p:nvPr>
        </p:nvSpPr>
        <p:spPr/>
        <p:txBody>
          <a:bodyPr>
            <a:normAutofit fontScale="90000"/>
          </a:bodyPr>
          <a:lstStyle/>
          <a:p>
            <a:r>
              <a:rPr lang="en-US" sz="3800" dirty="0">
                <a:solidFill>
                  <a:srgbClr val="0070C0"/>
                </a:solidFill>
              </a:rPr>
              <a:t>Microsoft Azure Data Lake</a:t>
            </a:r>
            <a:br>
              <a:rPr lang="en-US" dirty="0">
                <a:solidFill>
                  <a:srgbClr val="00B0F0"/>
                </a:solidFill>
              </a:rPr>
            </a:br>
            <a:r>
              <a:rPr lang="en-US" sz="2800" dirty="0">
                <a:solidFill>
                  <a:srgbClr val="00B0F0"/>
                </a:solidFill>
              </a:rPr>
              <a:t>Azure Services for big data analytics</a:t>
            </a:r>
            <a:endParaRPr lang="en-US" dirty="0">
              <a:solidFill>
                <a:srgbClr val="00B0F0"/>
              </a:solidFill>
            </a:endParaRPr>
          </a:p>
        </p:txBody>
      </p:sp>
      <p:sp>
        <p:nvSpPr>
          <p:cNvPr id="175" name="Rectangle 174"/>
          <p:cNvSpPr/>
          <p:nvPr/>
        </p:nvSpPr>
        <p:spPr bwMode="auto">
          <a:xfrm>
            <a:off x="0" y="1099226"/>
            <a:ext cx="415519" cy="53698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b="1" dirty="0">
              <a:solidFill>
                <a:schemeClr val="bg1"/>
              </a:solidFill>
              <a:latin typeface="+mj-lt"/>
              <a:ea typeface="Segoe UI" pitchFamily="34" charset="0"/>
              <a:cs typeface="Segoe UI" pitchFamily="34" charset="0"/>
            </a:endParaRPr>
          </a:p>
        </p:txBody>
      </p:sp>
      <p:sp>
        <p:nvSpPr>
          <p:cNvPr id="179" name="Rectangle 178"/>
          <p:cNvSpPr/>
          <p:nvPr/>
        </p:nvSpPr>
        <p:spPr bwMode="auto">
          <a:xfrm>
            <a:off x="-2427" y="1269803"/>
            <a:ext cx="415519" cy="50726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b="1" dirty="0">
              <a:solidFill>
                <a:schemeClr val="bg1"/>
              </a:solidFill>
              <a:latin typeface="+mj-lt"/>
              <a:ea typeface="Segoe UI" pitchFamily="34" charset="0"/>
              <a:cs typeface="Segoe UI" pitchFamily="34" charset="0"/>
            </a:endParaRPr>
          </a:p>
        </p:txBody>
      </p:sp>
      <p:grpSp>
        <p:nvGrpSpPr>
          <p:cNvPr id="208" name="Group 207"/>
          <p:cNvGrpSpPr/>
          <p:nvPr/>
        </p:nvGrpSpPr>
        <p:grpSpPr>
          <a:xfrm>
            <a:off x="413092" y="1294742"/>
            <a:ext cx="7261899" cy="5072632"/>
            <a:chOff x="425247" y="1269802"/>
            <a:chExt cx="7261899" cy="5072632"/>
          </a:xfrm>
        </p:grpSpPr>
        <p:grpSp>
          <p:nvGrpSpPr>
            <p:cNvPr id="206" name="Group 205"/>
            <p:cNvGrpSpPr/>
            <p:nvPr/>
          </p:nvGrpSpPr>
          <p:grpSpPr>
            <a:xfrm>
              <a:off x="425247" y="1269802"/>
              <a:ext cx="7261899" cy="5072632"/>
              <a:chOff x="425247" y="1269802"/>
              <a:chExt cx="7261899" cy="5072632"/>
            </a:xfrm>
          </p:grpSpPr>
          <p:grpSp>
            <p:nvGrpSpPr>
              <p:cNvPr id="178" name="Group 177"/>
              <p:cNvGrpSpPr/>
              <p:nvPr/>
            </p:nvGrpSpPr>
            <p:grpSpPr>
              <a:xfrm>
                <a:off x="425247" y="1269802"/>
                <a:ext cx="7261899" cy="5072632"/>
                <a:chOff x="425247" y="1269802"/>
                <a:chExt cx="7261899" cy="5072632"/>
              </a:xfrm>
            </p:grpSpPr>
            <p:sp>
              <p:nvSpPr>
                <p:cNvPr id="73" name="Rectangle 72"/>
                <p:cNvSpPr>
                  <a:spLocks/>
                </p:cNvSpPr>
                <p:nvPr/>
              </p:nvSpPr>
              <p:spPr>
                <a:xfrm>
                  <a:off x="434126" y="3585151"/>
                  <a:ext cx="7253020" cy="548640"/>
                </a:xfrm>
                <a:prstGeom prst="rect">
                  <a:avLst/>
                </a:prstGeom>
                <a:solidFill>
                  <a:srgbClr val="7030A0"/>
                </a:solidFill>
                <a:ln w="3175" cmpd="sng">
                  <a:solidFill>
                    <a:schemeClr val="accent1">
                      <a:lumMod val="75000"/>
                      <a:lumOff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lIns="179285" tIns="91440" rIns="179285" bIns="91440" rtlCol="0" anchor="b" anchorCtr="0"/>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2400" dirty="0">
                      <a:solidFill>
                        <a:schemeClr val="bg1"/>
                      </a:solidFill>
                      <a:latin typeface="+mj-lt"/>
                      <a:cs typeface="Segoe UI Semibold" panose="020B0702040204020203" pitchFamily="34" charset="0"/>
                    </a:rPr>
                    <a:t>YARN</a:t>
                  </a:r>
                </a:p>
              </p:txBody>
            </p:sp>
            <p:sp>
              <p:nvSpPr>
                <p:cNvPr id="77" name="Rectangle 76"/>
                <p:cNvSpPr>
                  <a:spLocks/>
                </p:cNvSpPr>
                <p:nvPr/>
              </p:nvSpPr>
              <p:spPr>
                <a:xfrm>
                  <a:off x="425247" y="4206636"/>
                  <a:ext cx="7261898" cy="548640"/>
                </a:xfrm>
                <a:prstGeom prst="rect">
                  <a:avLst/>
                </a:prstGeom>
                <a:solidFill>
                  <a:srgbClr val="7030A0"/>
                </a:solidFill>
                <a:ln w="3175" cmpd="sng">
                  <a:solidFill>
                    <a:schemeClr val="accent1">
                      <a:lumMod val="75000"/>
                      <a:lumOff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lIns="179285" tIns="91440" rIns="179285" bIns="91440" rtlCol="0" anchor="b" anchorCtr="0"/>
                <a:lstStyle/>
                <a:p>
                  <a:pPr algn="ctr" defTabSz="931863" eaLnBrk="0" fontAlgn="base" hangingPunct="0">
                    <a:spcBef>
                      <a:spcPct val="0"/>
                    </a:spcBef>
                    <a:spcAft>
                      <a:spcPct val="0"/>
                    </a:spcAft>
                  </a:pPr>
                  <a:r>
                    <a:rPr lang="en-US" sz="2400" dirty="0">
                      <a:solidFill>
                        <a:schemeClr val="bg1"/>
                      </a:solidFill>
                      <a:latin typeface="+mj-lt"/>
                      <a:cs typeface="Segoe UI Semibold" panose="020B0702040204020203" pitchFamily="34" charset="0"/>
                    </a:rPr>
                    <a:t>HDFS</a:t>
                  </a:r>
                </a:p>
              </p:txBody>
            </p:sp>
            <p:sp>
              <p:nvSpPr>
                <p:cNvPr id="79" name="Rectangle 78"/>
                <p:cNvSpPr/>
                <p:nvPr/>
              </p:nvSpPr>
              <p:spPr bwMode="auto">
                <a:xfrm>
                  <a:off x="2496206" y="1269802"/>
                  <a:ext cx="2010619" cy="963260"/>
                </a:xfrm>
                <a:prstGeom prst="rect">
                  <a:avLst/>
                </a:prstGeom>
                <a:solidFill>
                  <a:srgbClr val="002060"/>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dirty="0">
                      <a:solidFill>
                        <a:schemeClr val="bg1"/>
                      </a:solidFill>
                      <a:latin typeface="+mj-lt"/>
                    </a:rPr>
                    <a:t>HDInsight</a:t>
                  </a:r>
                </a:p>
              </p:txBody>
            </p:sp>
            <p:sp>
              <p:nvSpPr>
                <p:cNvPr id="80" name="Rectangle 79"/>
                <p:cNvSpPr/>
                <p:nvPr/>
              </p:nvSpPr>
              <p:spPr bwMode="auto">
                <a:xfrm>
                  <a:off x="448034" y="1269802"/>
                  <a:ext cx="2010619" cy="963260"/>
                </a:xfrm>
                <a:prstGeom prst="rect">
                  <a:avLst/>
                </a:prstGeom>
                <a:solidFill>
                  <a:srgbClr val="002060"/>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dirty="0">
                      <a:solidFill>
                        <a:schemeClr val="bg1"/>
                      </a:solidFill>
                      <a:latin typeface="+mj-lt"/>
                    </a:rPr>
                    <a:t>Analytics Service</a:t>
                  </a:r>
                  <a:endParaRPr lang="en-GB" sz="2400" dirty="0">
                    <a:solidFill>
                      <a:schemeClr val="bg1"/>
                    </a:solidFill>
                    <a:latin typeface="+mj-lt"/>
                    <a:ea typeface="Segoe UI" pitchFamily="34" charset="0"/>
                    <a:cs typeface="Segoe UI" pitchFamily="34" charset="0"/>
                  </a:endParaRPr>
                </a:p>
              </p:txBody>
            </p:sp>
            <p:sp>
              <p:nvSpPr>
                <p:cNvPr id="84" name="Rectangle 83"/>
                <p:cNvSpPr/>
                <p:nvPr/>
              </p:nvSpPr>
              <p:spPr>
                <a:xfrm>
                  <a:off x="425248" y="4828120"/>
                  <a:ext cx="7261896" cy="1514314"/>
                </a:xfrm>
                <a:prstGeom prst="rect">
                  <a:avLst/>
                </a:prstGeom>
                <a:noFill/>
                <a:ln w="3175">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2000" dirty="0">
                      <a:solidFill>
                        <a:schemeClr val="accent1"/>
                      </a:solidFill>
                      <a:latin typeface="Segoe UI Semibold" panose="020B0702040204020203" pitchFamily="34" charset="0"/>
                      <a:cs typeface="Segoe UI Semibold" panose="020B0702040204020203" pitchFamily="34" charset="0"/>
                    </a:rPr>
                    <a:t>Store</a:t>
                  </a:r>
                </a:p>
              </p:txBody>
            </p:sp>
            <p:sp>
              <p:nvSpPr>
                <p:cNvPr id="52" name="Rectangle 51"/>
                <p:cNvSpPr/>
                <p:nvPr/>
              </p:nvSpPr>
              <p:spPr bwMode="auto">
                <a:xfrm>
                  <a:off x="4591527" y="1285883"/>
                  <a:ext cx="3095617" cy="2244924"/>
                </a:xfrm>
                <a:prstGeom prst="rect">
                  <a:avLst/>
                </a:prstGeom>
                <a:solidFill>
                  <a:srgbClr val="002060"/>
                </a:solidFill>
                <a:ln w="3175">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algn="ctr" defTabSz="932472" fontAlgn="base">
                    <a:spcBef>
                      <a:spcPct val="0"/>
                    </a:spcBef>
                    <a:spcAft>
                      <a:spcPts val="300"/>
                    </a:spcAft>
                  </a:pPr>
                  <a:r>
                    <a:rPr lang="en-US" sz="2400" dirty="0">
                      <a:solidFill>
                        <a:schemeClr val="bg1"/>
                      </a:solidFill>
                      <a:latin typeface="+mj-lt"/>
                      <a:ea typeface="Segoe UI" pitchFamily="34" charset="0"/>
                      <a:cs typeface="Segoe UI Semibold" panose="020B0702040204020203" pitchFamily="34" charset="0"/>
                    </a:rPr>
                    <a:t>Partners</a:t>
                  </a:r>
                </a:p>
              </p:txBody>
            </p:sp>
            <p:sp>
              <p:nvSpPr>
                <p:cNvPr id="74" name="Isosceles Triangle 73"/>
                <p:cNvSpPr/>
                <p:nvPr/>
              </p:nvSpPr>
              <p:spPr bwMode="auto">
                <a:xfrm rot="10800000">
                  <a:off x="485794" y="3486492"/>
                  <a:ext cx="805096" cy="223572"/>
                </a:xfrm>
                <a:prstGeom prst="triangle">
                  <a:avLst/>
                </a:prstGeom>
                <a:solidFill>
                  <a:srgbClr val="00B050"/>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GB" sz="2000" b="1" dirty="0">
                    <a:solidFill>
                      <a:schemeClr val="bg1"/>
                    </a:solidFill>
                    <a:latin typeface="+mj-lt"/>
                    <a:ea typeface="Segoe UI" pitchFamily="34" charset="0"/>
                    <a:cs typeface="Segoe UI" pitchFamily="34" charset="0"/>
                  </a:endParaRPr>
                </a:p>
              </p:txBody>
            </p:sp>
            <p:sp>
              <p:nvSpPr>
                <p:cNvPr id="118" name="Isosceles Triangle 117"/>
                <p:cNvSpPr/>
                <p:nvPr/>
              </p:nvSpPr>
              <p:spPr bwMode="auto">
                <a:xfrm rot="10800000">
                  <a:off x="2558705" y="3486492"/>
                  <a:ext cx="805096" cy="223572"/>
                </a:xfrm>
                <a:prstGeom prst="triangle">
                  <a:avLst/>
                </a:prstGeom>
                <a:solidFill>
                  <a:srgbClr val="00B050"/>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GB" sz="2000" b="1" dirty="0">
                    <a:solidFill>
                      <a:schemeClr val="bg1"/>
                    </a:solidFill>
                    <a:latin typeface="+mj-lt"/>
                    <a:ea typeface="Segoe UI" pitchFamily="34" charset="0"/>
                    <a:cs typeface="Segoe UI" pitchFamily="34" charset="0"/>
                  </a:endParaRPr>
                </a:p>
              </p:txBody>
            </p:sp>
            <p:sp>
              <p:nvSpPr>
                <p:cNvPr id="78" name="Rectangle 77"/>
                <p:cNvSpPr/>
                <p:nvPr/>
              </p:nvSpPr>
              <p:spPr bwMode="auto">
                <a:xfrm>
                  <a:off x="448034" y="2272458"/>
                  <a:ext cx="4058791" cy="1241131"/>
                </a:xfrm>
                <a:prstGeom prst="rect">
                  <a:avLst/>
                </a:prstGeom>
                <a:solidFill>
                  <a:srgbClr val="002060"/>
                </a:solidFill>
                <a:ln w="3175">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GB" sz="2000" b="1" dirty="0">
                    <a:solidFill>
                      <a:schemeClr val="bg1"/>
                    </a:solidFill>
                    <a:latin typeface="+mj-lt"/>
                    <a:ea typeface="Segoe UI" pitchFamily="34" charset="0"/>
                    <a:cs typeface="Segoe UI" pitchFamily="34" charset="0"/>
                  </a:endParaRPr>
                </a:p>
              </p:txBody>
            </p:sp>
            <p:pic>
              <p:nvPicPr>
                <p:cNvPr id="119" name="Picture 118"/>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2395604" y="2692550"/>
                  <a:ext cx="689303" cy="355560"/>
                </a:xfrm>
                <a:prstGeom prst="rect">
                  <a:avLst/>
                </a:prstGeom>
                <a:noFill/>
                <a:ln>
                  <a:noFill/>
                </a:ln>
              </p:spPr>
            </p:pic>
            <p:sp>
              <p:nvSpPr>
                <p:cNvPr id="120" name="TextBox 12"/>
                <p:cNvSpPr txBox="1"/>
                <p:nvPr/>
              </p:nvSpPr>
              <p:spPr>
                <a:xfrm>
                  <a:off x="589101" y="2749688"/>
                  <a:ext cx="594715" cy="241285"/>
                </a:xfrm>
                <a:prstGeom prst="rect">
                  <a:avLst/>
                </a:prstGeom>
                <a:noFill/>
              </p:spPr>
              <p:txBody>
                <a:bodyPr wrap="none" lIns="0" tIns="0" rIns="0" bIns="0" rtlCol="0">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r>
                    <a:rPr lang="en-US" sz="1568" b="1" dirty="0">
                      <a:solidFill>
                        <a:schemeClr val="bg1"/>
                      </a:solidFill>
                    </a:rPr>
                    <a:t>U-SQL</a:t>
                  </a:r>
                </a:p>
              </p:txBody>
            </p:sp>
            <p:sp>
              <p:nvSpPr>
                <p:cNvPr id="122" name="Freeform 121"/>
                <p:cNvSpPr>
                  <a:spLocks noChangeAspect="1"/>
                </p:cNvSpPr>
                <p:nvPr/>
              </p:nvSpPr>
              <p:spPr bwMode="auto">
                <a:xfrm>
                  <a:off x="1501622" y="2668286"/>
                  <a:ext cx="576176" cy="404089"/>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2803" fontAlgn="base">
                    <a:spcBef>
                      <a:spcPct val="0"/>
                    </a:spcBef>
                    <a:spcAft>
                      <a:spcPct val="0"/>
                    </a:spcAft>
                  </a:pPr>
                  <a:endParaRPr lang="en-IN" sz="1567" dirty="0">
                    <a:solidFill>
                      <a:srgbClr val="000000"/>
                    </a:solidFill>
                  </a:endParaRPr>
                </a:p>
              </p:txBody>
            </p:sp>
            <p:grpSp>
              <p:nvGrpSpPr>
                <p:cNvPr id="56" name="Group 55"/>
                <p:cNvGrpSpPr/>
                <p:nvPr/>
              </p:nvGrpSpPr>
              <p:grpSpPr>
                <a:xfrm>
                  <a:off x="4737925" y="4870208"/>
                  <a:ext cx="2496516" cy="1420410"/>
                  <a:chOff x="4747653" y="4870208"/>
                  <a:chExt cx="2496516" cy="1420410"/>
                </a:xfrm>
              </p:grpSpPr>
              <p:sp>
                <p:nvSpPr>
                  <p:cNvPr id="87" name="Rectangle 86"/>
                  <p:cNvSpPr/>
                  <p:nvPr>
                    <p:custDataLst>
                      <p:tags r:id="rId5"/>
                    </p:custDataLst>
                  </p:nvPr>
                </p:nvSpPr>
                <p:spPr bwMode="auto">
                  <a:xfrm>
                    <a:off x="4747653" y="5604818"/>
                    <a:ext cx="1070933" cy="685800"/>
                  </a:xfrm>
                  <a:prstGeom prst="rect">
                    <a:avLst/>
                  </a:prstGeom>
                  <a:solidFill>
                    <a:srgbClr val="5DDFFD"/>
                  </a:solidFill>
                  <a:ln w="3175">
                    <a:solidFill>
                      <a:srgbClr val="00206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Clickstream</a:t>
                    </a:r>
                  </a:p>
                </p:txBody>
              </p:sp>
              <p:sp>
                <p:nvSpPr>
                  <p:cNvPr id="90" name="Rectangle 89"/>
                  <p:cNvSpPr/>
                  <p:nvPr>
                    <p:custDataLst>
                      <p:tags r:id="rId6"/>
                    </p:custDataLst>
                  </p:nvPr>
                </p:nvSpPr>
                <p:spPr bwMode="auto">
                  <a:xfrm>
                    <a:off x="4747653" y="4870208"/>
                    <a:ext cx="1070933" cy="685800"/>
                  </a:xfrm>
                  <a:prstGeom prst="rect">
                    <a:avLst/>
                  </a:prstGeom>
                  <a:solidFill>
                    <a:srgbClr val="5DDFFD"/>
                  </a:solidFill>
                  <a:ln w="3175">
                    <a:solidFill>
                      <a:srgbClr val="00206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Sensors</a:t>
                    </a:r>
                  </a:p>
                </p:txBody>
              </p:sp>
              <p:sp>
                <p:nvSpPr>
                  <p:cNvPr id="94" name="Rectangle 93"/>
                  <p:cNvSpPr/>
                  <p:nvPr>
                    <p:custDataLst>
                      <p:tags r:id="rId7"/>
                    </p:custDataLst>
                  </p:nvPr>
                </p:nvSpPr>
                <p:spPr bwMode="auto">
                  <a:xfrm>
                    <a:off x="6173236" y="5604818"/>
                    <a:ext cx="1070933" cy="685800"/>
                  </a:xfrm>
                  <a:prstGeom prst="rect">
                    <a:avLst/>
                  </a:prstGeom>
                  <a:solidFill>
                    <a:srgbClr val="5DDFFD"/>
                  </a:solidFill>
                  <a:ln w="3175">
                    <a:solidFill>
                      <a:srgbClr val="00206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Video</a:t>
                    </a:r>
                  </a:p>
                </p:txBody>
              </p:sp>
              <p:sp>
                <p:nvSpPr>
                  <p:cNvPr id="97" name="Rectangle 96"/>
                  <p:cNvSpPr/>
                  <p:nvPr>
                    <p:custDataLst>
                      <p:tags r:id="rId8"/>
                    </p:custDataLst>
                  </p:nvPr>
                </p:nvSpPr>
                <p:spPr bwMode="auto">
                  <a:xfrm>
                    <a:off x="6173236" y="4870208"/>
                    <a:ext cx="1070933" cy="685800"/>
                  </a:xfrm>
                  <a:prstGeom prst="rect">
                    <a:avLst/>
                  </a:prstGeom>
                  <a:solidFill>
                    <a:srgbClr val="5DDFFD"/>
                  </a:solidFill>
                  <a:ln w="3175">
                    <a:solidFill>
                      <a:srgbClr val="00206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Social</a:t>
                    </a:r>
                  </a:p>
                </p:txBody>
              </p:sp>
              <p:sp>
                <p:nvSpPr>
                  <p:cNvPr id="131" name="Freeform 130"/>
                  <p:cNvSpPr/>
                  <p:nvPr/>
                </p:nvSpPr>
                <p:spPr bwMode="auto">
                  <a:xfrm>
                    <a:off x="5110374" y="5710390"/>
                    <a:ext cx="345491" cy="345489"/>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4" name="Frame 5"/>
                  <p:cNvSpPr>
                    <a:spLocks noChangeAspect="1"/>
                  </p:cNvSpPr>
                  <p:nvPr/>
                </p:nvSpPr>
                <p:spPr bwMode="auto">
                  <a:xfrm>
                    <a:off x="5113258" y="4933892"/>
                    <a:ext cx="339723" cy="378672"/>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D163D"/>
                  </a:solidFill>
                  <a:ln w="9525" cap="flat" cmpd="sng" algn="ctr">
                    <a:noFill/>
                    <a:prstDash val="solid"/>
                    <a:headEnd type="none" w="med" len="med"/>
                    <a:tailEnd type="none" w="med" len="med"/>
                  </a:ln>
                  <a:effectLst/>
                </p:spPr>
                <p:txBody>
                  <a:bodyPr rot="0" spcFirstLastPara="0" vert="horz" wrap="square" lIns="43940" tIns="51685" rIns="0" bIns="103368"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1033161">
                      <a:defRPr/>
                    </a:pPr>
                    <a:endParaRPr lang="en-US" sz="480" kern="0" spc="-57"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eeform 135"/>
                  <p:cNvSpPr>
                    <a:spLocks noEditPoints="1"/>
                  </p:cNvSpPr>
                  <p:nvPr/>
                </p:nvSpPr>
                <p:spPr bwMode="auto">
                  <a:xfrm>
                    <a:off x="6565152" y="5690207"/>
                    <a:ext cx="287101" cy="343924"/>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0D163D"/>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48"/>
                    <a:endParaRPr lang="en-US" sz="480" spc="-129" dirty="0">
                      <a:solidFill>
                        <a:schemeClr val="accent3"/>
                      </a:solidFill>
                      <a:latin typeface="Segoe Light" pitchFamily="34" charset="0"/>
                    </a:endParaRPr>
                  </a:p>
                </p:txBody>
              </p:sp>
              <p:sp>
                <p:nvSpPr>
                  <p:cNvPr id="139" name="Freeform 13"/>
                  <p:cNvSpPr>
                    <a:spLocks noChangeAspect="1" noEditPoints="1"/>
                  </p:cNvSpPr>
                  <p:nvPr/>
                </p:nvSpPr>
                <p:spPr bwMode="black">
                  <a:xfrm>
                    <a:off x="6491553" y="4900349"/>
                    <a:ext cx="434298" cy="4010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42" tIns="89642" rIns="89642" bIns="89642" numCol="1" rtlCol="0" anchor="ctr" anchorCtr="0" compatLnSpc="1">
                    <a:prstTxWarp prst="textNoShape">
                      <a:avLst/>
                    </a:prstTxWarp>
                  </a:bodyPr>
                  <a:lstStyle/>
                  <a:p>
                    <a:pPr defTabSz="711705"/>
                    <a:endParaRPr lang="en-US" sz="900" spc="-118" dirty="0">
                      <a:solidFill>
                        <a:schemeClr val="bg1"/>
                      </a:solidFill>
                    </a:endParaRPr>
                  </a:p>
                </p:txBody>
              </p:sp>
            </p:grpSp>
            <p:grpSp>
              <p:nvGrpSpPr>
                <p:cNvPr id="159" name="Group 158"/>
                <p:cNvGrpSpPr/>
                <p:nvPr/>
              </p:nvGrpSpPr>
              <p:grpSpPr>
                <a:xfrm>
                  <a:off x="879068" y="4870208"/>
                  <a:ext cx="2496515" cy="1420410"/>
                  <a:chOff x="888796" y="4870208"/>
                  <a:chExt cx="2496515" cy="1420410"/>
                </a:xfrm>
              </p:grpSpPr>
              <p:sp>
                <p:nvSpPr>
                  <p:cNvPr id="66" name="Rectangle 65"/>
                  <p:cNvSpPr/>
                  <p:nvPr>
                    <p:custDataLst>
                      <p:tags r:id="rId1"/>
                    </p:custDataLst>
                  </p:nvPr>
                </p:nvSpPr>
                <p:spPr bwMode="auto">
                  <a:xfrm>
                    <a:off x="2314378" y="5604818"/>
                    <a:ext cx="1070933" cy="685800"/>
                  </a:xfrm>
                  <a:prstGeom prst="rect">
                    <a:avLst/>
                  </a:prstGeom>
                  <a:solidFill>
                    <a:srgbClr val="5DDFFD"/>
                  </a:solidFill>
                  <a:ln w="3175">
                    <a:solidFill>
                      <a:srgbClr val="00206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Web</a:t>
                    </a:r>
                  </a:p>
                </p:txBody>
              </p:sp>
              <p:sp>
                <p:nvSpPr>
                  <p:cNvPr id="100" name="Rectangle 99"/>
                  <p:cNvSpPr/>
                  <p:nvPr>
                    <p:custDataLst>
                      <p:tags r:id="rId2"/>
                    </p:custDataLst>
                  </p:nvPr>
                </p:nvSpPr>
                <p:spPr bwMode="auto">
                  <a:xfrm>
                    <a:off x="2314378" y="4870208"/>
                    <a:ext cx="1070933" cy="685800"/>
                  </a:xfrm>
                  <a:prstGeom prst="rect">
                    <a:avLst/>
                  </a:prstGeom>
                  <a:solidFill>
                    <a:srgbClr val="5DDFFD"/>
                  </a:solidFill>
                  <a:ln w="3175">
                    <a:solidFill>
                      <a:srgbClr val="00206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Devices</a:t>
                    </a:r>
                  </a:p>
                </p:txBody>
              </p:sp>
              <p:sp>
                <p:nvSpPr>
                  <p:cNvPr id="105" name="Rectangle 104"/>
                  <p:cNvSpPr/>
                  <p:nvPr>
                    <p:custDataLst>
                      <p:tags r:id="rId3"/>
                    </p:custDataLst>
                  </p:nvPr>
                </p:nvSpPr>
                <p:spPr bwMode="auto">
                  <a:xfrm>
                    <a:off x="888796" y="5604818"/>
                    <a:ext cx="1070933" cy="685800"/>
                  </a:xfrm>
                  <a:prstGeom prst="rect">
                    <a:avLst/>
                  </a:prstGeom>
                  <a:solidFill>
                    <a:srgbClr val="5DDFFD"/>
                  </a:solidFill>
                  <a:ln w="3175">
                    <a:solidFill>
                      <a:srgbClr val="00206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Relational</a:t>
                    </a:r>
                  </a:p>
                </p:txBody>
              </p:sp>
              <p:sp>
                <p:nvSpPr>
                  <p:cNvPr id="108" name="Rectangle 107"/>
                  <p:cNvSpPr/>
                  <p:nvPr>
                    <p:custDataLst>
                      <p:tags r:id="rId4"/>
                    </p:custDataLst>
                  </p:nvPr>
                </p:nvSpPr>
                <p:spPr bwMode="auto">
                  <a:xfrm>
                    <a:off x="888796" y="4870208"/>
                    <a:ext cx="1070933" cy="685800"/>
                  </a:xfrm>
                  <a:prstGeom prst="rect">
                    <a:avLst/>
                  </a:prstGeom>
                  <a:solidFill>
                    <a:srgbClr val="5DDFFD"/>
                  </a:solidFill>
                  <a:ln w="3175">
                    <a:solidFill>
                      <a:srgbClr val="00206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Applications</a:t>
                    </a:r>
                  </a:p>
                </p:txBody>
              </p:sp>
              <p:grpSp>
                <p:nvGrpSpPr>
                  <p:cNvPr id="125" name="Group 124"/>
                  <p:cNvGrpSpPr/>
                  <p:nvPr/>
                </p:nvGrpSpPr>
                <p:grpSpPr>
                  <a:xfrm>
                    <a:off x="2646802" y="5682578"/>
                    <a:ext cx="406084" cy="397883"/>
                    <a:chOff x="4030436" y="1511171"/>
                    <a:chExt cx="4398164" cy="4309344"/>
                  </a:xfrm>
                  <a:solidFill>
                    <a:schemeClr val="accent1"/>
                  </a:solidFill>
                </p:grpSpPr>
                <p:sp>
                  <p:nvSpPr>
                    <p:cNvPr id="126" name="Oval 35"/>
                    <p:cNvSpPr/>
                    <p:nvPr/>
                  </p:nvSpPr>
                  <p:spPr>
                    <a:xfrm>
                      <a:off x="4411045" y="1909551"/>
                      <a:ext cx="3592286" cy="3588790"/>
                    </a:xfrm>
                    <a:custGeom>
                      <a:avLst/>
                      <a:gdLst/>
                      <a:ahLst/>
                      <a:cxnLst/>
                      <a:rect l="l" t="t" r="r" b="b"/>
                      <a:pathLst>
                        <a:path w="3592286" h="3588790">
                          <a:moveTo>
                            <a:pt x="856899" y="2807618"/>
                          </a:moveTo>
                          <a:cubicBezTo>
                            <a:pt x="1050936" y="3101840"/>
                            <a:pt x="1319084" y="3340075"/>
                            <a:pt x="1626253" y="3475527"/>
                          </a:cubicBezTo>
                          <a:cubicBezTo>
                            <a:pt x="1631223" y="3476765"/>
                            <a:pt x="1636270" y="3477223"/>
                            <a:pt x="1641325" y="3477658"/>
                          </a:cubicBezTo>
                          <a:cubicBezTo>
                            <a:pt x="1516509" y="3295597"/>
                            <a:pt x="1404916" y="3065936"/>
                            <a:pt x="1318985" y="2807618"/>
                          </a:cubicBezTo>
                          <a:close/>
                          <a:moveTo>
                            <a:pt x="442231" y="2807618"/>
                          </a:moveTo>
                          <a:cubicBezTo>
                            <a:pt x="659711" y="3099896"/>
                            <a:pt x="969924" y="3318794"/>
                            <a:pt x="1329899" y="3418883"/>
                          </a:cubicBezTo>
                          <a:cubicBezTo>
                            <a:pt x="1089904" y="3278379"/>
                            <a:pt x="880477" y="3064398"/>
                            <a:pt x="724038" y="2807618"/>
                          </a:cubicBezTo>
                          <a:close/>
                          <a:moveTo>
                            <a:pt x="2450248" y="1844143"/>
                          </a:moveTo>
                          <a:cubicBezTo>
                            <a:pt x="2439084" y="2145593"/>
                            <a:pt x="2386150" y="2439238"/>
                            <a:pt x="2304248" y="2705865"/>
                          </a:cubicBezTo>
                          <a:lnTo>
                            <a:pt x="2801418" y="2705865"/>
                          </a:lnTo>
                          <a:cubicBezTo>
                            <a:pt x="2959192" y="2445207"/>
                            <a:pt x="3059303" y="2147324"/>
                            <a:pt x="3081979" y="1844143"/>
                          </a:cubicBezTo>
                          <a:close/>
                          <a:moveTo>
                            <a:pt x="1254663" y="1844143"/>
                          </a:moveTo>
                          <a:cubicBezTo>
                            <a:pt x="1268316" y="2144192"/>
                            <a:pt x="1322349" y="2438934"/>
                            <a:pt x="1406891" y="2705865"/>
                          </a:cubicBezTo>
                          <a:lnTo>
                            <a:pt x="2185396" y="2705865"/>
                          </a:lnTo>
                          <a:cubicBezTo>
                            <a:pt x="2269937" y="2438934"/>
                            <a:pt x="2323970" y="2144192"/>
                            <a:pt x="2337624" y="1844143"/>
                          </a:cubicBezTo>
                          <a:close/>
                          <a:moveTo>
                            <a:pt x="510307" y="1844143"/>
                          </a:moveTo>
                          <a:cubicBezTo>
                            <a:pt x="532984" y="2147324"/>
                            <a:pt x="633095" y="2445207"/>
                            <a:pt x="790868" y="2705865"/>
                          </a:cubicBezTo>
                          <a:lnTo>
                            <a:pt x="1288039" y="2705865"/>
                          </a:lnTo>
                          <a:cubicBezTo>
                            <a:pt x="1206136" y="2439238"/>
                            <a:pt x="1153202" y="2145593"/>
                            <a:pt x="1142039" y="1844143"/>
                          </a:cubicBezTo>
                          <a:close/>
                          <a:moveTo>
                            <a:pt x="105056" y="1844143"/>
                          </a:moveTo>
                          <a:cubicBezTo>
                            <a:pt x="113791" y="2161330"/>
                            <a:pt x="209946" y="2456621"/>
                            <a:pt x="371868" y="2705865"/>
                          </a:cubicBezTo>
                          <a:lnTo>
                            <a:pt x="662862" y="2705865"/>
                          </a:lnTo>
                          <a:cubicBezTo>
                            <a:pt x="516487" y="2445076"/>
                            <a:pt x="423528" y="2147271"/>
                            <a:pt x="402177" y="1844143"/>
                          </a:cubicBezTo>
                          <a:close/>
                          <a:moveTo>
                            <a:pt x="2991928" y="880669"/>
                          </a:moveTo>
                          <a:cubicBezTo>
                            <a:pt x="3140148" y="1150938"/>
                            <a:pt x="3202326" y="1447530"/>
                            <a:pt x="3195093" y="1742390"/>
                          </a:cubicBezTo>
                          <a:lnTo>
                            <a:pt x="3487230" y="1742390"/>
                          </a:lnTo>
                          <a:cubicBezTo>
                            <a:pt x="3478495" y="1425203"/>
                            <a:pt x="3382340" y="1129913"/>
                            <a:pt x="3220418" y="880669"/>
                          </a:cubicBezTo>
                          <a:close/>
                          <a:moveTo>
                            <a:pt x="2335746" y="880669"/>
                          </a:moveTo>
                          <a:cubicBezTo>
                            <a:pt x="2421574" y="1162075"/>
                            <a:pt x="2456761" y="1454793"/>
                            <a:pt x="2451714" y="1742390"/>
                          </a:cubicBezTo>
                          <a:lnTo>
                            <a:pt x="3087241" y="1742390"/>
                          </a:lnTo>
                          <a:cubicBezTo>
                            <a:pt x="3094660" y="1447457"/>
                            <a:pt x="3027007" y="1150835"/>
                            <a:pt x="2866350" y="880669"/>
                          </a:cubicBezTo>
                          <a:close/>
                          <a:moveTo>
                            <a:pt x="1367135" y="880669"/>
                          </a:moveTo>
                          <a:cubicBezTo>
                            <a:pt x="1282114" y="1157161"/>
                            <a:pt x="1247328" y="1451118"/>
                            <a:pt x="1253877" y="1742390"/>
                          </a:cubicBezTo>
                          <a:lnTo>
                            <a:pt x="2338410" y="1742390"/>
                          </a:lnTo>
                          <a:cubicBezTo>
                            <a:pt x="2344959" y="1451118"/>
                            <a:pt x="2310172" y="1157161"/>
                            <a:pt x="2225152" y="880669"/>
                          </a:cubicBezTo>
                          <a:close/>
                          <a:moveTo>
                            <a:pt x="725937" y="880669"/>
                          </a:moveTo>
                          <a:cubicBezTo>
                            <a:pt x="565279" y="1150835"/>
                            <a:pt x="497627" y="1447457"/>
                            <a:pt x="505046" y="1742390"/>
                          </a:cubicBezTo>
                          <a:lnTo>
                            <a:pt x="1140573" y="1742390"/>
                          </a:lnTo>
                          <a:cubicBezTo>
                            <a:pt x="1135526" y="1454793"/>
                            <a:pt x="1170712" y="1162075"/>
                            <a:pt x="1256541" y="880669"/>
                          </a:cubicBezTo>
                          <a:close/>
                          <a:moveTo>
                            <a:pt x="2248579" y="164328"/>
                          </a:moveTo>
                          <a:cubicBezTo>
                            <a:pt x="2555388" y="331327"/>
                            <a:pt x="2778580" y="542975"/>
                            <a:pt x="2930516" y="778916"/>
                          </a:cubicBezTo>
                          <a:lnTo>
                            <a:pt x="3150056" y="778916"/>
                          </a:lnTo>
                          <a:cubicBezTo>
                            <a:pt x="2929802" y="482911"/>
                            <a:pt x="2614435" y="262169"/>
                            <a:pt x="2248579" y="164328"/>
                          </a:cubicBezTo>
                          <a:close/>
                          <a:moveTo>
                            <a:pt x="1937815" y="108552"/>
                          </a:moveTo>
                          <a:cubicBezTo>
                            <a:pt x="2102992" y="314323"/>
                            <a:pt x="2221669" y="541474"/>
                            <a:pt x="2300881" y="778916"/>
                          </a:cubicBezTo>
                          <a:lnTo>
                            <a:pt x="2799582" y="778916"/>
                          </a:lnTo>
                          <a:cubicBezTo>
                            <a:pt x="2615287" y="515202"/>
                            <a:pt x="2334724" y="282038"/>
                            <a:pt x="1938828" y="108687"/>
                          </a:cubicBezTo>
                          <a:cubicBezTo>
                            <a:pt x="1938493" y="108605"/>
                            <a:pt x="1938154" y="108578"/>
                            <a:pt x="1937815" y="108552"/>
                          </a:cubicBezTo>
                          <a:close/>
                          <a:moveTo>
                            <a:pt x="1853094" y="0"/>
                          </a:moveTo>
                          <a:cubicBezTo>
                            <a:pt x="2818755" y="28121"/>
                            <a:pt x="3592286" y="820360"/>
                            <a:pt x="3592286" y="1793267"/>
                          </a:cubicBezTo>
                          <a:cubicBezTo>
                            <a:pt x="3592286" y="2081519"/>
                            <a:pt x="3524385" y="2353911"/>
                            <a:pt x="3401976" y="2594458"/>
                          </a:cubicBezTo>
                          <a:lnTo>
                            <a:pt x="3325255" y="2517737"/>
                          </a:lnTo>
                          <a:cubicBezTo>
                            <a:pt x="3423612" y="2313010"/>
                            <a:pt x="3480601" y="2084883"/>
                            <a:pt x="3487230" y="1844143"/>
                          </a:cubicBezTo>
                          <a:lnTo>
                            <a:pt x="3190110" y="1844143"/>
                          </a:lnTo>
                          <a:cubicBezTo>
                            <a:pt x="3168759" y="2147271"/>
                            <a:pt x="3075799" y="2445076"/>
                            <a:pt x="2929425" y="2705865"/>
                          </a:cubicBezTo>
                          <a:lnTo>
                            <a:pt x="3220418" y="2705865"/>
                          </a:lnTo>
                          <a:lnTo>
                            <a:pt x="3303597" y="2556602"/>
                          </a:lnTo>
                          <a:lnTo>
                            <a:pt x="3303597" y="2767773"/>
                          </a:lnTo>
                          <a:cubicBezTo>
                            <a:pt x="3280445" y="2805980"/>
                            <a:pt x="3254809" y="2842496"/>
                            <a:pt x="3226272" y="2876756"/>
                          </a:cubicBezTo>
                          <a:lnTo>
                            <a:pt x="3094122" y="2876756"/>
                          </a:lnTo>
                          <a:cubicBezTo>
                            <a:pt x="3114010" y="2854748"/>
                            <a:pt x="3132341" y="2831426"/>
                            <a:pt x="3150056" y="2807618"/>
                          </a:cubicBezTo>
                          <a:lnTo>
                            <a:pt x="2868249" y="2807618"/>
                          </a:lnTo>
                          <a:lnTo>
                            <a:pt x="2820582" y="2876756"/>
                          </a:lnTo>
                          <a:lnTo>
                            <a:pt x="2682941" y="2876756"/>
                          </a:lnTo>
                          <a:cubicBezTo>
                            <a:pt x="2702988" y="2855609"/>
                            <a:pt x="2719438" y="2831803"/>
                            <a:pt x="2735387" y="2807618"/>
                          </a:cubicBezTo>
                          <a:lnTo>
                            <a:pt x="2273301" y="2807618"/>
                          </a:lnTo>
                          <a:lnTo>
                            <a:pt x="2247912" y="2876756"/>
                          </a:lnTo>
                          <a:lnTo>
                            <a:pt x="2126765" y="2876756"/>
                          </a:lnTo>
                          <a:cubicBezTo>
                            <a:pt x="2136798" y="2854347"/>
                            <a:pt x="2145074" y="2831106"/>
                            <a:pt x="2153121" y="2807618"/>
                          </a:cubicBezTo>
                          <a:lnTo>
                            <a:pt x="1439165" y="2807618"/>
                          </a:lnTo>
                          <a:cubicBezTo>
                            <a:pt x="1529282" y="3070629"/>
                            <a:pt x="1647990" y="3302680"/>
                            <a:pt x="1783852" y="3480422"/>
                          </a:cubicBezTo>
                          <a:lnTo>
                            <a:pt x="1783852" y="3588790"/>
                          </a:lnTo>
                          <a:cubicBezTo>
                            <a:pt x="797525" y="3582757"/>
                            <a:pt x="0" y="2781148"/>
                            <a:pt x="0" y="1793267"/>
                          </a:cubicBezTo>
                          <a:cubicBezTo>
                            <a:pt x="0" y="1473619"/>
                            <a:pt x="83499" y="1173473"/>
                            <a:pt x="230835" y="913991"/>
                          </a:cubicBezTo>
                          <a:lnTo>
                            <a:pt x="309476" y="992632"/>
                          </a:lnTo>
                          <a:cubicBezTo>
                            <a:pt x="184125" y="1215203"/>
                            <a:pt x="112536" y="1470768"/>
                            <a:pt x="105056" y="1742390"/>
                          </a:cubicBezTo>
                          <a:lnTo>
                            <a:pt x="397194" y="1742390"/>
                          </a:lnTo>
                          <a:cubicBezTo>
                            <a:pt x="389961" y="1447530"/>
                            <a:pt x="452139" y="1150938"/>
                            <a:pt x="600359" y="880669"/>
                          </a:cubicBezTo>
                          <a:lnTo>
                            <a:pt x="371868" y="880669"/>
                          </a:lnTo>
                          <a:lnTo>
                            <a:pt x="333349" y="949791"/>
                          </a:lnTo>
                          <a:lnTo>
                            <a:pt x="333349" y="753460"/>
                          </a:lnTo>
                          <a:cubicBezTo>
                            <a:pt x="360802" y="712185"/>
                            <a:pt x="391169" y="673066"/>
                            <a:pt x="423716" y="635829"/>
                          </a:cubicBezTo>
                          <a:lnTo>
                            <a:pt x="563325" y="635829"/>
                          </a:lnTo>
                          <a:cubicBezTo>
                            <a:pt x="519731" y="680610"/>
                            <a:pt x="479611" y="728679"/>
                            <a:pt x="442230" y="778916"/>
                          </a:cubicBezTo>
                          <a:lnTo>
                            <a:pt x="661771" y="778916"/>
                          </a:lnTo>
                          <a:lnTo>
                            <a:pt x="767803" y="635829"/>
                          </a:lnTo>
                          <a:lnTo>
                            <a:pt x="906577" y="635829"/>
                          </a:lnTo>
                          <a:cubicBezTo>
                            <a:pt x="864624" y="681831"/>
                            <a:pt x="826998" y="729845"/>
                            <a:pt x="792704" y="778916"/>
                          </a:cubicBezTo>
                          <a:lnTo>
                            <a:pt x="1291405" y="778916"/>
                          </a:lnTo>
                          <a:lnTo>
                            <a:pt x="1345823" y="635829"/>
                          </a:lnTo>
                          <a:lnTo>
                            <a:pt x="1459900" y="635829"/>
                          </a:lnTo>
                          <a:cubicBezTo>
                            <a:pt x="1438327" y="682375"/>
                            <a:pt x="1419944" y="730313"/>
                            <a:pt x="1403283" y="778916"/>
                          </a:cubicBezTo>
                          <a:lnTo>
                            <a:pt x="2189004" y="778916"/>
                          </a:lnTo>
                          <a:cubicBezTo>
                            <a:pt x="2114289" y="560837"/>
                            <a:pt x="2004846" y="356159"/>
                            <a:pt x="1853094" y="17797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7" name="Left Arrow 126"/>
                    <p:cNvSpPr/>
                    <p:nvPr/>
                  </p:nvSpPr>
                  <p:spPr>
                    <a:xfrm>
                      <a:off x="4030436" y="151117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8" name="Left Arrow 127"/>
                    <p:cNvSpPr/>
                    <p:nvPr/>
                  </p:nvSpPr>
                  <p:spPr>
                    <a:xfrm flipH="1">
                      <a:off x="6270899" y="455155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142" name="Group 141"/>
                  <p:cNvGrpSpPr/>
                  <p:nvPr/>
                </p:nvGrpSpPr>
                <p:grpSpPr>
                  <a:xfrm>
                    <a:off x="2525005" y="4967669"/>
                    <a:ext cx="649679" cy="404414"/>
                    <a:chOff x="2769908" y="1409697"/>
                    <a:chExt cx="1965320" cy="1055586"/>
                  </a:xfrm>
                  <a:solidFill>
                    <a:srgbClr val="0D163D"/>
                  </a:solidFill>
                </p:grpSpPr>
                <p:sp>
                  <p:nvSpPr>
                    <p:cNvPr id="144"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78727">
                        <a:defRPr/>
                      </a:pPr>
                      <a:endParaRPr lang="en-US" sz="480" kern="0" dirty="0">
                        <a:solidFill>
                          <a:schemeClr val="accent3"/>
                        </a:solidFill>
                        <a:latin typeface="Segoe"/>
                      </a:endParaRPr>
                    </a:p>
                  </p:txBody>
                </p:sp>
                <p:sp>
                  <p:nvSpPr>
                    <p:cNvPr id="145"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43940" rIns="0" bIns="8788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78438"/>
                      <a:endParaRPr lang="en-US" sz="480" spc="-4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6"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48"/>
                      <a:endParaRPr lang="en-US" sz="480" spc="-129" dirty="0">
                        <a:gradFill>
                          <a:gsLst>
                            <a:gs pos="0">
                              <a:srgbClr val="FFFFFF"/>
                            </a:gs>
                            <a:gs pos="100000">
                              <a:srgbClr val="FFFFFF"/>
                            </a:gs>
                          </a:gsLst>
                          <a:lin ang="5400000" scaled="0"/>
                        </a:gradFill>
                        <a:latin typeface="Segoe Light" pitchFamily="34" charset="0"/>
                      </a:endParaRPr>
                    </a:p>
                  </p:txBody>
                </p:sp>
              </p:grpSp>
              <p:sp>
                <p:nvSpPr>
                  <p:cNvPr id="149" name="Donut 18"/>
                  <p:cNvSpPr/>
                  <p:nvPr/>
                </p:nvSpPr>
                <p:spPr>
                  <a:xfrm rot="20250901">
                    <a:off x="1186776" y="5680746"/>
                    <a:ext cx="474972" cy="391893"/>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nvGrpSpPr>
                  <p:cNvPr id="152" name="Group 151"/>
                  <p:cNvGrpSpPr/>
                  <p:nvPr/>
                </p:nvGrpSpPr>
                <p:grpSpPr>
                  <a:xfrm>
                    <a:off x="1246427" y="4933033"/>
                    <a:ext cx="355671" cy="404845"/>
                    <a:chOff x="2981668" y="2145564"/>
                    <a:chExt cx="3235820" cy="3683194"/>
                  </a:xfrm>
                  <a:solidFill>
                    <a:schemeClr val="accent1"/>
                  </a:solidFill>
                </p:grpSpPr>
                <p:sp>
                  <p:nvSpPr>
                    <p:cNvPr id="153" name="Round Diagonal Corner Rectangle 53"/>
                    <p:cNvSpPr/>
                    <p:nvPr/>
                  </p:nvSpPr>
                  <p:spPr bwMode="auto">
                    <a:xfrm>
                      <a:off x="2981668" y="2145564"/>
                      <a:ext cx="3235820" cy="368319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4" name="Wave 8"/>
                    <p:cNvSpPr/>
                    <p:nvPr/>
                  </p:nvSpPr>
                  <p:spPr>
                    <a:xfrm>
                      <a:off x="3548857" y="3485674"/>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Wave 8"/>
                    <p:cNvSpPr/>
                    <p:nvPr/>
                  </p:nvSpPr>
                  <p:spPr>
                    <a:xfrm>
                      <a:off x="3548857" y="3873080"/>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Wave 8"/>
                    <p:cNvSpPr/>
                    <p:nvPr/>
                  </p:nvSpPr>
                  <p:spPr>
                    <a:xfrm>
                      <a:off x="3548857" y="4260486"/>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Wave 8"/>
                    <p:cNvSpPr/>
                    <p:nvPr/>
                  </p:nvSpPr>
                  <p:spPr>
                    <a:xfrm>
                      <a:off x="3548857" y="4647892"/>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Wave 8"/>
                    <p:cNvSpPr/>
                    <p:nvPr/>
                  </p:nvSpPr>
                  <p:spPr>
                    <a:xfrm>
                      <a:off x="3548857" y="5035298"/>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pic>
            <p:nvPicPr>
              <p:cNvPr id="203" name="Picture 6" descr="http://www.computing.co.uk/IMG/588/289588/mapr-logo.pn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19539" t="11461" r="20828" b="14438"/>
              <a:stretch/>
            </p:blipFill>
            <p:spPr bwMode="auto">
              <a:xfrm>
                <a:off x="6809378" y="2228897"/>
                <a:ext cx="784730" cy="417904"/>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203"/>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4694974" y="2228323"/>
                <a:ext cx="869363" cy="338087"/>
              </a:xfrm>
              <a:prstGeom prst="rect">
                <a:avLst/>
              </a:prstGeom>
              <a:noFill/>
              <a:ln>
                <a:noFill/>
              </a:ln>
            </p:spPr>
          </p:pic>
          <p:pic>
            <p:nvPicPr>
              <p:cNvPr id="205" name="Picture 204"/>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5744130" y="2357529"/>
                <a:ext cx="885455" cy="128534"/>
              </a:xfrm>
              <a:prstGeom prst="rect">
                <a:avLst/>
              </a:prstGeom>
              <a:noFill/>
              <a:ln>
                <a:noFill/>
              </a:ln>
            </p:spPr>
          </p:pic>
        </p:grpSp>
        <p:pic>
          <p:nvPicPr>
            <p:cNvPr id="207" name="Picture 4" descr="https://storm.apache.org/images/logo.png"/>
            <p:cNvPicPr>
              <a:picLocks noChangeAspect="1" noChangeArrowheads="1"/>
            </p:cNvPicPr>
            <p:nvPr/>
          </p:nvPicPr>
          <p:blipFill>
            <a:blip r:embed="rId16">
              <a:lum bright="70000" contrast="-70000"/>
              <a:extLst>
                <a:ext uri="{28A0092B-C50C-407E-A947-70E740481C1C}">
                  <a14:useLocalDpi xmlns:a14="http://schemas.microsoft.com/office/drawing/2010/main" val="0"/>
                </a:ext>
              </a:extLst>
            </a:blip>
            <a:srcRect/>
            <a:stretch>
              <a:fillRect/>
            </a:stretch>
          </p:blipFill>
          <p:spPr bwMode="auto">
            <a:xfrm>
              <a:off x="3305524" y="2703547"/>
              <a:ext cx="1142049" cy="358290"/>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4" name="Slide Number Placeholder 3"/>
          <p:cNvSpPr>
            <a:spLocks noGrp="1"/>
          </p:cNvSpPr>
          <p:nvPr>
            <p:ph type="sldNum" sz="quarter" idx="4"/>
          </p:nvPr>
        </p:nvSpPr>
        <p:spPr/>
        <p:txBody>
          <a:bodyPr/>
          <a:lstStyle/>
          <a:p>
            <a:pPr>
              <a:defRPr/>
            </a:pPr>
            <a:fld id="{75FAD755-3BD0-2447-A9DF-109DAABEFD99}" type="slidenum">
              <a:rPr lang="en-US" smtClean="0"/>
              <a:pPr>
                <a:defRPr/>
              </a:pPr>
              <a:t>6</a:t>
            </a:fld>
            <a:endParaRPr lang="en-US" dirty="0"/>
          </a:p>
        </p:txBody>
      </p:sp>
    </p:spTree>
    <p:extLst>
      <p:ext uri="{BB962C8B-B14F-4D97-AF65-F5344CB8AC3E}">
        <p14:creationId xmlns:p14="http://schemas.microsoft.com/office/powerpoint/2010/main" val="275201671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8"/>
                                        </p:tgtEl>
                                        <p:attrNameLst>
                                          <p:attrName>style.visibility</p:attrName>
                                        </p:attrNameLst>
                                      </p:cBhvr>
                                      <p:to>
                                        <p:strVal val="visible"/>
                                      </p:to>
                                    </p:set>
                                    <p:animEffect transition="in" filter="fade">
                                      <p:cBhvr>
                                        <p:cTn id="7" dur="1000"/>
                                        <p:tgtEl>
                                          <p:spTgt spid="208"/>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63">
                                            <p:txEl>
                                              <p:pRg st="0" end="0"/>
                                            </p:txEl>
                                          </p:spTgt>
                                        </p:tgtEl>
                                        <p:attrNameLst>
                                          <p:attrName>style.visibility</p:attrName>
                                        </p:attrNameLst>
                                      </p:cBhvr>
                                      <p:to>
                                        <p:strVal val="visible"/>
                                      </p:to>
                                    </p:set>
                                    <p:animEffect transition="in" filter="wipe(left)">
                                      <p:cBhvr>
                                        <p:cTn id="11" dur="750"/>
                                        <p:tgtEl>
                                          <p:spTgt spid="63">
                                            <p:txEl>
                                              <p:pRg st="0" end="0"/>
                                            </p:txEl>
                                          </p:spTgt>
                                        </p:tgtEl>
                                      </p:cBhvr>
                                    </p:animEffect>
                                  </p:childTnLst>
                                </p:cTn>
                              </p:par>
                            </p:childTnLst>
                          </p:cTn>
                        </p:par>
                        <p:par>
                          <p:cTn id="12" fill="hold">
                            <p:stCondLst>
                              <p:cond delay="1750"/>
                            </p:stCondLst>
                            <p:childTnLst>
                              <p:par>
                                <p:cTn id="13" presetID="22" presetClass="entr" presetSubtype="8" fill="hold" nodeType="afterEffect">
                                  <p:stCondLst>
                                    <p:cond delay="0"/>
                                  </p:stCondLst>
                                  <p:childTnLst>
                                    <p:set>
                                      <p:cBhvr>
                                        <p:cTn id="14" dur="1" fill="hold">
                                          <p:stCondLst>
                                            <p:cond delay="0"/>
                                          </p:stCondLst>
                                        </p:cTn>
                                        <p:tgtEl>
                                          <p:spTgt spid="63">
                                            <p:txEl>
                                              <p:pRg st="1" end="1"/>
                                            </p:txEl>
                                          </p:spTgt>
                                        </p:tgtEl>
                                        <p:attrNameLst>
                                          <p:attrName>style.visibility</p:attrName>
                                        </p:attrNameLst>
                                      </p:cBhvr>
                                      <p:to>
                                        <p:strVal val="visible"/>
                                      </p:to>
                                    </p:set>
                                    <p:animEffect transition="in" filter="wipe(left)">
                                      <p:cBhvr>
                                        <p:cTn id="15" dur="750"/>
                                        <p:tgtEl>
                                          <p:spTgt spid="63">
                                            <p:txEl>
                                              <p:pRg st="1" end="1"/>
                                            </p:txEl>
                                          </p:spTgt>
                                        </p:tgtEl>
                                      </p:cBhvr>
                                    </p:animEffect>
                                  </p:childTnLst>
                                </p:cTn>
                              </p:par>
                            </p:childTnLst>
                          </p:cTn>
                        </p:par>
                        <p:par>
                          <p:cTn id="16" fill="hold">
                            <p:stCondLst>
                              <p:cond delay="2500"/>
                            </p:stCondLst>
                            <p:childTnLst>
                              <p:par>
                                <p:cTn id="17" presetID="22" presetClass="entr" presetSubtype="8" fill="hold" nodeType="afterEffect">
                                  <p:stCondLst>
                                    <p:cond delay="0"/>
                                  </p:stCondLst>
                                  <p:childTnLst>
                                    <p:set>
                                      <p:cBhvr>
                                        <p:cTn id="18" dur="1" fill="hold">
                                          <p:stCondLst>
                                            <p:cond delay="0"/>
                                          </p:stCondLst>
                                        </p:cTn>
                                        <p:tgtEl>
                                          <p:spTgt spid="63">
                                            <p:txEl>
                                              <p:pRg st="2" end="2"/>
                                            </p:txEl>
                                          </p:spTgt>
                                        </p:tgtEl>
                                        <p:attrNameLst>
                                          <p:attrName>style.visibility</p:attrName>
                                        </p:attrNameLst>
                                      </p:cBhvr>
                                      <p:to>
                                        <p:strVal val="visible"/>
                                      </p:to>
                                    </p:set>
                                    <p:animEffect transition="in" filter="wipe(left)">
                                      <p:cBhvr>
                                        <p:cTn id="19" dur="750"/>
                                        <p:tgtEl>
                                          <p:spTgt spid="63">
                                            <p:txEl>
                                              <p:pRg st="2" end="2"/>
                                            </p:txEl>
                                          </p:spTgt>
                                        </p:tgtEl>
                                      </p:cBhvr>
                                    </p:animEffect>
                                  </p:childTnLst>
                                </p:cTn>
                              </p:par>
                            </p:childTnLst>
                          </p:cTn>
                        </p:par>
                        <p:par>
                          <p:cTn id="20" fill="hold">
                            <p:stCondLst>
                              <p:cond delay="3250"/>
                            </p:stCondLst>
                            <p:childTnLst>
                              <p:par>
                                <p:cTn id="21" presetID="22" presetClass="entr" presetSubtype="8" fill="hold" nodeType="afterEffect">
                                  <p:stCondLst>
                                    <p:cond delay="0"/>
                                  </p:stCondLst>
                                  <p:childTnLst>
                                    <p:set>
                                      <p:cBhvr>
                                        <p:cTn id="22" dur="1" fill="hold">
                                          <p:stCondLst>
                                            <p:cond delay="0"/>
                                          </p:stCondLst>
                                        </p:cTn>
                                        <p:tgtEl>
                                          <p:spTgt spid="63">
                                            <p:txEl>
                                              <p:pRg st="3" end="3"/>
                                            </p:txEl>
                                          </p:spTgt>
                                        </p:tgtEl>
                                        <p:attrNameLst>
                                          <p:attrName>style.visibility</p:attrName>
                                        </p:attrNameLst>
                                      </p:cBhvr>
                                      <p:to>
                                        <p:strVal val="visible"/>
                                      </p:to>
                                    </p:set>
                                    <p:animEffect transition="in" filter="wipe(left)">
                                      <p:cBhvr>
                                        <p:cTn id="23" dur="750"/>
                                        <p:tgtEl>
                                          <p:spTgt spid="63">
                                            <p:txEl>
                                              <p:pRg st="3" end="3"/>
                                            </p:txEl>
                                          </p:spTgt>
                                        </p:tgtEl>
                                      </p:cBhvr>
                                    </p:animEffect>
                                  </p:childTnLst>
                                </p:cTn>
                              </p:par>
                            </p:childTnLst>
                          </p:cTn>
                        </p:par>
                        <p:par>
                          <p:cTn id="24" fill="hold">
                            <p:stCondLst>
                              <p:cond delay="4000"/>
                            </p:stCondLst>
                            <p:childTnLst>
                              <p:par>
                                <p:cTn id="25" presetID="22" presetClass="entr" presetSubtype="8" fill="hold" nodeType="afterEffect">
                                  <p:stCondLst>
                                    <p:cond delay="0"/>
                                  </p:stCondLst>
                                  <p:childTnLst>
                                    <p:set>
                                      <p:cBhvr>
                                        <p:cTn id="26" dur="1" fill="hold">
                                          <p:stCondLst>
                                            <p:cond delay="0"/>
                                          </p:stCondLst>
                                        </p:cTn>
                                        <p:tgtEl>
                                          <p:spTgt spid="63">
                                            <p:txEl>
                                              <p:pRg st="4" end="4"/>
                                            </p:txEl>
                                          </p:spTgt>
                                        </p:tgtEl>
                                        <p:attrNameLst>
                                          <p:attrName>style.visibility</p:attrName>
                                        </p:attrNameLst>
                                      </p:cBhvr>
                                      <p:to>
                                        <p:strVal val="visible"/>
                                      </p:to>
                                    </p:set>
                                    <p:animEffect transition="in" filter="wipe(left)">
                                      <p:cBhvr>
                                        <p:cTn id="27" dur="750"/>
                                        <p:tgtEl>
                                          <p:spTgt spid="63">
                                            <p:txEl>
                                              <p:pRg st="4" end="4"/>
                                            </p:txEl>
                                          </p:spTgt>
                                        </p:tgtEl>
                                      </p:cBhvr>
                                    </p:animEffect>
                                  </p:childTnLst>
                                </p:cTn>
                              </p:par>
                            </p:childTnLst>
                          </p:cTn>
                        </p:par>
                        <p:par>
                          <p:cTn id="28" fill="hold">
                            <p:stCondLst>
                              <p:cond delay="4750"/>
                            </p:stCondLst>
                            <p:childTnLst>
                              <p:par>
                                <p:cTn id="29" presetID="22" presetClass="entr" presetSubtype="8" fill="hold" nodeType="afterEffect">
                                  <p:stCondLst>
                                    <p:cond delay="0"/>
                                  </p:stCondLst>
                                  <p:childTnLst>
                                    <p:set>
                                      <p:cBhvr>
                                        <p:cTn id="30" dur="1" fill="hold">
                                          <p:stCondLst>
                                            <p:cond delay="0"/>
                                          </p:stCondLst>
                                        </p:cTn>
                                        <p:tgtEl>
                                          <p:spTgt spid="63">
                                            <p:txEl>
                                              <p:pRg st="5" end="5"/>
                                            </p:txEl>
                                          </p:spTgt>
                                        </p:tgtEl>
                                        <p:attrNameLst>
                                          <p:attrName>style.visibility</p:attrName>
                                        </p:attrNameLst>
                                      </p:cBhvr>
                                      <p:to>
                                        <p:strVal val="visible"/>
                                      </p:to>
                                    </p:set>
                                    <p:animEffect transition="in" filter="wipe(left)">
                                      <p:cBhvr>
                                        <p:cTn id="31" dur="750"/>
                                        <p:tgtEl>
                                          <p:spTgt spid="6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extBox 62"/>
          <p:cNvSpPr txBox="1"/>
          <p:nvPr/>
        </p:nvSpPr>
        <p:spPr>
          <a:xfrm>
            <a:off x="7696872" y="1262063"/>
            <a:ext cx="4060153" cy="5080371"/>
          </a:xfrm>
          <a:prstGeom prst="rect">
            <a:avLst/>
          </a:prstGeom>
          <a:noFill/>
        </p:spPr>
        <p:txBody>
          <a:bodyPr wrap="square" lIns="91440" tIns="146304" rIns="91440" bIns="146304" rtlCol="0">
            <a:noAutofit/>
          </a:bodyPr>
          <a:lstStyle/>
          <a:p>
            <a:pPr marL="339725" indent="-339725" fontAlgn="base">
              <a:spcAft>
                <a:spcPts val="800"/>
              </a:spcAft>
              <a:buClr>
                <a:srgbClr val="50B347"/>
              </a:buClr>
              <a:buSzPct val="100000"/>
              <a:buBlip>
                <a:blip r:embed="rId11"/>
              </a:buBlip>
            </a:pPr>
            <a:r>
              <a:rPr lang="en-US" dirty="0">
                <a:solidFill>
                  <a:srgbClr val="505050"/>
                </a:solidFill>
                <a:ea typeface="Segoe UI" pitchFamily="34" charset="0"/>
                <a:cs typeface="Segoe UI" pitchFamily="34" charset="0"/>
              </a:rPr>
              <a:t>Distributed, parallel file system in the cloud </a:t>
            </a:r>
          </a:p>
          <a:p>
            <a:pPr marL="339725" indent="-339725" fontAlgn="base">
              <a:spcAft>
                <a:spcPts val="800"/>
              </a:spcAft>
              <a:buClr>
                <a:srgbClr val="50B347"/>
              </a:buClr>
              <a:buSzPct val="100000"/>
              <a:buBlip>
                <a:blip r:embed="rId11"/>
              </a:buBlip>
            </a:pPr>
            <a:r>
              <a:rPr lang="en-US" dirty="0">
                <a:solidFill>
                  <a:srgbClr val="505050"/>
                </a:solidFill>
                <a:ea typeface="Segoe UI" pitchFamily="34" charset="0"/>
                <a:cs typeface="Segoe UI" pitchFamily="34" charset="0"/>
              </a:rPr>
              <a:t>Performance-tuned and optimized for analytics</a:t>
            </a:r>
          </a:p>
          <a:p>
            <a:pPr marL="339725" indent="-339725" fontAlgn="base">
              <a:spcAft>
                <a:spcPts val="800"/>
              </a:spcAft>
              <a:buClr>
                <a:srgbClr val="50B347"/>
              </a:buClr>
              <a:buSzPct val="100000"/>
              <a:buBlip>
                <a:blip r:embed="rId11"/>
              </a:buBlip>
            </a:pPr>
            <a:r>
              <a:rPr lang="en-US" dirty="0">
                <a:solidFill>
                  <a:srgbClr val="505050"/>
                </a:solidFill>
                <a:ea typeface="Segoe UI" pitchFamily="34" charset="0"/>
                <a:cs typeface="Segoe UI" pitchFamily="34" charset="0"/>
              </a:rPr>
              <a:t>No fixed size limits</a:t>
            </a:r>
          </a:p>
          <a:p>
            <a:pPr marL="339725" indent="-339725" fontAlgn="base">
              <a:spcAft>
                <a:spcPts val="800"/>
              </a:spcAft>
              <a:buClr>
                <a:srgbClr val="50B347"/>
              </a:buClr>
              <a:buSzPct val="100000"/>
              <a:buBlip>
                <a:blip r:embed="rId11"/>
              </a:buBlip>
            </a:pPr>
            <a:r>
              <a:rPr lang="en-US" dirty="0">
                <a:solidFill>
                  <a:srgbClr val="505050"/>
                </a:solidFill>
                <a:ea typeface="Segoe UI" pitchFamily="34" charset="0"/>
                <a:cs typeface="Segoe UI" pitchFamily="34" charset="0"/>
              </a:rPr>
              <a:t>Stores all data types</a:t>
            </a:r>
          </a:p>
          <a:p>
            <a:pPr marL="339725" indent="-339725" fontAlgn="base">
              <a:spcAft>
                <a:spcPts val="800"/>
              </a:spcAft>
              <a:buClr>
                <a:srgbClr val="50B347"/>
              </a:buClr>
              <a:buSzPct val="100000"/>
              <a:buBlip>
                <a:blip r:embed="rId11"/>
              </a:buBlip>
            </a:pPr>
            <a:r>
              <a:rPr lang="en-US" dirty="0">
                <a:solidFill>
                  <a:srgbClr val="505050"/>
                </a:solidFill>
                <a:ea typeface="Segoe UI" pitchFamily="34" charset="0"/>
                <a:cs typeface="Segoe UI" pitchFamily="34" charset="0"/>
              </a:rPr>
              <a:t>Highly available with local &amp; geo redundant storage</a:t>
            </a:r>
          </a:p>
          <a:p>
            <a:pPr marL="339725" indent="-339725" fontAlgn="base">
              <a:spcAft>
                <a:spcPts val="800"/>
              </a:spcAft>
              <a:buClr>
                <a:srgbClr val="50B347"/>
              </a:buClr>
              <a:buSzPct val="100000"/>
              <a:buBlip>
                <a:blip r:embed="rId11"/>
              </a:buBlip>
            </a:pPr>
            <a:r>
              <a:rPr lang="en-US" dirty="0">
                <a:solidFill>
                  <a:srgbClr val="505050"/>
                </a:solidFill>
                <a:ea typeface="Segoe UI" pitchFamily="34" charset="0"/>
                <a:cs typeface="Segoe UI" pitchFamily="34" charset="0"/>
              </a:rPr>
              <a:t>WebHDFS REST API</a:t>
            </a:r>
          </a:p>
          <a:p>
            <a:pPr marL="339725" indent="-339725" fontAlgn="base">
              <a:spcAft>
                <a:spcPts val="800"/>
              </a:spcAft>
              <a:buClr>
                <a:srgbClr val="50B347"/>
              </a:buClr>
              <a:buSzPct val="100000"/>
              <a:buBlip>
                <a:blip r:embed="rId11"/>
              </a:buBlip>
            </a:pPr>
            <a:r>
              <a:rPr lang="en-US" dirty="0">
                <a:solidFill>
                  <a:srgbClr val="505050"/>
                </a:solidFill>
                <a:ea typeface="Segoe UI" pitchFamily="34" charset="0"/>
                <a:cs typeface="Segoe UI" pitchFamily="34" charset="0"/>
              </a:rPr>
              <a:t>Supported by leading</a:t>
            </a:r>
            <a:br>
              <a:rPr lang="en-US" dirty="0">
                <a:solidFill>
                  <a:srgbClr val="505050"/>
                </a:solidFill>
                <a:ea typeface="Segoe UI" pitchFamily="34" charset="0"/>
                <a:cs typeface="Segoe UI" pitchFamily="34" charset="0"/>
              </a:rPr>
            </a:br>
            <a:r>
              <a:rPr lang="en-US" dirty="0">
                <a:solidFill>
                  <a:srgbClr val="505050"/>
                </a:solidFill>
                <a:ea typeface="Segoe UI" pitchFamily="34" charset="0"/>
                <a:cs typeface="Segoe UI" pitchFamily="34" charset="0"/>
              </a:rPr>
              <a:t>Hadoop distros</a:t>
            </a:r>
          </a:p>
          <a:p>
            <a:pPr marL="339725" indent="-339725" fontAlgn="base">
              <a:spcAft>
                <a:spcPts val="800"/>
              </a:spcAft>
              <a:buClr>
                <a:srgbClr val="50B347"/>
              </a:buClr>
              <a:buSzPct val="100000"/>
              <a:buBlip>
                <a:blip r:embed="rId11"/>
              </a:buBlip>
            </a:pPr>
            <a:r>
              <a:rPr lang="en-US" dirty="0">
                <a:solidFill>
                  <a:srgbClr val="505050"/>
                </a:solidFill>
                <a:ea typeface="Segoe UI" pitchFamily="34" charset="0"/>
                <a:cs typeface="Segoe UI" pitchFamily="34" charset="0"/>
              </a:rPr>
              <a:t>Role-based security</a:t>
            </a:r>
          </a:p>
          <a:p>
            <a:pPr marL="339725" indent="-339725" fontAlgn="base">
              <a:spcAft>
                <a:spcPts val="800"/>
              </a:spcAft>
              <a:buClr>
                <a:srgbClr val="50B347"/>
              </a:buClr>
              <a:buSzPct val="100000"/>
              <a:buBlip>
                <a:blip r:embed="rId11"/>
              </a:buBlip>
            </a:pPr>
            <a:r>
              <a:rPr lang="en-US" dirty="0">
                <a:solidFill>
                  <a:srgbClr val="505050"/>
                </a:solidFill>
                <a:ea typeface="Segoe UI" pitchFamily="34" charset="0"/>
                <a:cs typeface="Segoe UI" pitchFamily="34" charset="0"/>
              </a:rPr>
              <a:t>Low latency and high</a:t>
            </a:r>
            <a:br>
              <a:rPr lang="en-US" dirty="0">
                <a:solidFill>
                  <a:srgbClr val="505050"/>
                </a:solidFill>
                <a:ea typeface="Segoe UI" pitchFamily="34" charset="0"/>
                <a:cs typeface="Segoe UI" pitchFamily="34" charset="0"/>
              </a:rPr>
            </a:br>
            <a:r>
              <a:rPr lang="en-US" dirty="0">
                <a:solidFill>
                  <a:srgbClr val="505050"/>
                </a:solidFill>
                <a:ea typeface="Segoe UI" pitchFamily="34" charset="0"/>
                <a:cs typeface="Segoe UI" pitchFamily="34" charset="0"/>
              </a:rPr>
              <a:t>throughput workloads</a:t>
            </a:r>
          </a:p>
        </p:txBody>
      </p:sp>
      <p:sp>
        <p:nvSpPr>
          <p:cNvPr id="2" name="Title 1"/>
          <p:cNvSpPr>
            <a:spLocks noGrp="1"/>
          </p:cNvSpPr>
          <p:nvPr>
            <p:ph type="title"/>
          </p:nvPr>
        </p:nvSpPr>
        <p:spPr/>
        <p:txBody>
          <a:bodyPr/>
          <a:lstStyle/>
          <a:p>
            <a:r>
              <a:rPr lang="en-US" dirty="0">
                <a:solidFill>
                  <a:srgbClr val="0070C0"/>
                </a:solidFill>
              </a:rPr>
              <a:t>Azure Data Lake: Store</a:t>
            </a:r>
          </a:p>
        </p:txBody>
      </p:sp>
      <p:sp>
        <p:nvSpPr>
          <p:cNvPr id="175" name="Rectangle 174"/>
          <p:cNvSpPr/>
          <p:nvPr/>
        </p:nvSpPr>
        <p:spPr bwMode="auto">
          <a:xfrm>
            <a:off x="0" y="1099227"/>
            <a:ext cx="415519" cy="5243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b="1" dirty="0">
              <a:solidFill>
                <a:schemeClr val="bg1"/>
              </a:solidFill>
              <a:latin typeface="+mj-lt"/>
              <a:ea typeface="Segoe UI" pitchFamily="34" charset="0"/>
              <a:cs typeface="Segoe UI" pitchFamily="34" charset="0"/>
            </a:endParaRPr>
          </a:p>
        </p:txBody>
      </p:sp>
      <p:grpSp>
        <p:nvGrpSpPr>
          <p:cNvPr id="5" name="Group 4"/>
          <p:cNvGrpSpPr/>
          <p:nvPr/>
        </p:nvGrpSpPr>
        <p:grpSpPr>
          <a:xfrm>
            <a:off x="425247" y="1261033"/>
            <a:ext cx="7270475" cy="5081401"/>
            <a:chOff x="425247" y="1261033"/>
            <a:chExt cx="7270475" cy="5081401"/>
          </a:xfrm>
        </p:grpSpPr>
        <p:grpSp>
          <p:nvGrpSpPr>
            <p:cNvPr id="4" name="Group 3"/>
            <p:cNvGrpSpPr/>
            <p:nvPr/>
          </p:nvGrpSpPr>
          <p:grpSpPr>
            <a:xfrm>
              <a:off x="425247" y="1261033"/>
              <a:ext cx="7270475" cy="5081401"/>
              <a:chOff x="425247" y="1261033"/>
              <a:chExt cx="7270475" cy="5081401"/>
            </a:xfrm>
          </p:grpSpPr>
          <p:grpSp>
            <p:nvGrpSpPr>
              <p:cNvPr id="174" name="Group 173"/>
              <p:cNvGrpSpPr/>
              <p:nvPr/>
            </p:nvGrpSpPr>
            <p:grpSpPr>
              <a:xfrm>
                <a:off x="425247" y="1261033"/>
                <a:ext cx="7270475" cy="5081401"/>
                <a:chOff x="434975" y="1261033"/>
                <a:chExt cx="7270475" cy="5081401"/>
              </a:xfrm>
            </p:grpSpPr>
            <p:sp>
              <p:nvSpPr>
                <p:cNvPr id="73" name="Rectangle 72"/>
                <p:cNvSpPr>
                  <a:spLocks/>
                </p:cNvSpPr>
                <p:nvPr/>
              </p:nvSpPr>
              <p:spPr>
                <a:xfrm>
                  <a:off x="443854" y="3585151"/>
                  <a:ext cx="7253020" cy="548640"/>
                </a:xfrm>
                <a:prstGeom prst="rect">
                  <a:avLst/>
                </a:prstGeom>
                <a:solidFill>
                  <a:srgbClr val="2D0CB8"/>
                </a:solidFill>
                <a:ln w="3175" cmpd="sng">
                  <a:solidFill>
                    <a:schemeClr val="accent1">
                      <a:lumMod val="75000"/>
                      <a:lumOff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lIns="179285" tIns="91440" rIns="179285" bIns="91440" rtlCol="0" anchor="b" anchorCtr="0"/>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2400" dirty="0">
                      <a:solidFill>
                        <a:schemeClr val="bg1"/>
                      </a:solidFill>
                      <a:latin typeface="+mj-lt"/>
                      <a:cs typeface="Segoe UI Semibold" panose="020B0702040204020203" pitchFamily="34" charset="0"/>
                    </a:rPr>
                    <a:t>YARN</a:t>
                  </a:r>
                </a:p>
              </p:txBody>
            </p:sp>
            <p:sp>
              <p:nvSpPr>
                <p:cNvPr id="116" name="Isosceles Triangle 115"/>
                <p:cNvSpPr/>
                <p:nvPr/>
              </p:nvSpPr>
              <p:spPr bwMode="auto">
                <a:xfrm rot="10800000">
                  <a:off x="5698402" y="3486492"/>
                  <a:ext cx="805096" cy="223572"/>
                </a:xfrm>
                <a:prstGeom prst="triangle">
                  <a:avLst/>
                </a:prstGeom>
                <a:solidFill>
                  <a:srgbClr val="008DB5"/>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GB" sz="2000" b="1" dirty="0">
                    <a:solidFill>
                      <a:schemeClr val="bg1"/>
                    </a:solidFill>
                    <a:latin typeface="+mj-lt"/>
                    <a:ea typeface="Segoe UI" pitchFamily="34" charset="0"/>
                    <a:cs typeface="Segoe UI" pitchFamily="34" charset="0"/>
                  </a:endParaRPr>
                </a:p>
              </p:txBody>
            </p:sp>
            <p:sp>
              <p:nvSpPr>
                <p:cNvPr id="117" name="Isosceles Triangle 116"/>
                <p:cNvSpPr/>
                <p:nvPr/>
              </p:nvSpPr>
              <p:spPr bwMode="auto">
                <a:xfrm rot="10800000">
                  <a:off x="6776804" y="3486492"/>
                  <a:ext cx="805096" cy="223572"/>
                </a:xfrm>
                <a:prstGeom prst="triangle">
                  <a:avLst/>
                </a:prstGeom>
                <a:solidFill>
                  <a:srgbClr val="E51937"/>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GB" sz="2000" b="1" dirty="0">
                    <a:solidFill>
                      <a:schemeClr val="bg1"/>
                    </a:solidFill>
                    <a:latin typeface="+mj-lt"/>
                    <a:ea typeface="Segoe UI" pitchFamily="34" charset="0"/>
                    <a:cs typeface="Segoe UI" pitchFamily="34" charset="0"/>
                  </a:endParaRPr>
                </a:p>
              </p:txBody>
            </p:sp>
            <p:sp>
              <p:nvSpPr>
                <p:cNvPr id="75" name="Isosceles Triangle 74"/>
                <p:cNvSpPr/>
                <p:nvPr/>
              </p:nvSpPr>
              <p:spPr bwMode="auto">
                <a:xfrm rot="10800000">
                  <a:off x="4601085" y="3486492"/>
                  <a:ext cx="805096" cy="223572"/>
                </a:xfrm>
                <a:prstGeom prst="triangle">
                  <a:avLst/>
                </a:prstGeom>
                <a:solidFill>
                  <a:schemeClr val="accent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GB" sz="2000" b="1" dirty="0">
                    <a:solidFill>
                      <a:schemeClr val="bg1"/>
                    </a:solidFill>
                    <a:latin typeface="+mj-lt"/>
                    <a:ea typeface="Segoe UI" pitchFamily="34" charset="0"/>
                    <a:cs typeface="Segoe UI" pitchFamily="34" charset="0"/>
                  </a:endParaRPr>
                </a:p>
              </p:txBody>
            </p:sp>
            <p:sp>
              <p:nvSpPr>
                <p:cNvPr id="77" name="Rectangle 76"/>
                <p:cNvSpPr>
                  <a:spLocks/>
                </p:cNvSpPr>
                <p:nvPr/>
              </p:nvSpPr>
              <p:spPr>
                <a:xfrm>
                  <a:off x="434975" y="4206636"/>
                  <a:ext cx="7261898" cy="548640"/>
                </a:xfrm>
                <a:prstGeom prst="rect">
                  <a:avLst/>
                </a:prstGeom>
                <a:solidFill>
                  <a:srgbClr val="2D0CB8"/>
                </a:solidFill>
                <a:ln w="3175" cmpd="sng">
                  <a:solidFill>
                    <a:schemeClr val="accent1">
                      <a:lumMod val="75000"/>
                      <a:lumOff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lIns="179285" tIns="91440" rIns="179285" bIns="91440" rtlCol="0" anchor="b" anchorCtr="0"/>
                <a:lstStyle/>
                <a:p>
                  <a:pPr algn="ctr" defTabSz="931863" eaLnBrk="0" fontAlgn="base" hangingPunct="0">
                    <a:spcBef>
                      <a:spcPct val="0"/>
                    </a:spcBef>
                    <a:spcAft>
                      <a:spcPct val="0"/>
                    </a:spcAft>
                  </a:pPr>
                  <a:r>
                    <a:rPr lang="en-US" sz="2400" dirty="0">
                      <a:solidFill>
                        <a:schemeClr val="bg1"/>
                      </a:solidFill>
                      <a:latin typeface="+mj-lt"/>
                      <a:cs typeface="Segoe UI Semibold" panose="020B0702040204020203" pitchFamily="34" charset="0"/>
                    </a:rPr>
                    <a:t>HDFS</a:t>
                  </a:r>
                </a:p>
              </p:txBody>
            </p:sp>
            <p:sp>
              <p:nvSpPr>
                <p:cNvPr id="79" name="Rectangle 78"/>
                <p:cNvSpPr/>
                <p:nvPr/>
              </p:nvSpPr>
              <p:spPr bwMode="auto">
                <a:xfrm>
                  <a:off x="2505934" y="1269802"/>
                  <a:ext cx="2010619" cy="963260"/>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dirty="0">
                      <a:solidFill>
                        <a:schemeClr val="bg1"/>
                      </a:solidFill>
                      <a:latin typeface="+mj-lt"/>
                    </a:rPr>
                    <a:t>HDInsight</a:t>
                  </a:r>
                </a:p>
              </p:txBody>
            </p:sp>
            <p:sp>
              <p:nvSpPr>
                <p:cNvPr id="80" name="Rectangle 79"/>
                <p:cNvSpPr/>
                <p:nvPr/>
              </p:nvSpPr>
              <p:spPr bwMode="auto">
                <a:xfrm>
                  <a:off x="457762" y="1269802"/>
                  <a:ext cx="2010619" cy="963260"/>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dirty="0">
                      <a:solidFill>
                        <a:schemeClr val="bg1"/>
                      </a:solidFill>
                      <a:latin typeface="+mj-lt"/>
                    </a:rPr>
                    <a:t>Analytics Service</a:t>
                  </a:r>
                  <a:endParaRPr lang="en-GB" sz="2400" dirty="0">
                    <a:solidFill>
                      <a:schemeClr val="bg1"/>
                    </a:solidFill>
                    <a:latin typeface="+mj-lt"/>
                    <a:ea typeface="Segoe UI" pitchFamily="34" charset="0"/>
                    <a:cs typeface="Segoe UI" pitchFamily="34" charset="0"/>
                  </a:endParaRPr>
                </a:p>
              </p:txBody>
            </p:sp>
            <p:sp>
              <p:nvSpPr>
                <p:cNvPr id="84" name="Rectangle 83"/>
                <p:cNvSpPr/>
                <p:nvPr/>
              </p:nvSpPr>
              <p:spPr>
                <a:xfrm>
                  <a:off x="434976" y="4828120"/>
                  <a:ext cx="7261896" cy="1514314"/>
                </a:xfrm>
                <a:prstGeom prst="rect">
                  <a:avLst/>
                </a:prstGeom>
                <a:noFill/>
                <a:ln w="3175">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2000" dirty="0">
                      <a:solidFill>
                        <a:schemeClr val="accent1"/>
                      </a:solidFill>
                      <a:latin typeface="Segoe UI Semibold" panose="020B0702040204020203" pitchFamily="34" charset="0"/>
                      <a:cs typeface="Segoe UI Semibold" panose="020B0702040204020203" pitchFamily="34" charset="0"/>
                    </a:rPr>
                    <a:t>Store</a:t>
                  </a:r>
                </a:p>
              </p:txBody>
            </p:sp>
            <p:sp>
              <p:nvSpPr>
                <p:cNvPr id="52" name="Rectangle 51"/>
                <p:cNvSpPr/>
                <p:nvPr/>
              </p:nvSpPr>
              <p:spPr bwMode="auto">
                <a:xfrm>
                  <a:off x="4554106" y="1269801"/>
                  <a:ext cx="1046191" cy="22480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dirty="0">
                    <a:solidFill>
                      <a:schemeClr val="accent1"/>
                    </a:solidFill>
                    <a:latin typeface="Segoe UI Semibold" panose="020B0702040204020203" pitchFamily="34" charset="0"/>
                    <a:ea typeface="Segoe UI" pitchFamily="34" charset="0"/>
                    <a:cs typeface="Segoe UI Semibold" panose="020B0702040204020203" pitchFamily="34" charset="0"/>
                  </a:endParaRPr>
                </a:p>
              </p:txBody>
            </p:sp>
            <p:sp>
              <p:nvSpPr>
                <p:cNvPr id="53" name="Rectangle 52"/>
                <p:cNvSpPr/>
                <p:nvPr/>
              </p:nvSpPr>
              <p:spPr bwMode="auto">
                <a:xfrm>
                  <a:off x="5581602" y="1269801"/>
                  <a:ext cx="1064488" cy="2248099"/>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6646815" y="1269801"/>
                  <a:ext cx="1058635" cy="2248099"/>
                </a:xfrm>
                <a:prstGeom prst="rect">
                  <a:avLst/>
                </a:prstGeom>
                <a:solidFill>
                  <a:srgbClr val="E5193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74" name="Isosceles Triangle 73"/>
                <p:cNvSpPr/>
                <p:nvPr/>
              </p:nvSpPr>
              <p:spPr bwMode="auto">
                <a:xfrm rot="10800000">
                  <a:off x="495522" y="3486492"/>
                  <a:ext cx="805096" cy="223572"/>
                </a:xfrm>
                <a:prstGeom prst="triangle">
                  <a:avLst/>
                </a:prstGeom>
                <a:solidFill>
                  <a:schemeClr val="accent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GB" sz="2000" b="1" dirty="0">
                    <a:solidFill>
                      <a:schemeClr val="bg1"/>
                    </a:solidFill>
                    <a:latin typeface="+mj-lt"/>
                    <a:ea typeface="Segoe UI" pitchFamily="34" charset="0"/>
                    <a:cs typeface="Segoe UI" pitchFamily="34" charset="0"/>
                  </a:endParaRPr>
                </a:p>
              </p:txBody>
            </p:sp>
            <p:sp>
              <p:nvSpPr>
                <p:cNvPr id="118" name="Isosceles Triangle 117"/>
                <p:cNvSpPr/>
                <p:nvPr/>
              </p:nvSpPr>
              <p:spPr bwMode="auto">
                <a:xfrm rot="10800000">
                  <a:off x="2568433" y="3486492"/>
                  <a:ext cx="805096" cy="223572"/>
                </a:xfrm>
                <a:prstGeom prst="triangle">
                  <a:avLst/>
                </a:prstGeom>
                <a:solidFill>
                  <a:schemeClr val="accent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GB" sz="2000" b="1" dirty="0">
                    <a:solidFill>
                      <a:schemeClr val="bg1"/>
                    </a:solidFill>
                    <a:latin typeface="+mj-lt"/>
                    <a:ea typeface="Segoe UI" pitchFamily="34" charset="0"/>
                    <a:cs typeface="Segoe UI" pitchFamily="34" charset="0"/>
                  </a:endParaRPr>
                </a:p>
              </p:txBody>
            </p:sp>
            <p:sp>
              <p:nvSpPr>
                <p:cNvPr id="78" name="Rectangle 77"/>
                <p:cNvSpPr/>
                <p:nvPr/>
              </p:nvSpPr>
              <p:spPr bwMode="auto">
                <a:xfrm>
                  <a:off x="457762" y="2272458"/>
                  <a:ext cx="4058791" cy="1241131"/>
                </a:xfrm>
                <a:prstGeom prst="rect">
                  <a:avLst/>
                </a:prstGeom>
                <a:solidFill>
                  <a:schemeClr val="accent1"/>
                </a:solidFill>
                <a:ln w="3175">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GB" sz="2000" b="1" dirty="0">
                    <a:solidFill>
                      <a:schemeClr val="bg1"/>
                    </a:solidFill>
                    <a:latin typeface="+mj-lt"/>
                    <a:ea typeface="Segoe UI" pitchFamily="34" charset="0"/>
                    <a:cs typeface="Segoe UI" pitchFamily="34" charset="0"/>
                  </a:endParaRPr>
                </a:p>
              </p:txBody>
            </p:sp>
            <p:pic>
              <p:nvPicPr>
                <p:cNvPr id="119" name="Picture 118"/>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2405332" y="2692550"/>
                  <a:ext cx="689303" cy="355560"/>
                </a:xfrm>
                <a:prstGeom prst="rect">
                  <a:avLst/>
                </a:prstGeom>
                <a:noFill/>
                <a:ln>
                  <a:noFill/>
                </a:ln>
              </p:spPr>
            </p:pic>
            <p:sp>
              <p:nvSpPr>
                <p:cNvPr id="120" name="TextBox 12"/>
                <p:cNvSpPr txBox="1"/>
                <p:nvPr/>
              </p:nvSpPr>
              <p:spPr>
                <a:xfrm>
                  <a:off x="598829" y="2749688"/>
                  <a:ext cx="594715" cy="241285"/>
                </a:xfrm>
                <a:prstGeom prst="rect">
                  <a:avLst/>
                </a:prstGeom>
                <a:noFill/>
              </p:spPr>
              <p:txBody>
                <a:bodyPr wrap="none" lIns="0" tIns="0" rIns="0" bIns="0" rtlCol="0">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r>
                    <a:rPr lang="en-US" sz="1568" b="1" dirty="0">
                      <a:solidFill>
                        <a:schemeClr val="bg1"/>
                      </a:solidFill>
                    </a:rPr>
                    <a:t>U-SQL</a:t>
                  </a:r>
                </a:p>
              </p:txBody>
            </p:sp>
            <p:sp>
              <p:nvSpPr>
                <p:cNvPr id="122" name="Freeform 121"/>
                <p:cNvSpPr>
                  <a:spLocks noChangeAspect="1"/>
                </p:cNvSpPr>
                <p:nvPr/>
              </p:nvSpPr>
              <p:spPr bwMode="auto">
                <a:xfrm>
                  <a:off x="1511350" y="2668286"/>
                  <a:ext cx="576176" cy="404089"/>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2803" fontAlgn="base">
                    <a:spcBef>
                      <a:spcPct val="0"/>
                    </a:spcBef>
                    <a:spcAft>
                      <a:spcPct val="0"/>
                    </a:spcAft>
                  </a:pPr>
                  <a:endParaRPr lang="en-IN" sz="1567" dirty="0">
                    <a:solidFill>
                      <a:srgbClr val="000000"/>
                    </a:solidFill>
                  </a:endParaRPr>
                </a:p>
              </p:txBody>
            </p:sp>
            <p:grpSp>
              <p:nvGrpSpPr>
                <p:cNvPr id="56" name="Group 55"/>
                <p:cNvGrpSpPr/>
                <p:nvPr/>
              </p:nvGrpSpPr>
              <p:grpSpPr>
                <a:xfrm>
                  <a:off x="4747653" y="4870208"/>
                  <a:ext cx="2496516" cy="1420410"/>
                  <a:chOff x="4747653" y="4870208"/>
                  <a:chExt cx="2496516" cy="1420410"/>
                </a:xfrm>
              </p:grpSpPr>
              <p:sp>
                <p:nvSpPr>
                  <p:cNvPr id="87" name="Rectangle 86"/>
                  <p:cNvSpPr/>
                  <p:nvPr>
                    <p:custDataLst>
                      <p:tags r:id="rId5"/>
                    </p:custDataLst>
                  </p:nvPr>
                </p:nvSpPr>
                <p:spPr bwMode="auto">
                  <a:xfrm>
                    <a:off x="4747653" y="5604818"/>
                    <a:ext cx="1070933" cy="685800"/>
                  </a:xfrm>
                  <a:prstGeom prst="rect">
                    <a:avLst/>
                  </a:prstGeom>
                  <a:solidFill>
                    <a:srgbClr val="5DDFFD"/>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Clickstream</a:t>
                    </a:r>
                  </a:p>
                </p:txBody>
              </p:sp>
              <p:sp>
                <p:nvSpPr>
                  <p:cNvPr id="90" name="Rectangle 89"/>
                  <p:cNvSpPr/>
                  <p:nvPr>
                    <p:custDataLst>
                      <p:tags r:id="rId6"/>
                    </p:custDataLst>
                  </p:nvPr>
                </p:nvSpPr>
                <p:spPr bwMode="auto">
                  <a:xfrm>
                    <a:off x="4747653" y="4870208"/>
                    <a:ext cx="1070933" cy="685800"/>
                  </a:xfrm>
                  <a:prstGeom prst="rect">
                    <a:avLst/>
                  </a:prstGeom>
                  <a:solidFill>
                    <a:srgbClr val="5DDFFD"/>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Sensors</a:t>
                    </a:r>
                  </a:p>
                </p:txBody>
              </p:sp>
              <p:sp>
                <p:nvSpPr>
                  <p:cNvPr id="94" name="Rectangle 93"/>
                  <p:cNvSpPr/>
                  <p:nvPr>
                    <p:custDataLst>
                      <p:tags r:id="rId7"/>
                    </p:custDataLst>
                  </p:nvPr>
                </p:nvSpPr>
                <p:spPr bwMode="auto">
                  <a:xfrm>
                    <a:off x="6173236" y="5604818"/>
                    <a:ext cx="1070933" cy="685800"/>
                  </a:xfrm>
                  <a:prstGeom prst="rect">
                    <a:avLst/>
                  </a:prstGeom>
                  <a:solidFill>
                    <a:srgbClr val="5DDFFD"/>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Video</a:t>
                    </a:r>
                  </a:p>
                </p:txBody>
              </p:sp>
              <p:sp>
                <p:nvSpPr>
                  <p:cNvPr id="97" name="Rectangle 96"/>
                  <p:cNvSpPr/>
                  <p:nvPr>
                    <p:custDataLst>
                      <p:tags r:id="rId8"/>
                    </p:custDataLst>
                  </p:nvPr>
                </p:nvSpPr>
                <p:spPr bwMode="auto">
                  <a:xfrm>
                    <a:off x="6173236" y="4870208"/>
                    <a:ext cx="1070933" cy="685800"/>
                  </a:xfrm>
                  <a:prstGeom prst="rect">
                    <a:avLst/>
                  </a:prstGeom>
                  <a:solidFill>
                    <a:srgbClr val="5DDFFD"/>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Social</a:t>
                    </a:r>
                  </a:p>
                </p:txBody>
              </p:sp>
              <p:sp>
                <p:nvSpPr>
                  <p:cNvPr id="131" name="Freeform 130"/>
                  <p:cNvSpPr/>
                  <p:nvPr/>
                </p:nvSpPr>
                <p:spPr bwMode="auto">
                  <a:xfrm>
                    <a:off x="5110374" y="5710390"/>
                    <a:ext cx="345491" cy="345489"/>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4" name="Frame 5"/>
                  <p:cNvSpPr>
                    <a:spLocks noChangeAspect="1"/>
                  </p:cNvSpPr>
                  <p:nvPr/>
                </p:nvSpPr>
                <p:spPr bwMode="auto">
                  <a:xfrm>
                    <a:off x="5113258" y="4933892"/>
                    <a:ext cx="339723" cy="378672"/>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D163D"/>
                  </a:solidFill>
                  <a:ln w="9525" cap="flat" cmpd="sng" algn="ctr">
                    <a:noFill/>
                    <a:prstDash val="solid"/>
                    <a:headEnd type="none" w="med" len="med"/>
                    <a:tailEnd type="none" w="med" len="med"/>
                  </a:ln>
                  <a:effectLst/>
                </p:spPr>
                <p:txBody>
                  <a:bodyPr rot="0" spcFirstLastPara="0" vert="horz" wrap="square" lIns="43940" tIns="51685" rIns="0" bIns="103368"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1033161">
                      <a:defRPr/>
                    </a:pPr>
                    <a:endParaRPr lang="en-US" sz="480" kern="0" spc="-57"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eeform 135"/>
                  <p:cNvSpPr>
                    <a:spLocks noEditPoints="1"/>
                  </p:cNvSpPr>
                  <p:nvPr/>
                </p:nvSpPr>
                <p:spPr bwMode="auto">
                  <a:xfrm>
                    <a:off x="6565152" y="5690207"/>
                    <a:ext cx="287101" cy="343924"/>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0D163D"/>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48"/>
                    <a:endParaRPr lang="en-US" sz="480" spc="-129" dirty="0">
                      <a:solidFill>
                        <a:schemeClr val="accent3"/>
                      </a:solidFill>
                      <a:latin typeface="Segoe Light" pitchFamily="34" charset="0"/>
                    </a:endParaRPr>
                  </a:p>
                </p:txBody>
              </p:sp>
              <p:sp>
                <p:nvSpPr>
                  <p:cNvPr id="139" name="Freeform 13"/>
                  <p:cNvSpPr>
                    <a:spLocks noChangeAspect="1" noEditPoints="1"/>
                  </p:cNvSpPr>
                  <p:nvPr/>
                </p:nvSpPr>
                <p:spPr bwMode="black">
                  <a:xfrm>
                    <a:off x="6491553" y="4900349"/>
                    <a:ext cx="434298" cy="4010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42" tIns="89642" rIns="89642" bIns="89642" numCol="1" rtlCol="0" anchor="ctr" anchorCtr="0" compatLnSpc="1">
                    <a:prstTxWarp prst="textNoShape">
                      <a:avLst/>
                    </a:prstTxWarp>
                  </a:bodyPr>
                  <a:lstStyle/>
                  <a:p>
                    <a:pPr defTabSz="711705"/>
                    <a:endParaRPr lang="en-US" sz="900" spc="-118" dirty="0">
                      <a:solidFill>
                        <a:schemeClr val="bg1"/>
                      </a:solidFill>
                    </a:endParaRPr>
                  </a:p>
                </p:txBody>
              </p:sp>
            </p:grpSp>
            <p:grpSp>
              <p:nvGrpSpPr>
                <p:cNvPr id="159" name="Group 158"/>
                <p:cNvGrpSpPr/>
                <p:nvPr/>
              </p:nvGrpSpPr>
              <p:grpSpPr>
                <a:xfrm>
                  <a:off x="888796" y="4870208"/>
                  <a:ext cx="2496515" cy="1420410"/>
                  <a:chOff x="888796" y="4870208"/>
                  <a:chExt cx="2496515" cy="1420410"/>
                </a:xfrm>
              </p:grpSpPr>
              <p:sp>
                <p:nvSpPr>
                  <p:cNvPr id="66" name="Rectangle 65"/>
                  <p:cNvSpPr/>
                  <p:nvPr>
                    <p:custDataLst>
                      <p:tags r:id="rId1"/>
                    </p:custDataLst>
                  </p:nvPr>
                </p:nvSpPr>
                <p:spPr bwMode="auto">
                  <a:xfrm>
                    <a:off x="2314378" y="5604818"/>
                    <a:ext cx="1070933" cy="685800"/>
                  </a:xfrm>
                  <a:prstGeom prst="rect">
                    <a:avLst/>
                  </a:prstGeom>
                  <a:solidFill>
                    <a:srgbClr val="5DDFFD"/>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Web</a:t>
                    </a:r>
                  </a:p>
                </p:txBody>
              </p:sp>
              <p:sp>
                <p:nvSpPr>
                  <p:cNvPr id="100" name="Rectangle 99"/>
                  <p:cNvSpPr/>
                  <p:nvPr>
                    <p:custDataLst>
                      <p:tags r:id="rId2"/>
                    </p:custDataLst>
                  </p:nvPr>
                </p:nvSpPr>
                <p:spPr bwMode="auto">
                  <a:xfrm>
                    <a:off x="2314378" y="4870208"/>
                    <a:ext cx="1070933" cy="685800"/>
                  </a:xfrm>
                  <a:prstGeom prst="rect">
                    <a:avLst/>
                  </a:prstGeom>
                  <a:solidFill>
                    <a:srgbClr val="5DDFFD"/>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Devices</a:t>
                    </a:r>
                  </a:p>
                </p:txBody>
              </p:sp>
              <p:sp>
                <p:nvSpPr>
                  <p:cNvPr id="105" name="Rectangle 104"/>
                  <p:cNvSpPr/>
                  <p:nvPr>
                    <p:custDataLst>
                      <p:tags r:id="rId3"/>
                    </p:custDataLst>
                  </p:nvPr>
                </p:nvSpPr>
                <p:spPr bwMode="auto">
                  <a:xfrm>
                    <a:off x="888796" y="5604818"/>
                    <a:ext cx="1070933" cy="685800"/>
                  </a:xfrm>
                  <a:prstGeom prst="rect">
                    <a:avLst/>
                  </a:prstGeom>
                  <a:solidFill>
                    <a:srgbClr val="5DDFFD"/>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Relational</a:t>
                    </a:r>
                  </a:p>
                </p:txBody>
              </p:sp>
              <p:sp>
                <p:nvSpPr>
                  <p:cNvPr id="108" name="Rectangle 107"/>
                  <p:cNvSpPr/>
                  <p:nvPr>
                    <p:custDataLst>
                      <p:tags r:id="rId4"/>
                    </p:custDataLst>
                  </p:nvPr>
                </p:nvSpPr>
                <p:spPr bwMode="auto">
                  <a:xfrm>
                    <a:off x="888796" y="4870208"/>
                    <a:ext cx="1070933" cy="685800"/>
                  </a:xfrm>
                  <a:prstGeom prst="rect">
                    <a:avLst/>
                  </a:prstGeom>
                  <a:solidFill>
                    <a:srgbClr val="5DDFFD"/>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Applications</a:t>
                    </a:r>
                  </a:p>
                </p:txBody>
              </p:sp>
              <p:grpSp>
                <p:nvGrpSpPr>
                  <p:cNvPr id="125" name="Group 124"/>
                  <p:cNvGrpSpPr/>
                  <p:nvPr/>
                </p:nvGrpSpPr>
                <p:grpSpPr>
                  <a:xfrm>
                    <a:off x="2646802" y="5682578"/>
                    <a:ext cx="406084" cy="397883"/>
                    <a:chOff x="4030436" y="1511171"/>
                    <a:chExt cx="4398164" cy="4309344"/>
                  </a:xfrm>
                  <a:solidFill>
                    <a:schemeClr val="accent1"/>
                  </a:solidFill>
                </p:grpSpPr>
                <p:sp>
                  <p:nvSpPr>
                    <p:cNvPr id="126" name="Oval 35"/>
                    <p:cNvSpPr/>
                    <p:nvPr/>
                  </p:nvSpPr>
                  <p:spPr>
                    <a:xfrm>
                      <a:off x="4411045" y="1909551"/>
                      <a:ext cx="3592286" cy="3588790"/>
                    </a:xfrm>
                    <a:custGeom>
                      <a:avLst/>
                      <a:gdLst/>
                      <a:ahLst/>
                      <a:cxnLst/>
                      <a:rect l="l" t="t" r="r" b="b"/>
                      <a:pathLst>
                        <a:path w="3592286" h="3588790">
                          <a:moveTo>
                            <a:pt x="856899" y="2807618"/>
                          </a:moveTo>
                          <a:cubicBezTo>
                            <a:pt x="1050936" y="3101840"/>
                            <a:pt x="1319084" y="3340075"/>
                            <a:pt x="1626253" y="3475527"/>
                          </a:cubicBezTo>
                          <a:cubicBezTo>
                            <a:pt x="1631223" y="3476765"/>
                            <a:pt x="1636270" y="3477223"/>
                            <a:pt x="1641325" y="3477658"/>
                          </a:cubicBezTo>
                          <a:cubicBezTo>
                            <a:pt x="1516509" y="3295597"/>
                            <a:pt x="1404916" y="3065936"/>
                            <a:pt x="1318985" y="2807618"/>
                          </a:cubicBezTo>
                          <a:close/>
                          <a:moveTo>
                            <a:pt x="442231" y="2807618"/>
                          </a:moveTo>
                          <a:cubicBezTo>
                            <a:pt x="659711" y="3099896"/>
                            <a:pt x="969924" y="3318794"/>
                            <a:pt x="1329899" y="3418883"/>
                          </a:cubicBezTo>
                          <a:cubicBezTo>
                            <a:pt x="1089904" y="3278379"/>
                            <a:pt x="880477" y="3064398"/>
                            <a:pt x="724038" y="2807618"/>
                          </a:cubicBezTo>
                          <a:close/>
                          <a:moveTo>
                            <a:pt x="2450248" y="1844143"/>
                          </a:moveTo>
                          <a:cubicBezTo>
                            <a:pt x="2439084" y="2145593"/>
                            <a:pt x="2386150" y="2439238"/>
                            <a:pt x="2304248" y="2705865"/>
                          </a:cubicBezTo>
                          <a:lnTo>
                            <a:pt x="2801418" y="2705865"/>
                          </a:lnTo>
                          <a:cubicBezTo>
                            <a:pt x="2959192" y="2445207"/>
                            <a:pt x="3059303" y="2147324"/>
                            <a:pt x="3081979" y="1844143"/>
                          </a:cubicBezTo>
                          <a:close/>
                          <a:moveTo>
                            <a:pt x="1254663" y="1844143"/>
                          </a:moveTo>
                          <a:cubicBezTo>
                            <a:pt x="1268316" y="2144192"/>
                            <a:pt x="1322349" y="2438934"/>
                            <a:pt x="1406891" y="2705865"/>
                          </a:cubicBezTo>
                          <a:lnTo>
                            <a:pt x="2185396" y="2705865"/>
                          </a:lnTo>
                          <a:cubicBezTo>
                            <a:pt x="2269937" y="2438934"/>
                            <a:pt x="2323970" y="2144192"/>
                            <a:pt x="2337624" y="1844143"/>
                          </a:cubicBezTo>
                          <a:close/>
                          <a:moveTo>
                            <a:pt x="510307" y="1844143"/>
                          </a:moveTo>
                          <a:cubicBezTo>
                            <a:pt x="532984" y="2147324"/>
                            <a:pt x="633095" y="2445207"/>
                            <a:pt x="790868" y="2705865"/>
                          </a:cubicBezTo>
                          <a:lnTo>
                            <a:pt x="1288039" y="2705865"/>
                          </a:lnTo>
                          <a:cubicBezTo>
                            <a:pt x="1206136" y="2439238"/>
                            <a:pt x="1153202" y="2145593"/>
                            <a:pt x="1142039" y="1844143"/>
                          </a:cubicBezTo>
                          <a:close/>
                          <a:moveTo>
                            <a:pt x="105056" y="1844143"/>
                          </a:moveTo>
                          <a:cubicBezTo>
                            <a:pt x="113791" y="2161330"/>
                            <a:pt x="209946" y="2456621"/>
                            <a:pt x="371868" y="2705865"/>
                          </a:cubicBezTo>
                          <a:lnTo>
                            <a:pt x="662862" y="2705865"/>
                          </a:lnTo>
                          <a:cubicBezTo>
                            <a:pt x="516487" y="2445076"/>
                            <a:pt x="423528" y="2147271"/>
                            <a:pt x="402177" y="1844143"/>
                          </a:cubicBezTo>
                          <a:close/>
                          <a:moveTo>
                            <a:pt x="2991928" y="880669"/>
                          </a:moveTo>
                          <a:cubicBezTo>
                            <a:pt x="3140148" y="1150938"/>
                            <a:pt x="3202326" y="1447530"/>
                            <a:pt x="3195093" y="1742390"/>
                          </a:cubicBezTo>
                          <a:lnTo>
                            <a:pt x="3487230" y="1742390"/>
                          </a:lnTo>
                          <a:cubicBezTo>
                            <a:pt x="3478495" y="1425203"/>
                            <a:pt x="3382340" y="1129913"/>
                            <a:pt x="3220418" y="880669"/>
                          </a:cubicBezTo>
                          <a:close/>
                          <a:moveTo>
                            <a:pt x="2335746" y="880669"/>
                          </a:moveTo>
                          <a:cubicBezTo>
                            <a:pt x="2421574" y="1162075"/>
                            <a:pt x="2456761" y="1454793"/>
                            <a:pt x="2451714" y="1742390"/>
                          </a:cubicBezTo>
                          <a:lnTo>
                            <a:pt x="3087241" y="1742390"/>
                          </a:lnTo>
                          <a:cubicBezTo>
                            <a:pt x="3094660" y="1447457"/>
                            <a:pt x="3027007" y="1150835"/>
                            <a:pt x="2866350" y="880669"/>
                          </a:cubicBezTo>
                          <a:close/>
                          <a:moveTo>
                            <a:pt x="1367135" y="880669"/>
                          </a:moveTo>
                          <a:cubicBezTo>
                            <a:pt x="1282114" y="1157161"/>
                            <a:pt x="1247328" y="1451118"/>
                            <a:pt x="1253877" y="1742390"/>
                          </a:cubicBezTo>
                          <a:lnTo>
                            <a:pt x="2338410" y="1742390"/>
                          </a:lnTo>
                          <a:cubicBezTo>
                            <a:pt x="2344959" y="1451118"/>
                            <a:pt x="2310172" y="1157161"/>
                            <a:pt x="2225152" y="880669"/>
                          </a:cubicBezTo>
                          <a:close/>
                          <a:moveTo>
                            <a:pt x="725937" y="880669"/>
                          </a:moveTo>
                          <a:cubicBezTo>
                            <a:pt x="565279" y="1150835"/>
                            <a:pt x="497627" y="1447457"/>
                            <a:pt x="505046" y="1742390"/>
                          </a:cubicBezTo>
                          <a:lnTo>
                            <a:pt x="1140573" y="1742390"/>
                          </a:lnTo>
                          <a:cubicBezTo>
                            <a:pt x="1135526" y="1454793"/>
                            <a:pt x="1170712" y="1162075"/>
                            <a:pt x="1256541" y="880669"/>
                          </a:cubicBezTo>
                          <a:close/>
                          <a:moveTo>
                            <a:pt x="2248579" y="164328"/>
                          </a:moveTo>
                          <a:cubicBezTo>
                            <a:pt x="2555388" y="331327"/>
                            <a:pt x="2778580" y="542975"/>
                            <a:pt x="2930516" y="778916"/>
                          </a:cubicBezTo>
                          <a:lnTo>
                            <a:pt x="3150056" y="778916"/>
                          </a:lnTo>
                          <a:cubicBezTo>
                            <a:pt x="2929802" y="482911"/>
                            <a:pt x="2614435" y="262169"/>
                            <a:pt x="2248579" y="164328"/>
                          </a:cubicBezTo>
                          <a:close/>
                          <a:moveTo>
                            <a:pt x="1937815" y="108552"/>
                          </a:moveTo>
                          <a:cubicBezTo>
                            <a:pt x="2102992" y="314323"/>
                            <a:pt x="2221669" y="541474"/>
                            <a:pt x="2300881" y="778916"/>
                          </a:cubicBezTo>
                          <a:lnTo>
                            <a:pt x="2799582" y="778916"/>
                          </a:lnTo>
                          <a:cubicBezTo>
                            <a:pt x="2615287" y="515202"/>
                            <a:pt x="2334724" y="282038"/>
                            <a:pt x="1938828" y="108687"/>
                          </a:cubicBezTo>
                          <a:cubicBezTo>
                            <a:pt x="1938493" y="108605"/>
                            <a:pt x="1938154" y="108578"/>
                            <a:pt x="1937815" y="108552"/>
                          </a:cubicBezTo>
                          <a:close/>
                          <a:moveTo>
                            <a:pt x="1853094" y="0"/>
                          </a:moveTo>
                          <a:cubicBezTo>
                            <a:pt x="2818755" y="28121"/>
                            <a:pt x="3592286" y="820360"/>
                            <a:pt x="3592286" y="1793267"/>
                          </a:cubicBezTo>
                          <a:cubicBezTo>
                            <a:pt x="3592286" y="2081519"/>
                            <a:pt x="3524385" y="2353911"/>
                            <a:pt x="3401976" y="2594458"/>
                          </a:cubicBezTo>
                          <a:lnTo>
                            <a:pt x="3325255" y="2517737"/>
                          </a:lnTo>
                          <a:cubicBezTo>
                            <a:pt x="3423612" y="2313010"/>
                            <a:pt x="3480601" y="2084883"/>
                            <a:pt x="3487230" y="1844143"/>
                          </a:cubicBezTo>
                          <a:lnTo>
                            <a:pt x="3190110" y="1844143"/>
                          </a:lnTo>
                          <a:cubicBezTo>
                            <a:pt x="3168759" y="2147271"/>
                            <a:pt x="3075799" y="2445076"/>
                            <a:pt x="2929425" y="2705865"/>
                          </a:cubicBezTo>
                          <a:lnTo>
                            <a:pt x="3220418" y="2705865"/>
                          </a:lnTo>
                          <a:lnTo>
                            <a:pt x="3303597" y="2556602"/>
                          </a:lnTo>
                          <a:lnTo>
                            <a:pt x="3303597" y="2767773"/>
                          </a:lnTo>
                          <a:cubicBezTo>
                            <a:pt x="3280445" y="2805980"/>
                            <a:pt x="3254809" y="2842496"/>
                            <a:pt x="3226272" y="2876756"/>
                          </a:cubicBezTo>
                          <a:lnTo>
                            <a:pt x="3094122" y="2876756"/>
                          </a:lnTo>
                          <a:cubicBezTo>
                            <a:pt x="3114010" y="2854748"/>
                            <a:pt x="3132341" y="2831426"/>
                            <a:pt x="3150056" y="2807618"/>
                          </a:cubicBezTo>
                          <a:lnTo>
                            <a:pt x="2868249" y="2807618"/>
                          </a:lnTo>
                          <a:lnTo>
                            <a:pt x="2820582" y="2876756"/>
                          </a:lnTo>
                          <a:lnTo>
                            <a:pt x="2682941" y="2876756"/>
                          </a:lnTo>
                          <a:cubicBezTo>
                            <a:pt x="2702988" y="2855609"/>
                            <a:pt x="2719438" y="2831803"/>
                            <a:pt x="2735387" y="2807618"/>
                          </a:cubicBezTo>
                          <a:lnTo>
                            <a:pt x="2273301" y="2807618"/>
                          </a:lnTo>
                          <a:lnTo>
                            <a:pt x="2247912" y="2876756"/>
                          </a:lnTo>
                          <a:lnTo>
                            <a:pt x="2126765" y="2876756"/>
                          </a:lnTo>
                          <a:cubicBezTo>
                            <a:pt x="2136798" y="2854347"/>
                            <a:pt x="2145074" y="2831106"/>
                            <a:pt x="2153121" y="2807618"/>
                          </a:cubicBezTo>
                          <a:lnTo>
                            <a:pt x="1439165" y="2807618"/>
                          </a:lnTo>
                          <a:cubicBezTo>
                            <a:pt x="1529282" y="3070629"/>
                            <a:pt x="1647990" y="3302680"/>
                            <a:pt x="1783852" y="3480422"/>
                          </a:cubicBezTo>
                          <a:lnTo>
                            <a:pt x="1783852" y="3588790"/>
                          </a:lnTo>
                          <a:cubicBezTo>
                            <a:pt x="797525" y="3582757"/>
                            <a:pt x="0" y="2781148"/>
                            <a:pt x="0" y="1793267"/>
                          </a:cubicBezTo>
                          <a:cubicBezTo>
                            <a:pt x="0" y="1473619"/>
                            <a:pt x="83499" y="1173473"/>
                            <a:pt x="230835" y="913991"/>
                          </a:cubicBezTo>
                          <a:lnTo>
                            <a:pt x="309476" y="992632"/>
                          </a:lnTo>
                          <a:cubicBezTo>
                            <a:pt x="184125" y="1215203"/>
                            <a:pt x="112536" y="1470768"/>
                            <a:pt x="105056" y="1742390"/>
                          </a:cubicBezTo>
                          <a:lnTo>
                            <a:pt x="397194" y="1742390"/>
                          </a:lnTo>
                          <a:cubicBezTo>
                            <a:pt x="389961" y="1447530"/>
                            <a:pt x="452139" y="1150938"/>
                            <a:pt x="600359" y="880669"/>
                          </a:cubicBezTo>
                          <a:lnTo>
                            <a:pt x="371868" y="880669"/>
                          </a:lnTo>
                          <a:lnTo>
                            <a:pt x="333349" y="949791"/>
                          </a:lnTo>
                          <a:lnTo>
                            <a:pt x="333349" y="753460"/>
                          </a:lnTo>
                          <a:cubicBezTo>
                            <a:pt x="360802" y="712185"/>
                            <a:pt x="391169" y="673066"/>
                            <a:pt x="423716" y="635829"/>
                          </a:cubicBezTo>
                          <a:lnTo>
                            <a:pt x="563325" y="635829"/>
                          </a:lnTo>
                          <a:cubicBezTo>
                            <a:pt x="519731" y="680610"/>
                            <a:pt x="479611" y="728679"/>
                            <a:pt x="442230" y="778916"/>
                          </a:cubicBezTo>
                          <a:lnTo>
                            <a:pt x="661771" y="778916"/>
                          </a:lnTo>
                          <a:lnTo>
                            <a:pt x="767803" y="635829"/>
                          </a:lnTo>
                          <a:lnTo>
                            <a:pt x="906577" y="635829"/>
                          </a:lnTo>
                          <a:cubicBezTo>
                            <a:pt x="864624" y="681831"/>
                            <a:pt x="826998" y="729845"/>
                            <a:pt x="792704" y="778916"/>
                          </a:cubicBezTo>
                          <a:lnTo>
                            <a:pt x="1291405" y="778916"/>
                          </a:lnTo>
                          <a:lnTo>
                            <a:pt x="1345823" y="635829"/>
                          </a:lnTo>
                          <a:lnTo>
                            <a:pt x="1459900" y="635829"/>
                          </a:lnTo>
                          <a:cubicBezTo>
                            <a:pt x="1438327" y="682375"/>
                            <a:pt x="1419944" y="730313"/>
                            <a:pt x="1403283" y="778916"/>
                          </a:cubicBezTo>
                          <a:lnTo>
                            <a:pt x="2189004" y="778916"/>
                          </a:lnTo>
                          <a:cubicBezTo>
                            <a:pt x="2114289" y="560837"/>
                            <a:pt x="2004846" y="356159"/>
                            <a:pt x="1853094" y="17797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7" name="Left Arrow 126"/>
                    <p:cNvSpPr/>
                    <p:nvPr/>
                  </p:nvSpPr>
                  <p:spPr>
                    <a:xfrm>
                      <a:off x="4030436" y="151117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8" name="Left Arrow 127"/>
                    <p:cNvSpPr/>
                    <p:nvPr/>
                  </p:nvSpPr>
                  <p:spPr>
                    <a:xfrm flipH="1">
                      <a:off x="6270899" y="455155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142" name="Group 141"/>
                  <p:cNvGrpSpPr/>
                  <p:nvPr/>
                </p:nvGrpSpPr>
                <p:grpSpPr>
                  <a:xfrm>
                    <a:off x="2525005" y="4967669"/>
                    <a:ext cx="649679" cy="404414"/>
                    <a:chOff x="2769908" y="1409697"/>
                    <a:chExt cx="1965320" cy="1055586"/>
                  </a:xfrm>
                  <a:solidFill>
                    <a:srgbClr val="0D163D"/>
                  </a:solidFill>
                </p:grpSpPr>
                <p:sp>
                  <p:nvSpPr>
                    <p:cNvPr id="144"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78727">
                        <a:defRPr/>
                      </a:pPr>
                      <a:endParaRPr lang="en-US" sz="480" kern="0" dirty="0">
                        <a:solidFill>
                          <a:schemeClr val="accent3"/>
                        </a:solidFill>
                        <a:latin typeface="Segoe"/>
                      </a:endParaRPr>
                    </a:p>
                  </p:txBody>
                </p:sp>
                <p:sp>
                  <p:nvSpPr>
                    <p:cNvPr id="145"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43940" rIns="0" bIns="8788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78438"/>
                      <a:endParaRPr lang="en-US" sz="480" spc="-4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6"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48"/>
                      <a:endParaRPr lang="en-US" sz="480" spc="-129" dirty="0">
                        <a:gradFill>
                          <a:gsLst>
                            <a:gs pos="0">
                              <a:srgbClr val="FFFFFF"/>
                            </a:gs>
                            <a:gs pos="100000">
                              <a:srgbClr val="FFFFFF"/>
                            </a:gs>
                          </a:gsLst>
                          <a:lin ang="5400000" scaled="0"/>
                        </a:gradFill>
                        <a:latin typeface="Segoe Light" pitchFamily="34" charset="0"/>
                      </a:endParaRPr>
                    </a:p>
                  </p:txBody>
                </p:sp>
              </p:grpSp>
              <p:sp>
                <p:nvSpPr>
                  <p:cNvPr id="149" name="Donut 18"/>
                  <p:cNvSpPr/>
                  <p:nvPr/>
                </p:nvSpPr>
                <p:spPr>
                  <a:xfrm rot="20250901">
                    <a:off x="1186776" y="5680746"/>
                    <a:ext cx="474972" cy="391893"/>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nvGrpSpPr>
                  <p:cNvPr id="152" name="Group 151"/>
                  <p:cNvGrpSpPr/>
                  <p:nvPr/>
                </p:nvGrpSpPr>
                <p:grpSpPr>
                  <a:xfrm>
                    <a:off x="1246427" y="4933033"/>
                    <a:ext cx="355671" cy="404845"/>
                    <a:chOff x="2981668" y="2145564"/>
                    <a:chExt cx="3235820" cy="3683194"/>
                  </a:xfrm>
                  <a:solidFill>
                    <a:schemeClr val="accent1"/>
                  </a:solidFill>
                </p:grpSpPr>
                <p:sp>
                  <p:nvSpPr>
                    <p:cNvPr id="153" name="Round Diagonal Corner Rectangle 53"/>
                    <p:cNvSpPr/>
                    <p:nvPr/>
                  </p:nvSpPr>
                  <p:spPr bwMode="auto">
                    <a:xfrm>
                      <a:off x="2981668" y="2145564"/>
                      <a:ext cx="3235820" cy="368319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4" name="Wave 8"/>
                    <p:cNvSpPr/>
                    <p:nvPr/>
                  </p:nvSpPr>
                  <p:spPr>
                    <a:xfrm>
                      <a:off x="3548857" y="3485674"/>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Wave 8"/>
                    <p:cNvSpPr/>
                    <p:nvPr/>
                  </p:nvSpPr>
                  <p:spPr>
                    <a:xfrm>
                      <a:off x="3548857" y="3873080"/>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Wave 8"/>
                    <p:cNvSpPr/>
                    <p:nvPr/>
                  </p:nvSpPr>
                  <p:spPr>
                    <a:xfrm>
                      <a:off x="3548857" y="4260486"/>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Wave 8"/>
                    <p:cNvSpPr/>
                    <p:nvPr/>
                  </p:nvSpPr>
                  <p:spPr>
                    <a:xfrm>
                      <a:off x="3548857" y="4647892"/>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Wave 8"/>
                    <p:cNvSpPr/>
                    <p:nvPr/>
                  </p:nvSpPr>
                  <p:spPr>
                    <a:xfrm>
                      <a:off x="3548857" y="5035298"/>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173" name="Freeform 172"/>
                <p:cNvSpPr/>
                <p:nvPr/>
              </p:nvSpPr>
              <p:spPr bwMode="auto">
                <a:xfrm rot="10800000">
                  <a:off x="455668" y="1261033"/>
                  <a:ext cx="4096344" cy="2448000"/>
                </a:xfrm>
                <a:custGeom>
                  <a:avLst/>
                  <a:gdLst>
                    <a:gd name="connsiteX0" fmla="*/ 4096344 w 4096344"/>
                    <a:gd name="connsiteY0" fmla="*/ 2448000 h 2448000"/>
                    <a:gd name="connsiteX1" fmla="*/ 0 w 4096344"/>
                    <a:gd name="connsiteY1" fmla="*/ 2448000 h 2448000"/>
                    <a:gd name="connsiteX2" fmla="*/ 0 w 4096344"/>
                    <a:gd name="connsiteY2" fmla="*/ 188193 h 2448000"/>
                    <a:gd name="connsiteX3" fmla="*/ 1213215 w 4096344"/>
                    <a:gd name="connsiteY3" fmla="*/ 188193 h 2448000"/>
                    <a:gd name="connsiteX4" fmla="*/ 1582307 w 4096344"/>
                    <a:gd name="connsiteY4" fmla="*/ 0 h 2448000"/>
                    <a:gd name="connsiteX5" fmla="*/ 1951399 w 4096344"/>
                    <a:gd name="connsiteY5" fmla="*/ 188193 h 2448000"/>
                    <a:gd name="connsiteX6" fmla="*/ 3253490 w 4096344"/>
                    <a:gd name="connsiteY6" fmla="*/ 188193 h 2448000"/>
                    <a:gd name="connsiteX7" fmla="*/ 3656036 w 4096344"/>
                    <a:gd name="connsiteY7" fmla="*/ 0 h 2448000"/>
                    <a:gd name="connsiteX8" fmla="*/ 4058582 w 4096344"/>
                    <a:gd name="connsiteY8" fmla="*/ 188193 h 2448000"/>
                    <a:gd name="connsiteX9" fmla="*/ 4096344 w 4096344"/>
                    <a:gd name="connsiteY9" fmla="*/ 188193 h 24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6344" h="2448000">
                      <a:moveTo>
                        <a:pt x="4096344" y="2448000"/>
                      </a:moveTo>
                      <a:lnTo>
                        <a:pt x="0" y="2448000"/>
                      </a:lnTo>
                      <a:lnTo>
                        <a:pt x="0" y="188193"/>
                      </a:lnTo>
                      <a:lnTo>
                        <a:pt x="1213215" y="188193"/>
                      </a:lnTo>
                      <a:lnTo>
                        <a:pt x="1582307" y="0"/>
                      </a:lnTo>
                      <a:lnTo>
                        <a:pt x="1951399" y="188193"/>
                      </a:lnTo>
                      <a:lnTo>
                        <a:pt x="3253490" y="188193"/>
                      </a:lnTo>
                      <a:lnTo>
                        <a:pt x="3656036" y="0"/>
                      </a:lnTo>
                      <a:lnTo>
                        <a:pt x="4058582" y="188193"/>
                      </a:lnTo>
                      <a:lnTo>
                        <a:pt x="4096344" y="188193"/>
                      </a:lnTo>
                      <a:close/>
                    </a:path>
                  </a:pathLst>
                </a:custGeom>
                <a:solidFill>
                  <a:srgbClr val="002060">
                    <a:alpha val="60000"/>
                  </a:srgbClr>
                </a:solidFill>
                <a:ln w="254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GB" sz="2000" b="1" dirty="0">
                    <a:solidFill>
                      <a:schemeClr val="bg1"/>
                    </a:solidFill>
                    <a:latin typeface="+mj-lt"/>
                    <a:ea typeface="Segoe UI" pitchFamily="34" charset="0"/>
                    <a:cs typeface="Segoe UI" pitchFamily="34" charset="0"/>
                  </a:endParaRPr>
                </a:p>
              </p:txBody>
            </p:sp>
          </p:grpSp>
          <p:pic>
            <p:nvPicPr>
              <p:cNvPr id="76" name="Picture 6" descr="http://www.computing.co.uk/IMG/588/289588/mapr-logo.pn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19539" t="11461" r="20828" b="14438"/>
              <a:stretch/>
            </p:blipFill>
            <p:spPr bwMode="auto">
              <a:xfrm>
                <a:off x="6783252" y="2228897"/>
                <a:ext cx="784730" cy="417904"/>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80"/>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4620573" y="2228323"/>
                <a:ext cx="869363" cy="338087"/>
              </a:xfrm>
              <a:prstGeom prst="rect">
                <a:avLst/>
              </a:prstGeom>
              <a:noFill/>
              <a:ln>
                <a:noFill/>
              </a:ln>
            </p:spPr>
          </p:pic>
          <p:pic>
            <p:nvPicPr>
              <p:cNvPr id="82" name="Picture 81"/>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5670738" y="2357529"/>
                <a:ext cx="885455" cy="128534"/>
              </a:xfrm>
              <a:prstGeom prst="rect">
                <a:avLst/>
              </a:prstGeom>
              <a:noFill/>
              <a:ln>
                <a:noFill/>
              </a:ln>
            </p:spPr>
          </p:pic>
        </p:grpSp>
        <p:pic>
          <p:nvPicPr>
            <p:cNvPr id="61" name="Picture 4" descr="https://storm.apache.org/images/logo.png"/>
            <p:cNvPicPr>
              <a:picLocks noChangeAspect="1" noChangeArrowheads="1"/>
            </p:cNvPicPr>
            <p:nvPr/>
          </p:nvPicPr>
          <p:blipFill>
            <a:blip r:embed="rId16">
              <a:lum bright="70000" contrast="-70000"/>
              <a:extLst>
                <a:ext uri="{28A0092B-C50C-407E-A947-70E740481C1C}">
                  <a14:useLocalDpi xmlns:a14="http://schemas.microsoft.com/office/drawing/2010/main" val="0"/>
                </a:ext>
              </a:extLst>
            </a:blip>
            <a:srcRect/>
            <a:stretch>
              <a:fillRect/>
            </a:stretch>
          </p:blipFill>
          <p:spPr bwMode="auto">
            <a:xfrm>
              <a:off x="3305524" y="2703547"/>
              <a:ext cx="1142049" cy="358290"/>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6" name="Slide Number Placeholder 5"/>
          <p:cNvSpPr>
            <a:spLocks noGrp="1"/>
          </p:cNvSpPr>
          <p:nvPr>
            <p:ph type="sldNum" sz="quarter" idx="4"/>
          </p:nvPr>
        </p:nvSpPr>
        <p:spPr/>
        <p:txBody>
          <a:bodyPr/>
          <a:lstStyle/>
          <a:p>
            <a:pPr>
              <a:defRPr/>
            </a:pPr>
            <a:fld id="{75FAD755-3BD0-2447-A9DF-109DAABEFD99}" type="slidenum">
              <a:rPr lang="en-US" smtClean="0"/>
              <a:pPr>
                <a:defRPr/>
              </a:pPr>
              <a:t>7</a:t>
            </a:fld>
            <a:endParaRPr lang="en-US" dirty="0"/>
          </a:p>
        </p:txBody>
      </p:sp>
    </p:spTree>
    <p:extLst>
      <p:ext uri="{BB962C8B-B14F-4D97-AF65-F5344CB8AC3E}">
        <p14:creationId xmlns:p14="http://schemas.microsoft.com/office/powerpoint/2010/main" val="250296885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63">
                                            <p:txEl>
                                              <p:pRg st="0" end="0"/>
                                            </p:txEl>
                                          </p:spTgt>
                                        </p:tgtEl>
                                        <p:attrNameLst>
                                          <p:attrName>style.visibility</p:attrName>
                                        </p:attrNameLst>
                                      </p:cBhvr>
                                      <p:to>
                                        <p:strVal val="visible"/>
                                      </p:to>
                                    </p:set>
                                    <p:animEffect transition="in" filter="wipe(left)">
                                      <p:cBhvr>
                                        <p:cTn id="11" dur="750"/>
                                        <p:tgtEl>
                                          <p:spTgt spid="63">
                                            <p:txEl>
                                              <p:pRg st="0" end="0"/>
                                            </p:txEl>
                                          </p:spTgt>
                                        </p:tgtEl>
                                      </p:cBhvr>
                                    </p:animEffect>
                                  </p:childTnLst>
                                </p:cTn>
                              </p:par>
                            </p:childTnLst>
                          </p:cTn>
                        </p:par>
                        <p:par>
                          <p:cTn id="12" fill="hold">
                            <p:stCondLst>
                              <p:cond delay="1750"/>
                            </p:stCondLst>
                            <p:childTnLst>
                              <p:par>
                                <p:cTn id="13" presetID="22" presetClass="entr" presetSubtype="8" fill="hold" nodeType="afterEffect">
                                  <p:stCondLst>
                                    <p:cond delay="0"/>
                                  </p:stCondLst>
                                  <p:childTnLst>
                                    <p:set>
                                      <p:cBhvr>
                                        <p:cTn id="14" dur="1" fill="hold">
                                          <p:stCondLst>
                                            <p:cond delay="0"/>
                                          </p:stCondLst>
                                        </p:cTn>
                                        <p:tgtEl>
                                          <p:spTgt spid="63">
                                            <p:txEl>
                                              <p:pRg st="1" end="1"/>
                                            </p:txEl>
                                          </p:spTgt>
                                        </p:tgtEl>
                                        <p:attrNameLst>
                                          <p:attrName>style.visibility</p:attrName>
                                        </p:attrNameLst>
                                      </p:cBhvr>
                                      <p:to>
                                        <p:strVal val="visible"/>
                                      </p:to>
                                    </p:set>
                                    <p:animEffect transition="in" filter="wipe(left)">
                                      <p:cBhvr>
                                        <p:cTn id="15" dur="750"/>
                                        <p:tgtEl>
                                          <p:spTgt spid="63">
                                            <p:txEl>
                                              <p:pRg st="1" end="1"/>
                                            </p:txEl>
                                          </p:spTgt>
                                        </p:tgtEl>
                                      </p:cBhvr>
                                    </p:animEffect>
                                  </p:childTnLst>
                                </p:cTn>
                              </p:par>
                            </p:childTnLst>
                          </p:cTn>
                        </p:par>
                        <p:par>
                          <p:cTn id="16" fill="hold">
                            <p:stCondLst>
                              <p:cond delay="2500"/>
                            </p:stCondLst>
                            <p:childTnLst>
                              <p:par>
                                <p:cTn id="17" presetID="22" presetClass="entr" presetSubtype="8" fill="hold" nodeType="afterEffect">
                                  <p:stCondLst>
                                    <p:cond delay="0"/>
                                  </p:stCondLst>
                                  <p:childTnLst>
                                    <p:set>
                                      <p:cBhvr>
                                        <p:cTn id="18" dur="1" fill="hold">
                                          <p:stCondLst>
                                            <p:cond delay="0"/>
                                          </p:stCondLst>
                                        </p:cTn>
                                        <p:tgtEl>
                                          <p:spTgt spid="63">
                                            <p:txEl>
                                              <p:pRg st="2" end="2"/>
                                            </p:txEl>
                                          </p:spTgt>
                                        </p:tgtEl>
                                        <p:attrNameLst>
                                          <p:attrName>style.visibility</p:attrName>
                                        </p:attrNameLst>
                                      </p:cBhvr>
                                      <p:to>
                                        <p:strVal val="visible"/>
                                      </p:to>
                                    </p:set>
                                    <p:animEffect transition="in" filter="wipe(left)">
                                      <p:cBhvr>
                                        <p:cTn id="19" dur="500"/>
                                        <p:tgtEl>
                                          <p:spTgt spid="63">
                                            <p:txEl>
                                              <p:pRg st="2" end="2"/>
                                            </p:txEl>
                                          </p:spTgt>
                                        </p:tgtEl>
                                      </p:cBhvr>
                                    </p:animEffect>
                                  </p:childTnLst>
                                </p:cTn>
                              </p:par>
                            </p:childTnLst>
                          </p:cTn>
                        </p:par>
                        <p:par>
                          <p:cTn id="20" fill="hold">
                            <p:stCondLst>
                              <p:cond delay="3000"/>
                            </p:stCondLst>
                            <p:childTnLst>
                              <p:par>
                                <p:cTn id="21" presetID="22" presetClass="entr" presetSubtype="8" fill="hold" nodeType="afterEffect">
                                  <p:stCondLst>
                                    <p:cond delay="0"/>
                                  </p:stCondLst>
                                  <p:childTnLst>
                                    <p:set>
                                      <p:cBhvr>
                                        <p:cTn id="22" dur="1" fill="hold">
                                          <p:stCondLst>
                                            <p:cond delay="0"/>
                                          </p:stCondLst>
                                        </p:cTn>
                                        <p:tgtEl>
                                          <p:spTgt spid="63">
                                            <p:txEl>
                                              <p:pRg st="3" end="3"/>
                                            </p:txEl>
                                          </p:spTgt>
                                        </p:tgtEl>
                                        <p:attrNameLst>
                                          <p:attrName>style.visibility</p:attrName>
                                        </p:attrNameLst>
                                      </p:cBhvr>
                                      <p:to>
                                        <p:strVal val="visible"/>
                                      </p:to>
                                    </p:set>
                                    <p:animEffect transition="in" filter="wipe(left)">
                                      <p:cBhvr>
                                        <p:cTn id="23" dur="500"/>
                                        <p:tgtEl>
                                          <p:spTgt spid="63">
                                            <p:txEl>
                                              <p:pRg st="3" end="3"/>
                                            </p:txEl>
                                          </p:spTgt>
                                        </p:tgtEl>
                                      </p:cBhvr>
                                    </p:animEffect>
                                  </p:childTnLst>
                                </p:cTn>
                              </p:par>
                            </p:childTnLst>
                          </p:cTn>
                        </p:par>
                        <p:par>
                          <p:cTn id="24" fill="hold">
                            <p:stCondLst>
                              <p:cond delay="3500"/>
                            </p:stCondLst>
                            <p:childTnLst>
                              <p:par>
                                <p:cTn id="25" presetID="22" presetClass="entr" presetSubtype="8" fill="hold" nodeType="afterEffect">
                                  <p:stCondLst>
                                    <p:cond delay="0"/>
                                  </p:stCondLst>
                                  <p:childTnLst>
                                    <p:set>
                                      <p:cBhvr>
                                        <p:cTn id="26" dur="1" fill="hold">
                                          <p:stCondLst>
                                            <p:cond delay="0"/>
                                          </p:stCondLst>
                                        </p:cTn>
                                        <p:tgtEl>
                                          <p:spTgt spid="63">
                                            <p:txEl>
                                              <p:pRg st="4" end="4"/>
                                            </p:txEl>
                                          </p:spTgt>
                                        </p:tgtEl>
                                        <p:attrNameLst>
                                          <p:attrName>style.visibility</p:attrName>
                                        </p:attrNameLst>
                                      </p:cBhvr>
                                      <p:to>
                                        <p:strVal val="visible"/>
                                      </p:to>
                                    </p:set>
                                    <p:animEffect transition="in" filter="wipe(left)">
                                      <p:cBhvr>
                                        <p:cTn id="27" dur="750"/>
                                        <p:tgtEl>
                                          <p:spTgt spid="63">
                                            <p:txEl>
                                              <p:pRg st="4" end="4"/>
                                            </p:txEl>
                                          </p:spTgt>
                                        </p:tgtEl>
                                      </p:cBhvr>
                                    </p:animEffect>
                                  </p:childTnLst>
                                </p:cTn>
                              </p:par>
                            </p:childTnLst>
                          </p:cTn>
                        </p:par>
                        <p:par>
                          <p:cTn id="28" fill="hold">
                            <p:stCondLst>
                              <p:cond delay="4250"/>
                            </p:stCondLst>
                            <p:childTnLst>
                              <p:par>
                                <p:cTn id="29" presetID="22" presetClass="entr" presetSubtype="8" fill="hold" nodeType="afterEffect">
                                  <p:stCondLst>
                                    <p:cond delay="0"/>
                                  </p:stCondLst>
                                  <p:childTnLst>
                                    <p:set>
                                      <p:cBhvr>
                                        <p:cTn id="30" dur="1" fill="hold">
                                          <p:stCondLst>
                                            <p:cond delay="0"/>
                                          </p:stCondLst>
                                        </p:cTn>
                                        <p:tgtEl>
                                          <p:spTgt spid="63">
                                            <p:txEl>
                                              <p:pRg st="5" end="5"/>
                                            </p:txEl>
                                          </p:spTgt>
                                        </p:tgtEl>
                                        <p:attrNameLst>
                                          <p:attrName>style.visibility</p:attrName>
                                        </p:attrNameLst>
                                      </p:cBhvr>
                                      <p:to>
                                        <p:strVal val="visible"/>
                                      </p:to>
                                    </p:set>
                                    <p:animEffect transition="in" filter="wipe(left)">
                                      <p:cBhvr>
                                        <p:cTn id="31" dur="500"/>
                                        <p:tgtEl>
                                          <p:spTgt spid="63">
                                            <p:txEl>
                                              <p:pRg st="5" end="5"/>
                                            </p:txEl>
                                          </p:spTgt>
                                        </p:tgtEl>
                                      </p:cBhvr>
                                    </p:animEffect>
                                  </p:childTnLst>
                                </p:cTn>
                              </p:par>
                            </p:childTnLst>
                          </p:cTn>
                        </p:par>
                        <p:par>
                          <p:cTn id="32" fill="hold">
                            <p:stCondLst>
                              <p:cond delay="4750"/>
                            </p:stCondLst>
                            <p:childTnLst>
                              <p:par>
                                <p:cTn id="33" presetID="22" presetClass="entr" presetSubtype="8" fill="hold" nodeType="afterEffect">
                                  <p:stCondLst>
                                    <p:cond delay="0"/>
                                  </p:stCondLst>
                                  <p:childTnLst>
                                    <p:set>
                                      <p:cBhvr>
                                        <p:cTn id="34" dur="1" fill="hold">
                                          <p:stCondLst>
                                            <p:cond delay="0"/>
                                          </p:stCondLst>
                                        </p:cTn>
                                        <p:tgtEl>
                                          <p:spTgt spid="63">
                                            <p:txEl>
                                              <p:pRg st="6" end="6"/>
                                            </p:txEl>
                                          </p:spTgt>
                                        </p:tgtEl>
                                        <p:attrNameLst>
                                          <p:attrName>style.visibility</p:attrName>
                                        </p:attrNameLst>
                                      </p:cBhvr>
                                      <p:to>
                                        <p:strVal val="visible"/>
                                      </p:to>
                                    </p:set>
                                    <p:animEffect transition="in" filter="wipe(left)">
                                      <p:cBhvr>
                                        <p:cTn id="35" dur="750"/>
                                        <p:tgtEl>
                                          <p:spTgt spid="63">
                                            <p:txEl>
                                              <p:pRg st="6" end="6"/>
                                            </p:txEl>
                                          </p:spTgt>
                                        </p:tgtEl>
                                      </p:cBhvr>
                                    </p:animEffect>
                                  </p:childTnLst>
                                </p:cTn>
                              </p:par>
                            </p:childTnLst>
                          </p:cTn>
                        </p:par>
                        <p:par>
                          <p:cTn id="36" fill="hold">
                            <p:stCondLst>
                              <p:cond delay="5500"/>
                            </p:stCondLst>
                            <p:childTnLst>
                              <p:par>
                                <p:cTn id="37" presetID="22" presetClass="entr" presetSubtype="8" fill="hold" nodeType="afterEffect">
                                  <p:stCondLst>
                                    <p:cond delay="0"/>
                                  </p:stCondLst>
                                  <p:childTnLst>
                                    <p:set>
                                      <p:cBhvr>
                                        <p:cTn id="38" dur="1" fill="hold">
                                          <p:stCondLst>
                                            <p:cond delay="0"/>
                                          </p:stCondLst>
                                        </p:cTn>
                                        <p:tgtEl>
                                          <p:spTgt spid="63">
                                            <p:txEl>
                                              <p:pRg st="7" end="7"/>
                                            </p:txEl>
                                          </p:spTgt>
                                        </p:tgtEl>
                                        <p:attrNameLst>
                                          <p:attrName>style.visibility</p:attrName>
                                        </p:attrNameLst>
                                      </p:cBhvr>
                                      <p:to>
                                        <p:strVal val="visible"/>
                                      </p:to>
                                    </p:set>
                                    <p:animEffect transition="in" filter="wipe(left)">
                                      <p:cBhvr>
                                        <p:cTn id="39" dur="500"/>
                                        <p:tgtEl>
                                          <p:spTgt spid="63">
                                            <p:txEl>
                                              <p:pRg st="7" end="7"/>
                                            </p:txEl>
                                          </p:spTgt>
                                        </p:tgtEl>
                                      </p:cBhvr>
                                    </p:animEffect>
                                  </p:childTnLst>
                                </p:cTn>
                              </p:par>
                            </p:childTnLst>
                          </p:cTn>
                        </p:par>
                        <p:par>
                          <p:cTn id="40" fill="hold">
                            <p:stCondLst>
                              <p:cond delay="6000"/>
                            </p:stCondLst>
                            <p:childTnLst>
                              <p:par>
                                <p:cTn id="41" presetID="22" presetClass="entr" presetSubtype="8" fill="hold" nodeType="afterEffect">
                                  <p:stCondLst>
                                    <p:cond delay="0"/>
                                  </p:stCondLst>
                                  <p:childTnLst>
                                    <p:set>
                                      <p:cBhvr>
                                        <p:cTn id="42" dur="1" fill="hold">
                                          <p:stCondLst>
                                            <p:cond delay="0"/>
                                          </p:stCondLst>
                                        </p:cTn>
                                        <p:tgtEl>
                                          <p:spTgt spid="63">
                                            <p:txEl>
                                              <p:pRg st="8" end="8"/>
                                            </p:txEl>
                                          </p:spTgt>
                                        </p:tgtEl>
                                        <p:attrNameLst>
                                          <p:attrName>style.visibility</p:attrName>
                                        </p:attrNameLst>
                                      </p:cBhvr>
                                      <p:to>
                                        <p:strVal val="visible"/>
                                      </p:to>
                                    </p:set>
                                    <p:animEffect transition="in" filter="wipe(left)">
                                      <p:cBhvr>
                                        <p:cTn id="43" dur="750"/>
                                        <p:tgtEl>
                                          <p:spTgt spid="6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11354651" y="6407216"/>
            <a:ext cx="555597" cy="13386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bwMode="auto">
          <a:xfrm>
            <a:off x="152400" y="1508654"/>
            <a:ext cx="11894188" cy="4901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5" name="Group 4"/>
          <p:cNvGrpSpPr/>
          <p:nvPr/>
        </p:nvGrpSpPr>
        <p:grpSpPr>
          <a:xfrm>
            <a:off x="10527052" y="2210850"/>
            <a:ext cx="606538" cy="2133427"/>
            <a:chOff x="10611830" y="3082745"/>
            <a:chExt cx="618701" cy="2176206"/>
          </a:xfrm>
        </p:grpSpPr>
        <p:cxnSp>
          <p:nvCxnSpPr>
            <p:cNvPr id="6" name="Straight Connector 5"/>
            <p:cNvCxnSpPr/>
            <p:nvPr/>
          </p:nvCxnSpPr>
          <p:spPr>
            <a:xfrm>
              <a:off x="10826434" y="3082745"/>
              <a:ext cx="6378" cy="2169658"/>
            </a:xfrm>
            <a:prstGeom prst="line">
              <a:avLst/>
            </a:prstGeom>
            <a:ln w="22225" cap="sq">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10611830" y="3082745"/>
              <a:ext cx="214604" cy="1"/>
            </a:xfrm>
            <a:prstGeom prst="line">
              <a:avLst/>
            </a:prstGeom>
            <a:ln w="22225" cap="sq">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V="1">
              <a:off x="10611830" y="5258632"/>
              <a:ext cx="214604" cy="319"/>
            </a:xfrm>
            <a:prstGeom prst="line">
              <a:avLst/>
            </a:prstGeom>
            <a:ln w="22225" cap="sq">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10821506" y="3689451"/>
              <a:ext cx="409025" cy="2906"/>
            </a:xfrm>
            <a:prstGeom prst="line">
              <a:avLst/>
            </a:prstGeom>
            <a:ln w="22225" cap="sq">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0" name="Straight Connector 9"/>
          <p:cNvCxnSpPr/>
          <p:nvPr/>
        </p:nvCxnSpPr>
        <p:spPr>
          <a:xfrm flipV="1">
            <a:off x="10534658" y="5041264"/>
            <a:ext cx="520199" cy="6391"/>
          </a:xfrm>
          <a:prstGeom prst="line">
            <a:avLst/>
          </a:prstGeom>
          <a:ln w="22225" cap="sq">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8494002" y="4895308"/>
            <a:ext cx="2095724" cy="986067"/>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5" eaLnBrk="1" fontAlgn="auto" latinLnBrk="0" hangingPunct="1">
              <a:lnSpc>
                <a:spcPct val="100000"/>
              </a:lnSpc>
              <a:spcBef>
                <a:spcPct val="0"/>
              </a:spcBef>
              <a:spcAft>
                <a:spcPct val="35000"/>
              </a:spcAft>
              <a:buClrTx/>
              <a:buSzTx/>
              <a:buFontTx/>
              <a:buNone/>
              <a:tabLst/>
              <a:defRPr/>
            </a:pPr>
            <a:r>
              <a:rPr kumimoji="0" lang="en-US" sz="1568" b="0" i="0" u="none" strike="noStrike" kern="0" cap="none" spc="-29"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Business Scenarios</a:t>
            </a:r>
          </a:p>
        </p:txBody>
      </p:sp>
      <p:sp>
        <p:nvSpPr>
          <p:cNvPr id="12" name="Rectangle 11"/>
          <p:cNvSpPr/>
          <p:nvPr/>
        </p:nvSpPr>
        <p:spPr>
          <a:xfrm>
            <a:off x="9147501" y="5206633"/>
            <a:ext cx="1365887" cy="635751"/>
          </a:xfrm>
          <a:prstGeom prst="rect">
            <a:avLst/>
          </a:prstGeom>
        </p:spPr>
        <p:txBody>
          <a:bodyPr wrap="none">
            <a:spAutoFit/>
          </a:bodyPr>
          <a:lstStyle/>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Recommendations,</a:t>
            </a:r>
          </a:p>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customer churn,</a:t>
            </a:r>
          </a:p>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forecasting, etc.</a:t>
            </a:r>
          </a:p>
        </p:txBody>
      </p:sp>
      <p:grpSp>
        <p:nvGrpSpPr>
          <p:cNvPr id="13" name="Group 12"/>
          <p:cNvGrpSpPr/>
          <p:nvPr/>
        </p:nvGrpSpPr>
        <p:grpSpPr>
          <a:xfrm>
            <a:off x="8706607" y="5355289"/>
            <a:ext cx="424789" cy="345857"/>
            <a:chOff x="-2530475" y="305948"/>
            <a:chExt cx="1119187" cy="911226"/>
          </a:xfrm>
          <a:solidFill>
            <a:schemeClr val="bg1"/>
          </a:solidFill>
        </p:grpSpPr>
        <p:sp>
          <p:nvSpPr>
            <p:cNvPr id="1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3" tIns="44821" rIns="89643" bIns="44821" numCol="1" anchor="t" anchorCtr="0" compatLnSpc="1">
              <a:prstTxWarp prst="textNoShape">
                <a:avLst/>
              </a:prstTxWarp>
            </a:bodyPr>
            <a:lstStyle/>
            <a:p>
              <a:pPr marL="0" marR="0" lvl="0" indent="0" defTabSz="91436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S PGothic" panose="020B0600070205080204" pitchFamily="34" charset="-128"/>
              </a:endParaRPr>
            </a:p>
          </p:txBody>
        </p:sp>
        <p:sp>
          <p:nvSpPr>
            <p:cNvPr id="1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3" tIns="44821" rIns="89643" bIns="44821" numCol="1" anchor="t" anchorCtr="0" compatLnSpc="1">
              <a:prstTxWarp prst="textNoShape">
                <a:avLst/>
              </a:prstTxWarp>
            </a:bodyPr>
            <a:lstStyle/>
            <a:p>
              <a:pPr marL="0" marR="0" lvl="0" indent="0" defTabSz="91436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S PGothic" panose="020B0600070205080204" pitchFamily="34" charset="-128"/>
              </a:endParaRPr>
            </a:p>
          </p:txBody>
        </p:sp>
        <p:sp>
          <p:nvSpPr>
            <p:cNvPr id="1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3" tIns="44821" rIns="89643" bIns="44821" numCol="1" anchor="t" anchorCtr="0" compatLnSpc="1">
              <a:prstTxWarp prst="textNoShape">
                <a:avLst/>
              </a:prstTxWarp>
            </a:bodyPr>
            <a:lstStyle/>
            <a:p>
              <a:pPr marL="0" marR="0" lvl="0" indent="0" defTabSz="91436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S PGothic" panose="020B0600070205080204" pitchFamily="34" charset="-128"/>
              </a:endParaRPr>
            </a:p>
          </p:txBody>
        </p:sp>
        <p:sp>
          <p:nvSpPr>
            <p:cNvPr id="1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3" tIns="44821" rIns="89643" bIns="44821" numCol="1" anchor="t" anchorCtr="0" compatLnSpc="1">
              <a:prstTxWarp prst="textNoShape">
                <a:avLst/>
              </a:prstTxWarp>
            </a:bodyPr>
            <a:lstStyle/>
            <a:p>
              <a:pPr marL="0" marR="0" lvl="0" indent="0" defTabSz="91436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S PGothic" panose="020B0600070205080204" pitchFamily="34" charset="-128"/>
              </a:endParaRPr>
            </a:p>
          </p:txBody>
        </p:sp>
        <p:sp>
          <p:nvSpPr>
            <p:cNvPr id="18"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3" tIns="44821" rIns="89643" bIns="44821" numCol="1" anchor="t" anchorCtr="0" compatLnSpc="1">
              <a:prstTxWarp prst="textNoShape">
                <a:avLst/>
              </a:prstTxWarp>
            </a:bodyPr>
            <a:lstStyle/>
            <a:p>
              <a:pPr marL="0" marR="0" lvl="0" indent="0" defTabSz="91436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S PGothic" panose="020B0600070205080204" pitchFamily="34" charset="-128"/>
              </a:endParaRPr>
            </a:p>
          </p:txBody>
        </p:sp>
        <p:sp>
          <p:nvSpPr>
            <p:cNvPr id="19"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3" tIns="44821" rIns="89643" bIns="44821" numCol="1" anchor="t" anchorCtr="0" compatLnSpc="1">
              <a:prstTxWarp prst="textNoShape">
                <a:avLst/>
              </a:prstTxWarp>
            </a:bodyPr>
            <a:lstStyle/>
            <a:p>
              <a:pPr marL="0" marR="0" lvl="0" indent="0" defTabSz="91436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S PGothic" panose="020B0600070205080204" pitchFamily="34" charset="-128"/>
              </a:endParaRPr>
            </a:p>
          </p:txBody>
        </p:sp>
      </p:grpSp>
      <p:sp>
        <p:nvSpPr>
          <p:cNvPr id="20" name="Rectangle 19"/>
          <p:cNvSpPr/>
          <p:nvPr/>
        </p:nvSpPr>
        <p:spPr bwMode="auto">
          <a:xfrm>
            <a:off x="8494003" y="3803581"/>
            <a:ext cx="2095725" cy="986068"/>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5" eaLnBrk="1" fontAlgn="auto" latinLnBrk="0" hangingPunct="1">
              <a:lnSpc>
                <a:spcPct val="100000"/>
              </a:lnSpc>
              <a:spcBef>
                <a:spcPct val="0"/>
              </a:spcBef>
              <a:spcAft>
                <a:spcPct val="35000"/>
              </a:spcAft>
              <a:buClrTx/>
              <a:buSzTx/>
              <a:buFontTx/>
              <a:buNone/>
              <a:tabLst/>
              <a:defRPr/>
            </a:pPr>
            <a:r>
              <a:rPr kumimoji="0" lang="en-US" sz="1568" b="0" i="0" u="none" strike="noStrike" kern="0" cap="none" spc="-29"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Perceptual Intelligence</a:t>
            </a:r>
          </a:p>
        </p:txBody>
      </p:sp>
      <p:sp>
        <p:nvSpPr>
          <p:cNvPr id="21" name="Rectangle 20"/>
          <p:cNvSpPr/>
          <p:nvPr/>
        </p:nvSpPr>
        <p:spPr>
          <a:xfrm>
            <a:off x="9147502" y="4188861"/>
            <a:ext cx="877420" cy="273473"/>
          </a:xfrm>
          <a:prstGeom prst="rect">
            <a:avLst/>
          </a:prstGeom>
        </p:spPr>
        <p:txBody>
          <a:bodyPr wrap="none">
            <a:spAutoFit/>
          </a:bodyPr>
          <a:lstStyle/>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Face, vision</a:t>
            </a:r>
          </a:p>
        </p:txBody>
      </p:sp>
      <p:sp>
        <p:nvSpPr>
          <p:cNvPr id="22" name="Rectangle 21"/>
          <p:cNvSpPr/>
          <p:nvPr/>
        </p:nvSpPr>
        <p:spPr>
          <a:xfrm>
            <a:off x="9147502" y="4503109"/>
            <a:ext cx="923907" cy="273473"/>
          </a:xfrm>
          <a:prstGeom prst="rect">
            <a:avLst/>
          </a:prstGeom>
        </p:spPr>
        <p:txBody>
          <a:bodyPr wrap="none">
            <a:spAutoFit/>
          </a:bodyPr>
          <a:lstStyle/>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Speech, text</a:t>
            </a:r>
          </a:p>
        </p:txBody>
      </p:sp>
      <p:grpSp>
        <p:nvGrpSpPr>
          <p:cNvPr id="23" name="Group 22"/>
          <p:cNvGrpSpPr/>
          <p:nvPr/>
        </p:nvGrpSpPr>
        <p:grpSpPr>
          <a:xfrm>
            <a:off x="8841377" y="4194414"/>
            <a:ext cx="264328" cy="250063"/>
            <a:chOff x="3248025" y="1189989"/>
            <a:chExt cx="5153661" cy="4875531"/>
          </a:xfrm>
          <a:solidFill>
            <a:schemeClr val="bg1"/>
          </a:solidFill>
        </p:grpSpPr>
        <p:sp>
          <p:nvSpPr>
            <p:cNvPr id="24" name="Freeform 23"/>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25" name="Freeform 24"/>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26" name="Freeform 25"/>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27" name="Freeform 26"/>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28" name="Freeform 27"/>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grpSp>
      <p:grpSp>
        <p:nvGrpSpPr>
          <p:cNvPr id="29" name="Group 28"/>
          <p:cNvGrpSpPr/>
          <p:nvPr/>
        </p:nvGrpSpPr>
        <p:grpSpPr>
          <a:xfrm>
            <a:off x="8833145" y="4540589"/>
            <a:ext cx="280792" cy="237044"/>
            <a:chOff x="4746173" y="1443591"/>
            <a:chExt cx="4626426" cy="3905623"/>
          </a:xfrm>
          <a:solidFill>
            <a:schemeClr val="bg1"/>
          </a:solidFill>
        </p:grpSpPr>
        <p:grpSp>
          <p:nvGrpSpPr>
            <p:cNvPr id="30" name="Group 386"/>
            <p:cNvGrpSpPr>
              <a:grpSpLocks noChangeAspect="1"/>
            </p:cNvGrpSpPr>
            <p:nvPr/>
          </p:nvGrpSpPr>
          <p:grpSpPr bwMode="auto">
            <a:xfrm>
              <a:off x="4746173" y="2973313"/>
              <a:ext cx="1414640" cy="2318440"/>
              <a:chOff x="-1261" y="1888"/>
              <a:chExt cx="576" cy="944"/>
            </a:xfrm>
            <a:grpFill/>
          </p:grpSpPr>
          <p:sp>
            <p:nvSpPr>
              <p:cNvPr id="41"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3" tIns="44821" rIns="89643" bIns="44821" numCol="1" anchor="t" anchorCtr="0" compatLnSpc="1">
                <a:prstTxWarp prst="textNoShape">
                  <a:avLst/>
                </a:prstTxWarp>
              </a:bodyPr>
              <a:lstStyle/>
              <a:p>
                <a:pPr marL="0" marR="0" lvl="0" indent="0" defTabSz="896345"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prstClr val="white"/>
                  </a:solidFill>
                  <a:effectLst/>
                  <a:uLnTx/>
                  <a:uFillTx/>
                  <a:latin typeface="Segoe UI"/>
                  <a:ea typeface="MS PGothic" panose="020B0600070205080204" pitchFamily="34" charset="-128"/>
                </a:endParaRPr>
              </a:p>
            </p:txBody>
          </p:sp>
          <p:sp>
            <p:nvSpPr>
              <p:cNvPr id="42"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3" tIns="44821" rIns="89643" bIns="44821" numCol="1" anchor="t" anchorCtr="0" compatLnSpc="1">
                <a:prstTxWarp prst="textNoShape">
                  <a:avLst/>
                </a:prstTxWarp>
              </a:bodyPr>
              <a:lstStyle/>
              <a:p>
                <a:pPr marL="0" marR="0" lvl="0" indent="0" defTabSz="896345"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prstClr val="white"/>
                  </a:solidFill>
                  <a:effectLst/>
                  <a:uLnTx/>
                  <a:uFillTx/>
                  <a:latin typeface="Segoe UI"/>
                  <a:ea typeface="MS PGothic" panose="020B0600070205080204" pitchFamily="34" charset="-128"/>
                </a:endParaRPr>
              </a:p>
            </p:txBody>
          </p:sp>
          <p:sp>
            <p:nvSpPr>
              <p:cNvPr id="43"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3" tIns="44821" rIns="89643" bIns="44821" numCol="1" anchor="t" anchorCtr="0" compatLnSpc="1">
                <a:prstTxWarp prst="textNoShape">
                  <a:avLst/>
                </a:prstTxWarp>
              </a:bodyPr>
              <a:lstStyle/>
              <a:p>
                <a:pPr marL="0" marR="0" lvl="0" indent="0" defTabSz="896345"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prstClr val="white"/>
                  </a:solidFill>
                  <a:effectLst/>
                  <a:uLnTx/>
                  <a:uFillTx/>
                  <a:latin typeface="Segoe UI"/>
                  <a:ea typeface="MS PGothic" panose="020B0600070205080204" pitchFamily="34" charset="-128"/>
                </a:endParaRPr>
              </a:p>
            </p:txBody>
          </p:sp>
        </p:grpSp>
        <p:grpSp>
          <p:nvGrpSpPr>
            <p:cNvPr id="31" name="Group 30"/>
            <p:cNvGrpSpPr/>
            <p:nvPr/>
          </p:nvGrpSpPr>
          <p:grpSpPr>
            <a:xfrm>
              <a:off x="5345480" y="1443592"/>
              <a:ext cx="1381394" cy="1269128"/>
              <a:chOff x="5345480" y="1443592"/>
              <a:chExt cx="1381394" cy="1269128"/>
            </a:xfrm>
            <a:grpFill/>
          </p:grpSpPr>
          <p:sp>
            <p:nvSpPr>
              <p:cNvPr id="39" name="Bent Arrow 38"/>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40" name="Isosceles Triangle 39"/>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grpSp>
        <p:grpSp>
          <p:nvGrpSpPr>
            <p:cNvPr id="32" name="Group 31"/>
            <p:cNvGrpSpPr/>
            <p:nvPr/>
          </p:nvGrpSpPr>
          <p:grpSpPr>
            <a:xfrm rot="10800000">
              <a:off x="7049745" y="4080086"/>
              <a:ext cx="1381394" cy="1269128"/>
              <a:chOff x="5345480" y="1443592"/>
              <a:chExt cx="1381394" cy="1269128"/>
            </a:xfrm>
            <a:grpFill/>
          </p:grpSpPr>
          <p:sp>
            <p:nvSpPr>
              <p:cNvPr id="37" name="Bent Arrow 36"/>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38" name="Isosceles Triangle 37"/>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grpSp>
        <p:sp>
          <p:nvSpPr>
            <p:cNvPr id="33" name="Freeform 32"/>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34" name="Rectangle 33"/>
            <p:cNvSpPr/>
            <p:nvPr/>
          </p:nvSpPr>
          <p:spPr bwMode="auto">
            <a:xfrm>
              <a:off x="7711440" y="1981200"/>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35" name="Rectangle 34"/>
            <p:cNvSpPr/>
            <p:nvPr/>
          </p:nvSpPr>
          <p:spPr bwMode="auto">
            <a:xfrm>
              <a:off x="7711440" y="2518221"/>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36" name="Rectangle 35"/>
            <p:cNvSpPr/>
            <p:nvPr/>
          </p:nvSpPr>
          <p:spPr bwMode="auto">
            <a:xfrm>
              <a:off x="7711440" y="3055242"/>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grpSp>
      <p:sp>
        <p:nvSpPr>
          <p:cNvPr id="44" name="Rectangle 43"/>
          <p:cNvSpPr/>
          <p:nvPr/>
        </p:nvSpPr>
        <p:spPr bwMode="auto">
          <a:xfrm>
            <a:off x="8484099" y="2722101"/>
            <a:ext cx="2105631" cy="986068"/>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5" eaLnBrk="1" fontAlgn="auto" latinLnBrk="0" hangingPunct="1">
              <a:lnSpc>
                <a:spcPct val="100000"/>
              </a:lnSpc>
              <a:spcBef>
                <a:spcPct val="0"/>
              </a:spcBef>
              <a:spcAft>
                <a:spcPct val="35000"/>
              </a:spcAft>
              <a:buClrTx/>
              <a:buSzTx/>
              <a:buFontTx/>
              <a:buNone/>
              <a:tabLst/>
              <a:defRPr/>
            </a:pPr>
            <a:r>
              <a:rPr kumimoji="0" lang="en-US" sz="1568" b="0" i="0" u="none" strike="noStrike" kern="0" cap="none" spc="-29"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Personal Digital Assistant</a:t>
            </a:r>
          </a:p>
        </p:txBody>
      </p:sp>
      <p:sp>
        <p:nvSpPr>
          <p:cNvPr id="45" name="Rectangle 44"/>
          <p:cNvSpPr/>
          <p:nvPr/>
        </p:nvSpPr>
        <p:spPr>
          <a:xfrm>
            <a:off x="9137597" y="3200760"/>
            <a:ext cx="671594" cy="273473"/>
          </a:xfrm>
          <a:prstGeom prst="rect">
            <a:avLst/>
          </a:prstGeom>
        </p:spPr>
        <p:txBody>
          <a:bodyPr wrap="none">
            <a:spAutoFit/>
          </a:bodyPr>
          <a:lstStyle/>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Cortana</a:t>
            </a:r>
          </a:p>
        </p:txBody>
      </p:sp>
      <p:pic>
        <p:nvPicPr>
          <p:cNvPr id="46" name="Picture 45" descr="http://winaero.com/blog/wp-content/uploads/2015/01/cortana-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26287" y="3215743"/>
            <a:ext cx="254863" cy="254863"/>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46"/>
          <p:cNvSpPr/>
          <p:nvPr/>
        </p:nvSpPr>
        <p:spPr bwMode="auto">
          <a:xfrm>
            <a:off x="8494002" y="1645366"/>
            <a:ext cx="2095727" cy="986068"/>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5" eaLnBrk="1" fontAlgn="auto" latinLnBrk="0" hangingPunct="1">
              <a:lnSpc>
                <a:spcPct val="100000"/>
              </a:lnSpc>
              <a:spcBef>
                <a:spcPct val="0"/>
              </a:spcBef>
              <a:spcAft>
                <a:spcPct val="35000"/>
              </a:spcAft>
              <a:buClrTx/>
              <a:buSzTx/>
              <a:buFontTx/>
              <a:buNone/>
              <a:tabLst/>
              <a:defRPr/>
            </a:pPr>
            <a:r>
              <a:rPr kumimoji="0" lang="en-US" sz="1568" b="0" i="0" u="none" strike="noStrike" kern="0" cap="none" spc="-29"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Dashboards and Visualizations</a:t>
            </a:r>
          </a:p>
        </p:txBody>
      </p:sp>
      <p:grpSp>
        <p:nvGrpSpPr>
          <p:cNvPr id="48" name="Group 47"/>
          <p:cNvGrpSpPr/>
          <p:nvPr/>
        </p:nvGrpSpPr>
        <p:grpSpPr>
          <a:xfrm>
            <a:off x="8797377" y="2279348"/>
            <a:ext cx="391264" cy="250077"/>
            <a:chOff x="4481847" y="2708926"/>
            <a:chExt cx="673103" cy="430214"/>
          </a:xfrm>
          <a:solidFill>
            <a:schemeClr val="bg1"/>
          </a:solidFill>
        </p:grpSpPr>
        <p:sp>
          <p:nvSpPr>
            <p:cNvPr id="4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89643" tIns="44821" rIns="89643" bIns="44821" numCol="1" anchor="t" anchorCtr="0" compatLnSpc="1">
              <a:prstTxWarp prst="textNoShape">
                <a:avLst/>
              </a:prstTxWarp>
            </a:bodyPr>
            <a:lstStyle/>
            <a:p>
              <a:pPr marL="0" marR="0" lvl="0" indent="0" defTabSz="91436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S PGothic" panose="020B0600070205080204" pitchFamily="34" charset="-128"/>
              </a:endParaRPr>
            </a:p>
          </p:txBody>
        </p:sp>
        <p:sp>
          <p:nvSpPr>
            <p:cNvPr id="5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89643" tIns="44821" rIns="89643" bIns="44821" numCol="1" anchor="t" anchorCtr="0" compatLnSpc="1">
              <a:prstTxWarp prst="textNoShape">
                <a:avLst/>
              </a:prstTxWarp>
            </a:bodyPr>
            <a:lstStyle/>
            <a:p>
              <a:pPr marL="0" marR="0" lvl="0" indent="0" defTabSz="91436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S PGothic" panose="020B0600070205080204" pitchFamily="34" charset="-128"/>
              </a:endParaRPr>
            </a:p>
          </p:txBody>
        </p:sp>
        <p:sp>
          <p:nvSpPr>
            <p:cNvPr id="5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89643" tIns="44821" rIns="89643" bIns="44821" numCol="1" anchor="t" anchorCtr="0" compatLnSpc="1">
              <a:prstTxWarp prst="textNoShape">
                <a:avLst/>
              </a:prstTxWarp>
            </a:bodyPr>
            <a:lstStyle/>
            <a:p>
              <a:pPr marL="0" marR="0" lvl="0" indent="0" defTabSz="91436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S PGothic" panose="020B0600070205080204" pitchFamily="34" charset="-128"/>
              </a:endParaRPr>
            </a:p>
          </p:txBody>
        </p:sp>
        <p:sp>
          <p:nvSpPr>
            <p:cNvPr id="5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89643" tIns="44821" rIns="89643" bIns="44821" numCol="1" anchor="t" anchorCtr="0" compatLnSpc="1">
              <a:prstTxWarp prst="textNoShape">
                <a:avLst/>
              </a:prstTxWarp>
            </a:bodyPr>
            <a:lstStyle/>
            <a:p>
              <a:pPr marL="0" marR="0" lvl="0" indent="0" defTabSz="91436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S PGothic" panose="020B0600070205080204" pitchFamily="34" charset="-128"/>
              </a:endParaRPr>
            </a:p>
          </p:txBody>
        </p:sp>
        <p:sp>
          <p:nvSpPr>
            <p:cNvPr id="5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89643" tIns="44821" rIns="89643" bIns="44821" numCol="1" anchor="t" anchorCtr="0" compatLnSpc="1">
              <a:prstTxWarp prst="textNoShape">
                <a:avLst/>
              </a:prstTxWarp>
            </a:bodyPr>
            <a:lstStyle/>
            <a:p>
              <a:pPr marL="0" marR="0" lvl="0" indent="0" defTabSz="91436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S PGothic" panose="020B0600070205080204" pitchFamily="34" charset="-128"/>
              </a:endParaRPr>
            </a:p>
          </p:txBody>
        </p:sp>
      </p:grpSp>
      <p:sp>
        <p:nvSpPr>
          <p:cNvPr id="54" name="Rectangle 53"/>
          <p:cNvSpPr/>
          <p:nvPr/>
        </p:nvSpPr>
        <p:spPr>
          <a:xfrm>
            <a:off x="9147500" y="2266536"/>
            <a:ext cx="722377" cy="273473"/>
          </a:xfrm>
          <a:prstGeom prst="rect">
            <a:avLst/>
          </a:prstGeom>
        </p:spPr>
        <p:txBody>
          <a:bodyPr wrap="none">
            <a:spAutoFit/>
          </a:bodyPr>
          <a:lstStyle/>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Power BI</a:t>
            </a:r>
          </a:p>
        </p:txBody>
      </p:sp>
      <p:sp>
        <p:nvSpPr>
          <p:cNvPr id="55" name="Rectangle 54"/>
          <p:cNvSpPr/>
          <p:nvPr/>
        </p:nvSpPr>
        <p:spPr bwMode="auto">
          <a:xfrm>
            <a:off x="6278331" y="1645366"/>
            <a:ext cx="2038628" cy="4235175"/>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5" eaLnBrk="1" fontAlgn="auto" latinLnBrk="0" hangingPunct="1">
              <a:lnSpc>
                <a:spcPct val="100000"/>
              </a:lnSpc>
              <a:spcBef>
                <a:spcPct val="0"/>
              </a:spcBef>
              <a:spcAft>
                <a:spcPct val="35000"/>
              </a:spcAft>
              <a:buClrTx/>
              <a:buSzTx/>
              <a:buFontTx/>
              <a:buNone/>
              <a:tabLst/>
              <a:defRPr/>
            </a:pPr>
            <a:r>
              <a:rPr kumimoji="0" lang="en-US" sz="1568" b="0" i="0" u="none" strike="noStrike" kern="0" cap="none" spc="-29"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Machine Learning </a:t>
            </a:r>
            <a:br>
              <a:rPr kumimoji="0" lang="en-US" sz="1568" b="0" i="0" u="none" strike="noStrike" kern="0" cap="none" spc="-29"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br>
            <a:r>
              <a:rPr kumimoji="0" lang="en-US" sz="1568" b="0" i="0" u="none" strike="noStrike" kern="0" cap="none" spc="-29"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and Analytics</a:t>
            </a:r>
          </a:p>
        </p:txBody>
      </p:sp>
      <p:pic>
        <p:nvPicPr>
          <p:cNvPr id="56" name="Picture 5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96445" y="2729301"/>
            <a:ext cx="346976" cy="367690"/>
          </a:xfrm>
          <a:prstGeom prst="rect">
            <a:avLst/>
          </a:prstGeom>
        </p:spPr>
      </p:pic>
      <p:pic>
        <p:nvPicPr>
          <p:cNvPr id="57" name="Picture 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26864" y="3481562"/>
            <a:ext cx="465202" cy="360532"/>
          </a:xfrm>
          <a:prstGeom prst="rect">
            <a:avLst/>
          </a:prstGeom>
        </p:spPr>
      </p:pic>
      <p:sp>
        <p:nvSpPr>
          <p:cNvPr id="58" name="Rectangle 57"/>
          <p:cNvSpPr/>
          <p:nvPr/>
        </p:nvSpPr>
        <p:spPr>
          <a:xfrm>
            <a:off x="6758750" y="2694393"/>
            <a:ext cx="1279325" cy="454612"/>
          </a:xfrm>
          <a:prstGeom prst="rect">
            <a:avLst/>
          </a:prstGeom>
        </p:spPr>
        <p:txBody>
          <a:bodyPr wrap="none">
            <a:spAutoFit/>
          </a:bodyPr>
          <a:lstStyle/>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Azure </a:t>
            </a:r>
          </a:p>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Machine Learning</a:t>
            </a:r>
          </a:p>
        </p:txBody>
      </p:sp>
      <p:sp>
        <p:nvSpPr>
          <p:cNvPr id="59" name="Rectangle 58"/>
          <p:cNvSpPr/>
          <p:nvPr/>
        </p:nvSpPr>
        <p:spPr>
          <a:xfrm>
            <a:off x="6775167" y="3411247"/>
            <a:ext cx="1192762" cy="454612"/>
          </a:xfrm>
          <a:prstGeom prst="rect">
            <a:avLst/>
          </a:prstGeom>
        </p:spPr>
        <p:txBody>
          <a:bodyPr wrap="none">
            <a:spAutoFit/>
          </a:bodyPr>
          <a:lstStyle/>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Azure </a:t>
            </a:r>
          </a:p>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Stream Analytics</a:t>
            </a:r>
          </a:p>
        </p:txBody>
      </p:sp>
      <p:grpSp>
        <p:nvGrpSpPr>
          <p:cNvPr id="60" name="Group 59"/>
          <p:cNvGrpSpPr/>
          <p:nvPr/>
        </p:nvGrpSpPr>
        <p:grpSpPr>
          <a:xfrm>
            <a:off x="8312446" y="1991476"/>
            <a:ext cx="289439" cy="1798466"/>
            <a:chOff x="3832324" y="5254390"/>
            <a:chExt cx="295243" cy="1834529"/>
          </a:xfrm>
        </p:grpSpPr>
        <p:sp>
          <p:nvSpPr>
            <p:cNvPr id="61" name="Isosceles Triangle 60"/>
            <p:cNvSpPr/>
            <p:nvPr/>
          </p:nvSpPr>
          <p:spPr bwMode="auto">
            <a:xfrm rot="5400000">
              <a:off x="3576707" y="5557205"/>
              <a:ext cx="853675" cy="248045"/>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62" name="Isosceles Triangle 61"/>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63" name="Isosceles Triangle 62"/>
            <p:cNvSpPr/>
            <p:nvPr/>
          </p:nvSpPr>
          <p:spPr bwMode="auto">
            <a:xfrm rot="5400000">
              <a:off x="3576707" y="6538059"/>
              <a:ext cx="853675" cy="248045"/>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grpSp>
      <p:grpSp>
        <p:nvGrpSpPr>
          <p:cNvPr id="64" name="Group 63"/>
          <p:cNvGrpSpPr/>
          <p:nvPr/>
        </p:nvGrpSpPr>
        <p:grpSpPr>
          <a:xfrm>
            <a:off x="8312446" y="3881752"/>
            <a:ext cx="289439" cy="836893"/>
            <a:chOff x="3832324" y="5673490"/>
            <a:chExt cx="295243" cy="853675"/>
          </a:xfrm>
        </p:grpSpPr>
        <p:sp>
          <p:nvSpPr>
            <p:cNvPr id="65" name="Isosceles Triangle 64"/>
            <p:cNvSpPr/>
            <p:nvPr/>
          </p:nvSpPr>
          <p:spPr bwMode="auto">
            <a:xfrm rot="5400000">
              <a:off x="3576707" y="5976305"/>
              <a:ext cx="853675" cy="248045"/>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66" name="Isosceles Triangle 65"/>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grpSp>
      <p:grpSp>
        <p:nvGrpSpPr>
          <p:cNvPr id="67" name="Group 66"/>
          <p:cNvGrpSpPr/>
          <p:nvPr/>
        </p:nvGrpSpPr>
        <p:grpSpPr>
          <a:xfrm>
            <a:off x="8312446" y="4959940"/>
            <a:ext cx="289439" cy="836893"/>
            <a:chOff x="3832324" y="5397265"/>
            <a:chExt cx="295243" cy="853675"/>
          </a:xfrm>
        </p:grpSpPr>
        <p:sp>
          <p:nvSpPr>
            <p:cNvPr id="68" name="Isosceles Triangle 67"/>
            <p:cNvSpPr/>
            <p:nvPr/>
          </p:nvSpPr>
          <p:spPr bwMode="auto">
            <a:xfrm rot="5400000">
              <a:off x="3576707" y="5700080"/>
              <a:ext cx="853675" cy="248045"/>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69" name="Isosceles Triangle 68"/>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grpSp>
      <p:sp>
        <p:nvSpPr>
          <p:cNvPr id="70" name="Isosceles Triangle 69"/>
          <p:cNvSpPr/>
          <p:nvPr/>
        </p:nvSpPr>
        <p:spPr bwMode="auto">
          <a:xfrm rot="5400000">
            <a:off x="8015666" y="3251010"/>
            <a:ext cx="836893" cy="243169"/>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71" name="Freeform 389"/>
          <p:cNvSpPr>
            <a:spLocks noEditPoints="1"/>
          </p:cNvSpPr>
          <p:nvPr/>
        </p:nvSpPr>
        <p:spPr bwMode="auto">
          <a:xfrm>
            <a:off x="9010300" y="3273211"/>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3" tIns="44821" rIns="89643" bIns="44821" numCol="1" anchor="t" anchorCtr="0" compatLnSpc="1">
            <a:prstTxWarp prst="textNoShape">
              <a:avLst/>
            </a:prstTxWarp>
          </a:bodyPr>
          <a:lstStyle/>
          <a:p>
            <a:pPr marL="0" marR="0" lvl="0" indent="0" defTabSz="896345"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prstClr val="white"/>
              </a:solidFill>
              <a:effectLst/>
              <a:uLnTx/>
              <a:uFillTx/>
              <a:latin typeface="Segoe UI"/>
              <a:ea typeface="MS PGothic" panose="020B0600070205080204" pitchFamily="34" charset="-128"/>
            </a:endParaRPr>
          </a:p>
        </p:txBody>
      </p:sp>
      <p:sp>
        <p:nvSpPr>
          <p:cNvPr id="72" name="Rectangle 71"/>
          <p:cNvSpPr/>
          <p:nvPr/>
        </p:nvSpPr>
        <p:spPr>
          <a:xfrm>
            <a:off x="520815" y="5968385"/>
            <a:ext cx="635560" cy="333489"/>
          </a:xfrm>
          <a:prstGeom prst="rect">
            <a:avLst/>
          </a:prstGeom>
        </p:spPr>
        <p:txBody>
          <a:bodyPr wrap="none">
            <a:spAutoFit/>
          </a:bodyPr>
          <a:lstStyle/>
          <a:p>
            <a:pPr marL="0" marR="0" lvl="0" indent="0" algn="ctr" defTabSz="710725" eaLnBrk="1" fontAlgn="auto" latinLnBrk="0" hangingPunct="1">
              <a:lnSpc>
                <a:spcPct val="100000"/>
              </a:lnSpc>
              <a:spcBef>
                <a:spcPct val="0"/>
              </a:spcBef>
              <a:spcAft>
                <a:spcPct val="35000"/>
              </a:spcAft>
              <a:buClrTx/>
              <a:buSzTx/>
              <a:buFontTx/>
              <a:buNone/>
              <a:tabLst/>
              <a:defRPr/>
            </a:pPr>
            <a:r>
              <a:rPr kumimoji="0" lang="en-US" sz="1567" b="0" i="0" u="none" strike="noStrike" kern="0" cap="none" spc="-29" normalizeH="0" baseline="0" noProof="0" dirty="0">
                <a:ln>
                  <a:noFill/>
                </a:ln>
                <a:solidFill>
                  <a:schemeClr val="accent1"/>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DATA</a:t>
            </a:r>
          </a:p>
        </p:txBody>
      </p:sp>
      <p:grpSp>
        <p:nvGrpSpPr>
          <p:cNvPr id="73" name="Group 72"/>
          <p:cNvGrpSpPr/>
          <p:nvPr/>
        </p:nvGrpSpPr>
        <p:grpSpPr>
          <a:xfrm>
            <a:off x="394627" y="1980943"/>
            <a:ext cx="1520653" cy="3739148"/>
            <a:chOff x="276231" y="2132701"/>
            <a:chExt cx="1551146" cy="3814126"/>
          </a:xfrm>
        </p:grpSpPr>
        <p:cxnSp>
          <p:nvCxnSpPr>
            <p:cNvPr id="74" name="Straight Connector 73"/>
            <p:cNvCxnSpPr/>
            <p:nvPr/>
          </p:nvCxnSpPr>
          <p:spPr>
            <a:xfrm>
              <a:off x="1399592" y="2407298"/>
              <a:ext cx="7864" cy="2729556"/>
            </a:xfrm>
            <a:prstGeom prst="line">
              <a:avLst/>
            </a:prstGeom>
            <a:ln w="22225" cap="sq">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1184988" y="2407298"/>
              <a:ext cx="214604" cy="1"/>
            </a:xfrm>
            <a:prstGeom prst="line">
              <a:avLst/>
            </a:prstGeom>
            <a:ln w="22225" cap="sq">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1184988" y="3768264"/>
              <a:ext cx="570278" cy="1"/>
            </a:xfrm>
            <a:prstGeom prst="line">
              <a:avLst/>
            </a:prstGeom>
            <a:ln w="22225" cap="sq">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1184988" y="5136854"/>
              <a:ext cx="214604" cy="1"/>
            </a:xfrm>
            <a:prstGeom prst="line">
              <a:avLst/>
            </a:prstGeom>
            <a:ln w="22225" cap="sq">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8"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marL="0" marR="0" lvl="0" indent="0" defTabSz="9141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S PGothic" panose="020B0600070205080204" pitchFamily="34" charset="-128"/>
              </a:endParaRPr>
            </a:p>
          </p:txBody>
        </p:sp>
        <p:sp>
          <p:nvSpPr>
            <p:cNvPr id="79" name="TextBox 78"/>
            <p:cNvSpPr txBox="1"/>
            <p:nvPr/>
          </p:nvSpPr>
          <p:spPr>
            <a:xfrm>
              <a:off x="290952" y="2519818"/>
              <a:ext cx="1239881" cy="613951"/>
            </a:xfrm>
            <a:prstGeom prst="rect">
              <a:avLst/>
            </a:prstGeom>
            <a:noFill/>
          </p:spPr>
          <p:txBody>
            <a:bodyPr wrap="square" lIns="179259" tIns="143408" rIns="179259" bIns="143408" rtlCol="0">
              <a:spAutoFit/>
            </a:bodyPr>
            <a:lstStyle/>
            <a:p>
              <a:pPr marL="0" marR="0" lvl="0" indent="0" defTabSz="914186"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solidFill>
                    <a:schemeClr val="accent1"/>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Business </a:t>
              </a:r>
              <a:br>
                <a:rPr kumimoji="0" lang="en-US" sz="1127" b="0" i="0" u="none" strike="noStrike" kern="0" cap="none" spc="-29" normalizeH="0" baseline="0" noProof="0" dirty="0">
                  <a:ln>
                    <a:noFill/>
                  </a:ln>
                  <a:solidFill>
                    <a:schemeClr val="accent1"/>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br>
              <a:r>
                <a:rPr kumimoji="0" lang="en-US" sz="1127" b="0" i="0" u="none" strike="noStrike" kern="0" cap="none" spc="-29" normalizeH="0" baseline="0" noProof="0" dirty="0">
                  <a:ln>
                    <a:noFill/>
                  </a:ln>
                  <a:solidFill>
                    <a:schemeClr val="accent1"/>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80" name="TextBox 79"/>
            <p:cNvSpPr txBox="1"/>
            <p:nvPr/>
          </p:nvSpPr>
          <p:spPr>
            <a:xfrm>
              <a:off x="286638" y="4033285"/>
              <a:ext cx="1239881" cy="613951"/>
            </a:xfrm>
            <a:prstGeom prst="rect">
              <a:avLst/>
            </a:prstGeom>
            <a:noFill/>
          </p:spPr>
          <p:txBody>
            <a:bodyPr wrap="square" lIns="179259" tIns="143408" rIns="179259" bIns="143408" rtlCol="0">
              <a:spAutoFit/>
            </a:bodyPr>
            <a:lstStyle/>
            <a:p>
              <a:pPr marL="0" marR="0" lvl="0" indent="0" defTabSz="914186"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solidFill>
                    <a:schemeClr val="accent1"/>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Custom </a:t>
              </a:r>
              <a:br>
                <a:rPr kumimoji="0" lang="en-US" sz="1127" b="0" i="0" u="none" strike="noStrike" kern="0" cap="none" spc="-29" normalizeH="0" baseline="0" noProof="0" dirty="0">
                  <a:ln>
                    <a:noFill/>
                  </a:ln>
                  <a:solidFill>
                    <a:schemeClr val="accent1"/>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br>
              <a:r>
                <a:rPr kumimoji="0" lang="en-US" sz="1127" b="0" i="0" u="none" strike="noStrike" kern="0" cap="none" spc="-29" normalizeH="0" baseline="0" noProof="0" dirty="0">
                  <a:ln>
                    <a:noFill/>
                  </a:ln>
                  <a:solidFill>
                    <a:schemeClr val="accent1"/>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81"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marL="0" marR="0" lvl="0" indent="0" defTabSz="9141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S PGothic" panose="020B0600070205080204" pitchFamily="34" charset="-128"/>
              </a:endParaRPr>
            </a:p>
          </p:txBody>
        </p:sp>
        <p:sp>
          <p:nvSpPr>
            <p:cNvPr id="82" name="TextBox 81"/>
            <p:cNvSpPr txBox="1"/>
            <p:nvPr/>
          </p:nvSpPr>
          <p:spPr>
            <a:xfrm>
              <a:off x="276231" y="5332876"/>
              <a:ext cx="1551146" cy="613951"/>
            </a:xfrm>
            <a:prstGeom prst="rect">
              <a:avLst/>
            </a:prstGeom>
            <a:noFill/>
          </p:spPr>
          <p:txBody>
            <a:bodyPr wrap="square" lIns="179259" tIns="143408" rIns="179259" bIns="143408" rtlCol="0">
              <a:spAutoFit/>
            </a:bodyPr>
            <a:lstStyle/>
            <a:p>
              <a:pPr marL="0" marR="0" lvl="0" indent="0" defTabSz="914186"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solidFill>
                    <a:schemeClr val="accent1"/>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Sensors </a:t>
              </a:r>
              <a:br>
                <a:rPr kumimoji="0" lang="en-US" sz="1127" b="0" i="0" u="none" strike="noStrike" kern="0" cap="none" spc="-29" normalizeH="0" baseline="0" noProof="0" dirty="0">
                  <a:ln>
                    <a:noFill/>
                  </a:ln>
                  <a:solidFill>
                    <a:schemeClr val="accent1"/>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br>
              <a:r>
                <a:rPr kumimoji="0" lang="en-US" sz="1127" b="0" i="0" u="none" strike="noStrike" kern="0" cap="none" spc="-29" normalizeH="0" baseline="0" noProof="0" dirty="0">
                  <a:ln>
                    <a:noFill/>
                  </a:ln>
                  <a:solidFill>
                    <a:schemeClr val="accent1"/>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and devices</a:t>
              </a:r>
            </a:p>
          </p:txBody>
        </p:sp>
        <p:sp>
          <p:nvSpPr>
            <p:cNvPr id="83"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rgbClr val="002050"/>
            </a:solidFill>
            <a:ln>
              <a:noFill/>
            </a:ln>
            <a:extLst/>
          </p:spPr>
          <p:txBody>
            <a:bodyPr vert="horz" wrap="square" lIns="89630" tIns="44814" rIns="89630" bIns="44814" numCol="1" anchor="t" anchorCtr="0" compatLnSpc="1">
              <a:prstTxWarp prst="textNoShape">
                <a:avLst/>
              </a:prstTxWarp>
            </a:bodyPr>
            <a:lstStyle/>
            <a:p>
              <a:pPr marL="0" marR="0" lvl="0" indent="0" defTabSz="9141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S PGothic" panose="020B0600070205080204" pitchFamily="34" charset="-128"/>
              </a:endParaRPr>
            </a:p>
          </p:txBody>
        </p:sp>
      </p:grpSp>
      <p:sp>
        <p:nvSpPr>
          <p:cNvPr id="84" name="Rectangle 83"/>
          <p:cNvSpPr/>
          <p:nvPr/>
        </p:nvSpPr>
        <p:spPr>
          <a:xfrm>
            <a:off x="5258380" y="5968385"/>
            <a:ext cx="1385572" cy="333489"/>
          </a:xfrm>
          <a:prstGeom prst="rect">
            <a:avLst/>
          </a:prstGeom>
          <a:noFill/>
        </p:spPr>
        <p:txBody>
          <a:bodyPr wrap="none">
            <a:spAutoFit/>
          </a:bodyPr>
          <a:lstStyle/>
          <a:p>
            <a:pPr marL="0" marR="0" lvl="0" indent="0" algn="ctr" defTabSz="710725" eaLnBrk="1" fontAlgn="auto" latinLnBrk="0" hangingPunct="1">
              <a:lnSpc>
                <a:spcPct val="100000"/>
              </a:lnSpc>
              <a:spcBef>
                <a:spcPct val="0"/>
              </a:spcBef>
              <a:spcAft>
                <a:spcPct val="35000"/>
              </a:spcAft>
              <a:buClrTx/>
              <a:buSzTx/>
              <a:buFontTx/>
              <a:buNone/>
              <a:tabLst/>
              <a:defRPr/>
            </a:pPr>
            <a:r>
              <a:rPr kumimoji="0" lang="en-US" sz="1567" b="0" i="0" u="none" strike="noStrike" kern="0" cap="none" spc="-29" normalizeH="0" baseline="0" noProof="0" dirty="0">
                <a:ln>
                  <a:noFill/>
                </a:ln>
                <a:solidFill>
                  <a:schemeClr val="accent1"/>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INTELLIGENCE</a:t>
            </a:r>
          </a:p>
        </p:txBody>
      </p:sp>
      <p:sp>
        <p:nvSpPr>
          <p:cNvPr id="85" name="Right Arrow 84"/>
          <p:cNvSpPr/>
          <p:nvPr/>
        </p:nvSpPr>
        <p:spPr bwMode="auto">
          <a:xfrm>
            <a:off x="1844589" y="6007053"/>
            <a:ext cx="3416476" cy="254513"/>
          </a:xfrm>
          <a:prstGeom prst="rightArrow">
            <a:avLst/>
          </a:prstGeom>
          <a:solidFill>
            <a:schemeClr val="accent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5" eaLnBrk="1" fontAlgn="auto" latinLnBrk="0" hangingPunct="1">
              <a:lnSpc>
                <a:spcPct val="100000"/>
              </a:lnSpc>
              <a:spcBef>
                <a:spcPct val="0"/>
              </a:spcBef>
              <a:spcAft>
                <a:spcPct val="35000"/>
              </a:spcAft>
              <a:buClrTx/>
              <a:buSzTx/>
              <a:buFontTx/>
              <a:buNone/>
              <a:tabLst/>
              <a:defRPr/>
            </a:pPr>
            <a:endParaRPr kumimoji="0" lang="en-US" sz="1568" b="0" i="0" u="none" strike="noStrike" kern="0" cap="none" spc="-29" normalizeH="0" baseline="0" noProof="0" dirty="0" err="1">
              <a:ln>
                <a:noFill/>
              </a:ln>
              <a:solidFill>
                <a:prstClr val="white"/>
              </a:solidFill>
              <a:effectLst/>
              <a:uLnTx/>
              <a:uFillTx/>
              <a:latin typeface="Segoe UI Semilight" panose="020B0402040204020203" pitchFamily="34" charset="0"/>
              <a:cs typeface="Segoe UI Semilight" panose="020B0402040204020203" pitchFamily="34" charset="0"/>
            </a:endParaRPr>
          </a:p>
        </p:txBody>
      </p:sp>
      <p:sp>
        <p:nvSpPr>
          <p:cNvPr id="86" name="Rectangle 85"/>
          <p:cNvSpPr/>
          <p:nvPr/>
        </p:nvSpPr>
        <p:spPr>
          <a:xfrm>
            <a:off x="11045203" y="5968385"/>
            <a:ext cx="865045" cy="333489"/>
          </a:xfrm>
          <a:prstGeom prst="rect">
            <a:avLst/>
          </a:prstGeom>
        </p:spPr>
        <p:txBody>
          <a:bodyPr wrap="none">
            <a:spAutoFit/>
          </a:bodyPr>
          <a:lstStyle/>
          <a:p>
            <a:pPr marL="0" marR="0" lvl="0" indent="0" algn="ctr" defTabSz="710725" eaLnBrk="1" fontAlgn="auto" latinLnBrk="0" hangingPunct="1">
              <a:lnSpc>
                <a:spcPct val="100000"/>
              </a:lnSpc>
              <a:spcBef>
                <a:spcPct val="0"/>
              </a:spcBef>
              <a:spcAft>
                <a:spcPct val="35000"/>
              </a:spcAft>
              <a:buClrTx/>
              <a:buSzTx/>
              <a:buFontTx/>
              <a:buNone/>
              <a:tabLst/>
              <a:defRPr/>
            </a:pPr>
            <a:r>
              <a:rPr kumimoji="0" lang="en-US" sz="1567" b="0" i="0" u="none" strike="noStrike" kern="0" cap="none" spc="-29" normalizeH="0" baseline="0" noProof="0" dirty="0">
                <a:ln>
                  <a:noFill/>
                </a:ln>
                <a:solidFill>
                  <a:schemeClr val="accent1"/>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ACTION</a:t>
            </a:r>
          </a:p>
        </p:txBody>
      </p:sp>
      <p:grpSp>
        <p:nvGrpSpPr>
          <p:cNvPr id="87" name="Group 86"/>
          <p:cNvGrpSpPr/>
          <p:nvPr/>
        </p:nvGrpSpPr>
        <p:grpSpPr>
          <a:xfrm>
            <a:off x="10829543" y="2905872"/>
            <a:ext cx="1215508" cy="1033680"/>
            <a:chOff x="10920388" y="2780901"/>
            <a:chExt cx="1239881" cy="1054406"/>
          </a:xfrm>
        </p:grpSpPr>
        <p:grpSp>
          <p:nvGrpSpPr>
            <p:cNvPr id="88" name="Group 87"/>
            <p:cNvGrpSpPr/>
            <p:nvPr/>
          </p:nvGrpSpPr>
          <p:grpSpPr>
            <a:xfrm>
              <a:off x="11311238" y="2780901"/>
              <a:ext cx="458181" cy="590870"/>
              <a:chOff x="8824650" y="2294433"/>
              <a:chExt cx="368737" cy="475523"/>
            </a:xfrm>
          </p:grpSpPr>
          <p:sp>
            <p:nvSpPr>
              <p:cNvPr id="90"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marL="0" marR="0" lvl="0" indent="0" defTabSz="9141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chemeClr val="accent1"/>
                  </a:solidFill>
                  <a:effectLst/>
                  <a:uLnTx/>
                  <a:uFillTx/>
                  <a:latin typeface="Segoe UI"/>
                  <a:ea typeface="MS PGothic" panose="020B0600070205080204" pitchFamily="34" charset="-128"/>
                </a:endParaRPr>
              </a:p>
            </p:txBody>
          </p:sp>
          <p:sp>
            <p:nvSpPr>
              <p:cNvPr id="91"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marL="0" marR="0" lvl="0" indent="0" defTabSz="9141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chemeClr val="accent1"/>
                  </a:solidFill>
                  <a:effectLst/>
                  <a:uLnTx/>
                  <a:uFillTx/>
                  <a:latin typeface="Segoe UI"/>
                  <a:ea typeface="MS PGothic" panose="020B0600070205080204" pitchFamily="34" charset="-128"/>
                </a:endParaRPr>
              </a:p>
            </p:txBody>
          </p:sp>
        </p:grpSp>
        <p:sp>
          <p:nvSpPr>
            <p:cNvPr id="89" name="TextBox 88"/>
            <p:cNvSpPr txBox="1"/>
            <p:nvPr/>
          </p:nvSpPr>
          <p:spPr>
            <a:xfrm>
              <a:off x="10920388" y="3380620"/>
              <a:ext cx="1239881" cy="454687"/>
            </a:xfrm>
            <a:prstGeom prst="rect">
              <a:avLst/>
            </a:prstGeom>
            <a:noFill/>
          </p:spPr>
          <p:txBody>
            <a:bodyPr wrap="square" lIns="179259" tIns="143408" rIns="179259" bIns="143408" rtlCol="0">
              <a:spAutoFit/>
            </a:bodyPr>
            <a:lstStyle/>
            <a:p>
              <a:pPr marL="0" marR="0" lvl="0" indent="0" algn="ctr" defTabSz="914186"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solidFill>
                    <a:schemeClr val="accent1"/>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People</a:t>
              </a:r>
            </a:p>
          </p:txBody>
        </p:sp>
      </p:grpSp>
      <p:grpSp>
        <p:nvGrpSpPr>
          <p:cNvPr id="92" name="Group 91"/>
          <p:cNvGrpSpPr/>
          <p:nvPr/>
        </p:nvGrpSpPr>
        <p:grpSpPr>
          <a:xfrm>
            <a:off x="10990714" y="4557289"/>
            <a:ext cx="1055874" cy="1282912"/>
            <a:chOff x="11084791" y="4760710"/>
            <a:chExt cx="1077047" cy="1308637"/>
          </a:xfrm>
        </p:grpSpPr>
        <p:grpSp>
          <p:nvGrpSpPr>
            <p:cNvPr id="93" name="Group 92"/>
            <p:cNvGrpSpPr/>
            <p:nvPr/>
          </p:nvGrpSpPr>
          <p:grpSpPr>
            <a:xfrm>
              <a:off x="11311897" y="4760710"/>
              <a:ext cx="503712" cy="783392"/>
              <a:chOff x="8597110" y="4718972"/>
              <a:chExt cx="361215" cy="561776"/>
            </a:xfrm>
          </p:grpSpPr>
          <p:sp>
            <p:nvSpPr>
              <p:cNvPr id="95"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marL="0" marR="0" lvl="0" indent="0" defTabSz="9141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S PGothic" panose="020B0600070205080204" pitchFamily="34" charset="-128"/>
                </a:endParaRPr>
              </a:p>
            </p:txBody>
          </p:sp>
          <p:sp>
            <p:nvSpPr>
              <p:cNvPr id="96"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marL="0" marR="0" lvl="0" indent="0" defTabSz="9141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S PGothic" panose="020B0600070205080204" pitchFamily="34" charset="-128"/>
                </a:endParaRPr>
              </a:p>
            </p:txBody>
          </p:sp>
          <p:sp>
            <p:nvSpPr>
              <p:cNvPr id="97"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marL="0" marR="0" lvl="0" indent="0" defTabSz="9141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S PGothic" panose="020B0600070205080204" pitchFamily="34" charset="-128"/>
                </a:endParaRPr>
              </a:p>
            </p:txBody>
          </p:sp>
        </p:grpSp>
        <p:sp>
          <p:nvSpPr>
            <p:cNvPr id="94" name="TextBox 93"/>
            <p:cNvSpPr txBox="1"/>
            <p:nvPr/>
          </p:nvSpPr>
          <p:spPr>
            <a:xfrm>
              <a:off x="11084791" y="5455396"/>
              <a:ext cx="1077047" cy="613951"/>
            </a:xfrm>
            <a:prstGeom prst="rect">
              <a:avLst/>
            </a:prstGeom>
            <a:noFill/>
          </p:spPr>
          <p:txBody>
            <a:bodyPr wrap="square" lIns="179259" tIns="143408" rIns="179259" bIns="143408" rtlCol="0">
              <a:spAutoFit/>
            </a:bodyPr>
            <a:lstStyle/>
            <a:p>
              <a:pPr marL="0" marR="0" lvl="0" indent="0" defTabSz="914186"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solidFill>
                    <a:schemeClr val="accent1"/>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Automated</a:t>
              </a:r>
              <a:r>
                <a:rPr kumimoji="0" lang="en-US" sz="112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 </a:t>
              </a:r>
              <a:br>
                <a:rPr kumimoji="0" lang="en-US" sz="112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br>
              <a:r>
                <a:rPr kumimoji="0" lang="en-US" sz="1127" b="0" i="0" u="none" strike="noStrike" kern="0" cap="none" spc="-29" normalizeH="0" baseline="0" noProof="0" dirty="0">
                  <a:ln>
                    <a:noFill/>
                  </a:ln>
                  <a:solidFill>
                    <a:schemeClr val="accent1"/>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Systems</a:t>
              </a:r>
            </a:p>
          </p:txBody>
        </p:sp>
      </p:grpSp>
      <p:sp>
        <p:nvSpPr>
          <p:cNvPr id="98" name="Right Arrow 97"/>
          <p:cNvSpPr/>
          <p:nvPr/>
        </p:nvSpPr>
        <p:spPr bwMode="auto">
          <a:xfrm>
            <a:off x="6775167" y="6007053"/>
            <a:ext cx="3750853" cy="254513"/>
          </a:xfrm>
          <a:prstGeom prst="rightArrow">
            <a:avLst/>
          </a:prstGeom>
          <a:solidFill>
            <a:schemeClr val="accent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5" eaLnBrk="1" fontAlgn="auto" latinLnBrk="0" hangingPunct="1">
              <a:lnSpc>
                <a:spcPct val="100000"/>
              </a:lnSpc>
              <a:spcBef>
                <a:spcPct val="0"/>
              </a:spcBef>
              <a:spcAft>
                <a:spcPct val="35000"/>
              </a:spcAft>
              <a:buClrTx/>
              <a:buSzTx/>
              <a:buFontTx/>
              <a:buNone/>
              <a:tabLst/>
              <a:defRPr/>
            </a:pPr>
            <a:endParaRPr kumimoji="0" lang="en-US" sz="1568" b="0" i="0" u="none" strike="noStrike" kern="0" cap="none" spc="-29" normalizeH="0" baseline="0" noProof="0" dirty="0" err="1">
              <a:ln>
                <a:noFill/>
              </a:ln>
              <a:solidFill>
                <a:prstClr val="white"/>
              </a:solidFill>
              <a:effectLst/>
              <a:uLnTx/>
              <a:uFillTx/>
              <a:latin typeface="Segoe UI Semilight" panose="020B0402040204020203" pitchFamily="34" charset="0"/>
              <a:cs typeface="Segoe UI Semilight" panose="020B0402040204020203" pitchFamily="34" charset="0"/>
            </a:endParaRPr>
          </a:p>
        </p:txBody>
      </p:sp>
      <p:sp>
        <p:nvSpPr>
          <p:cNvPr id="99" name="Rectangle 98"/>
          <p:cNvSpPr/>
          <p:nvPr/>
        </p:nvSpPr>
        <p:spPr bwMode="auto">
          <a:xfrm>
            <a:off x="4060259" y="1645366"/>
            <a:ext cx="2038628" cy="4235175"/>
          </a:xfrm>
          <a:prstGeom prst="rect">
            <a:avLst/>
          </a:prstGeom>
          <a:solidFill>
            <a:srgbClr val="0080EA"/>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5" eaLnBrk="1" fontAlgn="auto" latinLnBrk="0" hangingPunct="1">
              <a:lnSpc>
                <a:spcPct val="100000"/>
              </a:lnSpc>
              <a:spcBef>
                <a:spcPct val="0"/>
              </a:spcBef>
              <a:spcAft>
                <a:spcPct val="35000"/>
              </a:spcAft>
              <a:buClrTx/>
              <a:buSzTx/>
              <a:buFontTx/>
              <a:buNone/>
              <a:tabLst/>
              <a:defRPr/>
            </a:pPr>
            <a:r>
              <a:rPr kumimoji="0" lang="en-US" sz="1568" b="0" i="0" u="none" strike="noStrike" kern="0" cap="none" spc="-29"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Big Data Stores</a:t>
            </a:r>
          </a:p>
        </p:txBody>
      </p:sp>
      <p:pic>
        <p:nvPicPr>
          <p:cNvPr id="100" name="Picture 13"/>
          <p:cNvPicPr>
            <a:picLocks noChangeAspect="1"/>
          </p:cNvPicPr>
          <p:nvPr/>
        </p:nvPicPr>
        <p:blipFill>
          <a:blip r:embed="rId6">
            <a:lum bright="100000"/>
            <a:extLst>
              <a:ext uri="{28A0092B-C50C-407E-A947-70E740481C1C}">
                <a14:useLocalDpi xmlns:a14="http://schemas.microsoft.com/office/drawing/2010/main" val="0"/>
              </a:ext>
            </a:extLst>
          </a:blip>
          <a:srcRect/>
          <a:stretch>
            <a:fillRect/>
          </a:stretch>
        </p:blipFill>
        <p:spPr bwMode="auto">
          <a:xfrm>
            <a:off x="4188383" y="2752144"/>
            <a:ext cx="323288" cy="421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1" name="Rectangle 100"/>
          <p:cNvSpPr/>
          <p:nvPr/>
        </p:nvSpPr>
        <p:spPr>
          <a:xfrm>
            <a:off x="4542898" y="2760384"/>
            <a:ext cx="1441805" cy="446917"/>
          </a:xfrm>
          <a:prstGeom prst="rect">
            <a:avLst/>
          </a:prstGeom>
        </p:spPr>
        <p:txBody>
          <a:bodyPr wrap="none">
            <a:spAutoFit/>
          </a:bodyPr>
          <a:lstStyle/>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Azure</a:t>
            </a:r>
            <a:r>
              <a:rPr kumimoji="0" lang="en-US" sz="112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 </a:t>
            </a:r>
          </a:p>
          <a:p>
            <a:pPr marL="0" marR="0" lvl="0" indent="0" defTabSz="914362" eaLnBrk="1" fontAlgn="auto" latinLnBrk="0" hangingPunct="1">
              <a:lnSpc>
                <a:spcPct val="100000"/>
              </a:lnSpc>
              <a:spcBef>
                <a:spcPts val="0"/>
              </a:spcBef>
              <a:spcAft>
                <a:spcPts val="0"/>
              </a:spcAft>
              <a:buClrTx/>
              <a:buSzTx/>
              <a:buFontTx/>
              <a:buNone/>
              <a:tabLst/>
              <a:defRPr/>
            </a:pPr>
            <a:r>
              <a:rPr kumimoji="0" lang="en-US" sz="112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SQL Data Warehouse</a:t>
            </a:r>
            <a:endParaRPr kumimoji="0" lang="en-US" sz="1127" b="0" i="0" u="none" strike="noStrike" kern="0" cap="none" spc="0" normalizeH="0" baseline="0" noProof="0" dirty="0">
              <a:ln>
                <a:noFill/>
              </a:ln>
              <a:solidFill>
                <a:prstClr val="white"/>
              </a:solidFill>
              <a:effectLst/>
              <a:uLnTx/>
              <a:uFillTx/>
              <a:latin typeface="Segoe UI"/>
              <a:ea typeface="MS PGothic" panose="020B0600070205080204" pitchFamily="34" charset="-128"/>
            </a:endParaRPr>
          </a:p>
        </p:txBody>
      </p:sp>
      <p:grpSp>
        <p:nvGrpSpPr>
          <p:cNvPr id="102" name="Group 101"/>
          <p:cNvGrpSpPr/>
          <p:nvPr/>
        </p:nvGrpSpPr>
        <p:grpSpPr>
          <a:xfrm>
            <a:off x="6070422" y="5041266"/>
            <a:ext cx="317871" cy="836893"/>
            <a:chOff x="3803288" y="5254390"/>
            <a:chExt cx="324245" cy="853675"/>
          </a:xfrm>
        </p:grpSpPr>
        <p:sp>
          <p:nvSpPr>
            <p:cNvPr id="103" name="Isosceles Triangle 102"/>
            <p:cNvSpPr/>
            <p:nvPr/>
          </p:nvSpPr>
          <p:spPr bwMode="auto">
            <a:xfrm rot="5400000">
              <a:off x="3576673" y="5557205"/>
              <a:ext cx="853675" cy="248045"/>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104" name="Isosceles Triangle 103"/>
            <p:cNvSpPr/>
            <p:nvPr/>
          </p:nvSpPr>
          <p:spPr bwMode="auto">
            <a:xfrm rot="5400000">
              <a:off x="3500473" y="5557205"/>
              <a:ext cx="853675" cy="248045"/>
            </a:xfrm>
            <a:prstGeom prst="triangle">
              <a:avLst/>
            </a:prstGeom>
            <a:solidFill>
              <a:srgbClr val="0080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grpSp>
      <p:grpSp>
        <p:nvGrpSpPr>
          <p:cNvPr id="105" name="Group 104"/>
          <p:cNvGrpSpPr/>
          <p:nvPr/>
        </p:nvGrpSpPr>
        <p:grpSpPr>
          <a:xfrm>
            <a:off x="1844587" y="1645366"/>
            <a:ext cx="2325667" cy="4235175"/>
            <a:chOff x="1755266" y="1790395"/>
            <a:chExt cx="2372301" cy="4320099"/>
          </a:xfrm>
          <a:solidFill>
            <a:srgbClr val="00B0F0"/>
          </a:solidFill>
        </p:grpSpPr>
        <p:sp>
          <p:nvSpPr>
            <p:cNvPr id="106" name="Rectangle 105"/>
            <p:cNvSpPr/>
            <p:nvPr/>
          </p:nvSpPr>
          <p:spPr bwMode="auto">
            <a:xfrm>
              <a:off x="1755266" y="1790395"/>
              <a:ext cx="2079506" cy="4320099"/>
            </a:xfrm>
            <a:prstGeom prst="rect">
              <a:avLst/>
            </a:prstGeom>
            <a:grp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5" eaLnBrk="1" fontAlgn="auto" latinLnBrk="0" hangingPunct="1">
                <a:lnSpc>
                  <a:spcPct val="100000"/>
                </a:lnSpc>
                <a:spcBef>
                  <a:spcPct val="0"/>
                </a:spcBef>
                <a:spcAft>
                  <a:spcPct val="35000"/>
                </a:spcAft>
                <a:buClrTx/>
                <a:buSzTx/>
                <a:buFontTx/>
                <a:buNone/>
                <a:tabLst/>
                <a:defRPr/>
              </a:pPr>
              <a:r>
                <a:rPr kumimoji="0" lang="en-US" sz="1568" b="0" i="0" u="none" strike="noStrike" kern="0" cap="none" spc="-29"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Information Management</a:t>
              </a:r>
            </a:p>
          </p:txBody>
        </p:sp>
        <p:pic>
          <p:nvPicPr>
            <p:cNvPr id="107" name="Picture 10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a:grpFill/>
          </p:spPr>
        </p:pic>
        <p:pic>
          <p:nvPicPr>
            <p:cNvPr id="108" name="Picture 10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a:grpFill/>
          </p:spPr>
        </p:pic>
        <p:sp>
          <p:nvSpPr>
            <p:cNvPr id="109" name="Rectangle 108"/>
            <p:cNvSpPr/>
            <p:nvPr/>
          </p:nvSpPr>
          <p:spPr>
            <a:xfrm>
              <a:off x="2295424" y="2888599"/>
              <a:ext cx="1015491" cy="463728"/>
            </a:xfrm>
            <a:prstGeom prst="rect">
              <a:avLst/>
            </a:prstGeom>
            <a:grpFill/>
          </p:spPr>
          <p:txBody>
            <a:bodyPr wrap="none">
              <a:spAutoFit/>
            </a:bodyPr>
            <a:lstStyle/>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Azure </a:t>
              </a:r>
            </a:p>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Data Factory </a:t>
              </a:r>
              <a:endParaRPr kumimoji="0" lang="en-US" sz="1177" b="0" i="0" u="none" strike="noStrike" kern="0" cap="none" spc="0" normalizeH="0" baseline="0" noProof="0" dirty="0">
                <a:ln>
                  <a:noFill/>
                </a:ln>
                <a:solidFill>
                  <a:prstClr val="white"/>
                </a:solidFill>
                <a:effectLst/>
                <a:uLnTx/>
                <a:uFillTx/>
                <a:latin typeface="Segoe UI"/>
                <a:ea typeface="MS PGothic" panose="020B0600070205080204" pitchFamily="34" charset="-128"/>
              </a:endParaRPr>
            </a:p>
          </p:txBody>
        </p:sp>
        <p:sp>
          <p:nvSpPr>
            <p:cNvPr id="110" name="Rectangle 109"/>
            <p:cNvSpPr/>
            <p:nvPr/>
          </p:nvSpPr>
          <p:spPr>
            <a:xfrm>
              <a:off x="2295424" y="3922283"/>
              <a:ext cx="1002933" cy="463728"/>
            </a:xfrm>
            <a:prstGeom prst="rect">
              <a:avLst/>
            </a:prstGeom>
            <a:grpFill/>
          </p:spPr>
          <p:txBody>
            <a:bodyPr wrap="none">
              <a:spAutoFit/>
            </a:bodyPr>
            <a:lstStyle/>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Azure </a:t>
              </a:r>
            </a:p>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Data Catalog</a:t>
              </a:r>
              <a:endParaRPr kumimoji="0" lang="en-US" sz="1177" b="0" i="0" u="none" strike="noStrike" kern="0" cap="none" spc="0" normalizeH="0" baseline="0" noProof="0" dirty="0">
                <a:ln>
                  <a:noFill/>
                </a:ln>
                <a:solidFill>
                  <a:prstClr val="white"/>
                </a:solidFill>
                <a:effectLst/>
                <a:uLnTx/>
                <a:uFillTx/>
                <a:latin typeface="Segoe UI"/>
                <a:ea typeface="MS PGothic" panose="020B0600070205080204" pitchFamily="34" charset="-128"/>
              </a:endParaRPr>
            </a:p>
          </p:txBody>
        </p:sp>
        <p:sp>
          <p:nvSpPr>
            <p:cNvPr id="111" name="Rectangle 110"/>
            <p:cNvSpPr/>
            <p:nvPr/>
          </p:nvSpPr>
          <p:spPr>
            <a:xfrm>
              <a:off x="2295424" y="4954772"/>
              <a:ext cx="837718" cy="463728"/>
            </a:xfrm>
            <a:prstGeom prst="rect">
              <a:avLst/>
            </a:prstGeom>
            <a:grpFill/>
          </p:spPr>
          <p:txBody>
            <a:bodyPr wrap="none">
              <a:spAutoFit/>
            </a:bodyPr>
            <a:lstStyle/>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Azure </a:t>
              </a:r>
            </a:p>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Event Hub</a:t>
              </a:r>
              <a:endParaRPr kumimoji="0" lang="en-US" sz="1177" b="0" i="0" u="none" strike="noStrike" kern="0" cap="none" spc="0" normalizeH="0" baseline="0" noProof="0" dirty="0">
                <a:ln>
                  <a:noFill/>
                </a:ln>
                <a:solidFill>
                  <a:prstClr val="white"/>
                </a:solidFill>
                <a:effectLst/>
                <a:uLnTx/>
                <a:uFillTx/>
                <a:latin typeface="Segoe UI"/>
                <a:ea typeface="MS PGothic" panose="020B0600070205080204" pitchFamily="34" charset="-128"/>
              </a:endParaRPr>
            </a:p>
          </p:txBody>
        </p:sp>
        <p:grpSp>
          <p:nvGrpSpPr>
            <p:cNvPr id="112" name="Group 111"/>
            <p:cNvGrpSpPr/>
            <p:nvPr/>
          </p:nvGrpSpPr>
          <p:grpSpPr>
            <a:xfrm>
              <a:off x="3832324" y="5254390"/>
              <a:ext cx="295243" cy="853675"/>
              <a:chOff x="3832324" y="5254390"/>
              <a:chExt cx="295243" cy="853675"/>
            </a:xfrm>
            <a:grpFill/>
          </p:grpSpPr>
          <p:sp>
            <p:nvSpPr>
              <p:cNvPr id="113" name="Isosceles Triangle 112"/>
              <p:cNvSpPr/>
              <p:nvPr/>
            </p:nvSpPr>
            <p:spPr bwMode="auto">
              <a:xfrm rot="5400000">
                <a:off x="3576707" y="5557205"/>
                <a:ext cx="853675" cy="248045"/>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114" name="Isosceles Triangle 113"/>
              <p:cNvSpPr/>
              <p:nvPr/>
            </p:nvSpPr>
            <p:spPr bwMode="auto">
              <a:xfrm rot="5400000">
                <a:off x="3529509" y="5557205"/>
                <a:ext cx="853675" cy="248045"/>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97"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grpSp>
      </p:grpSp>
      <p:pic>
        <p:nvPicPr>
          <p:cNvPr id="115" name="Picture 1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90196" y="3621493"/>
            <a:ext cx="873416" cy="679539"/>
          </a:xfrm>
          <a:prstGeom prst="rect">
            <a:avLst/>
          </a:prstGeom>
        </p:spPr>
      </p:pic>
      <p:sp>
        <p:nvSpPr>
          <p:cNvPr id="116" name="Rectangle 115"/>
          <p:cNvSpPr/>
          <p:nvPr/>
        </p:nvSpPr>
        <p:spPr bwMode="auto">
          <a:xfrm>
            <a:off x="4064932" y="3135729"/>
            <a:ext cx="2032319" cy="563950"/>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9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prstClr val="white"/>
              </a:solidFill>
              <a:effectLst/>
              <a:uLnTx/>
              <a:uFillTx/>
              <a:latin typeface="Segoe UI"/>
            </a:endParaRPr>
          </a:p>
        </p:txBody>
      </p:sp>
      <p:sp>
        <p:nvSpPr>
          <p:cNvPr id="127" name="Rounded Rectangle 126"/>
          <p:cNvSpPr/>
          <p:nvPr/>
        </p:nvSpPr>
        <p:spPr bwMode="auto">
          <a:xfrm>
            <a:off x="4103236" y="4072212"/>
            <a:ext cx="4108454" cy="1185872"/>
          </a:xfrm>
          <a:prstGeom prst="roundRect">
            <a:avLst/>
          </a:prstGeom>
          <a:solidFill>
            <a:srgbClr val="C00000">
              <a:alpha val="63000"/>
            </a:srgbClr>
          </a:solidFill>
          <a:ln w="3810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17" name="Rectangle 116"/>
          <p:cNvSpPr/>
          <p:nvPr/>
        </p:nvSpPr>
        <p:spPr>
          <a:xfrm>
            <a:off x="4567601" y="4311696"/>
            <a:ext cx="1148391" cy="454612"/>
          </a:xfrm>
          <a:prstGeom prst="rect">
            <a:avLst/>
          </a:prstGeom>
        </p:spPr>
        <p:txBody>
          <a:bodyPr wrap="none">
            <a:spAutoFit/>
          </a:bodyPr>
          <a:lstStyle/>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Azure </a:t>
            </a:r>
          </a:p>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Data Lake Store</a:t>
            </a:r>
            <a:endParaRPr kumimoji="0" lang="en-US" sz="1177" b="0" i="0" u="none" strike="noStrike" kern="0" cap="none" spc="0" normalizeH="0" baseline="0" noProof="0" dirty="0">
              <a:ln>
                <a:noFill/>
              </a:ln>
              <a:solidFill>
                <a:prstClr val="white"/>
              </a:solidFill>
              <a:effectLst/>
              <a:uLnTx/>
              <a:uFillTx/>
              <a:latin typeface="Segoe UI"/>
              <a:ea typeface="MS PGothic" panose="020B0600070205080204" pitchFamily="34" charset="-128"/>
            </a:endParaRPr>
          </a:p>
        </p:txBody>
      </p:sp>
      <p:sp>
        <p:nvSpPr>
          <p:cNvPr id="118" name="Freeform 6"/>
          <p:cNvSpPr>
            <a:spLocks noEditPoints="1"/>
          </p:cNvSpPr>
          <p:nvPr/>
        </p:nvSpPr>
        <p:spPr bwMode="auto">
          <a:xfrm>
            <a:off x="5663062" y="3492811"/>
            <a:ext cx="818885" cy="818885"/>
          </a:xfrm>
          <a:custGeom>
            <a:avLst/>
            <a:gdLst>
              <a:gd name="T0" fmla="*/ 1273 w 7317"/>
              <a:gd name="T1" fmla="*/ 1047 h 7295"/>
              <a:gd name="T2" fmla="*/ 6037 w 7317"/>
              <a:gd name="T3" fmla="*/ 1047 h 7295"/>
              <a:gd name="T4" fmla="*/ 6255 w 7317"/>
              <a:gd name="T5" fmla="*/ 1265 h 7295"/>
              <a:gd name="T6" fmla="*/ 6255 w 7317"/>
              <a:gd name="T7" fmla="*/ 6030 h 7295"/>
              <a:gd name="T8" fmla="*/ 6037 w 7317"/>
              <a:gd name="T9" fmla="*/ 6248 h 7295"/>
              <a:gd name="T10" fmla="*/ 1273 w 7317"/>
              <a:gd name="T11" fmla="*/ 6248 h 7295"/>
              <a:gd name="T12" fmla="*/ 1055 w 7317"/>
              <a:gd name="T13" fmla="*/ 6030 h 7295"/>
              <a:gd name="T14" fmla="*/ 1055 w 7317"/>
              <a:gd name="T15" fmla="*/ 1265 h 7295"/>
              <a:gd name="T16" fmla="*/ 1273 w 7317"/>
              <a:gd name="T17" fmla="*/ 1047 h 7295"/>
              <a:gd name="T18" fmla="*/ 4801 w 7317"/>
              <a:gd name="T19" fmla="*/ 7230 h 7295"/>
              <a:gd name="T20" fmla="*/ 5084 w 7317"/>
              <a:gd name="T21" fmla="*/ 7295 h 7295"/>
              <a:gd name="T22" fmla="*/ 5317 w 7317"/>
              <a:gd name="T23" fmla="*/ 7252 h 7295"/>
              <a:gd name="T24" fmla="*/ 5695 w 7317"/>
              <a:gd name="T25" fmla="*/ 6903 h 7295"/>
              <a:gd name="T26" fmla="*/ 5794 w 7317"/>
              <a:gd name="T27" fmla="*/ 6699 h 7295"/>
              <a:gd name="T28" fmla="*/ 6037 w 7317"/>
              <a:gd name="T29" fmla="*/ 6699 h 7295"/>
              <a:gd name="T30" fmla="*/ 6699 w 7317"/>
              <a:gd name="T31" fmla="*/ 6037 h 7295"/>
              <a:gd name="T32" fmla="*/ 6699 w 7317"/>
              <a:gd name="T33" fmla="*/ 4152 h 7295"/>
              <a:gd name="T34" fmla="*/ 7230 w 7317"/>
              <a:gd name="T35" fmla="*/ 3018 h 7295"/>
              <a:gd name="T36" fmla="*/ 7252 w 7317"/>
              <a:gd name="T37" fmla="*/ 2495 h 7295"/>
              <a:gd name="T38" fmla="*/ 6903 w 7317"/>
              <a:gd name="T39" fmla="*/ 2117 h 7295"/>
              <a:gd name="T40" fmla="*/ 6699 w 7317"/>
              <a:gd name="T41" fmla="*/ 2018 h 7295"/>
              <a:gd name="T42" fmla="*/ 6699 w 7317"/>
              <a:gd name="T43" fmla="*/ 1273 h 7295"/>
              <a:gd name="T44" fmla="*/ 6037 w 7317"/>
              <a:gd name="T45" fmla="*/ 611 h 7295"/>
              <a:gd name="T46" fmla="*/ 4129 w 7317"/>
              <a:gd name="T47" fmla="*/ 611 h 7295"/>
              <a:gd name="T48" fmla="*/ 3011 w 7317"/>
              <a:gd name="T49" fmla="*/ 87 h 7295"/>
              <a:gd name="T50" fmla="*/ 2495 w 7317"/>
              <a:gd name="T51" fmla="*/ 65 h 7295"/>
              <a:gd name="T52" fmla="*/ 2117 w 7317"/>
              <a:gd name="T53" fmla="*/ 414 h 7295"/>
              <a:gd name="T54" fmla="*/ 2022 w 7317"/>
              <a:gd name="T55" fmla="*/ 611 h 7295"/>
              <a:gd name="T56" fmla="*/ 1273 w 7317"/>
              <a:gd name="T57" fmla="*/ 611 h 7295"/>
              <a:gd name="T58" fmla="*/ 611 w 7317"/>
              <a:gd name="T59" fmla="*/ 1273 h 7295"/>
              <a:gd name="T60" fmla="*/ 611 w 7317"/>
              <a:gd name="T61" fmla="*/ 3682 h 7295"/>
              <a:gd name="T62" fmla="*/ 87 w 7317"/>
              <a:gd name="T63" fmla="*/ 4801 h 7295"/>
              <a:gd name="T64" fmla="*/ 65 w 7317"/>
              <a:gd name="T65" fmla="*/ 5317 h 7295"/>
              <a:gd name="T66" fmla="*/ 414 w 7317"/>
              <a:gd name="T67" fmla="*/ 5695 h 7295"/>
              <a:gd name="T68" fmla="*/ 611 w 7317"/>
              <a:gd name="T69" fmla="*/ 5790 h 7295"/>
              <a:gd name="T70" fmla="*/ 611 w 7317"/>
              <a:gd name="T71" fmla="*/ 6037 h 7295"/>
              <a:gd name="T72" fmla="*/ 1273 w 7317"/>
              <a:gd name="T73" fmla="*/ 6699 h 7295"/>
              <a:gd name="T74" fmla="*/ 3667 w 7317"/>
              <a:gd name="T75" fmla="*/ 6699 h 7295"/>
              <a:gd name="T76" fmla="*/ 4801 w 7317"/>
              <a:gd name="T77" fmla="*/ 7230 h 7295"/>
              <a:gd name="T78" fmla="*/ 4706 w 7317"/>
              <a:gd name="T79" fmla="*/ 3200 h 7295"/>
              <a:gd name="T80" fmla="*/ 3782 w 7317"/>
              <a:gd name="T81" fmla="*/ 3200 h 7295"/>
              <a:gd name="T82" fmla="*/ 4168 w 7317"/>
              <a:gd name="T83" fmla="*/ 1913 h 7295"/>
              <a:gd name="T84" fmla="*/ 4131 w 7317"/>
              <a:gd name="T85" fmla="*/ 1826 h 7295"/>
              <a:gd name="T86" fmla="*/ 4102 w 7317"/>
              <a:gd name="T87" fmla="*/ 1818 h 7295"/>
              <a:gd name="T88" fmla="*/ 4044 w 7317"/>
              <a:gd name="T89" fmla="*/ 1847 h 7295"/>
              <a:gd name="T90" fmla="*/ 2553 w 7317"/>
              <a:gd name="T91" fmla="*/ 4022 h 7295"/>
              <a:gd name="T92" fmla="*/ 2546 w 7317"/>
              <a:gd name="T93" fmla="*/ 4095 h 7295"/>
              <a:gd name="T94" fmla="*/ 2611 w 7317"/>
              <a:gd name="T95" fmla="*/ 4131 h 7295"/>
              <a:gd name="T96" fmla="*/ 3506 w 7317"/>
              <a:gd name="T97" fmla="*/ 4131 h 7295"/>
              <a:gd name="T98" fmla="*/ 3106 w 7317"/>
              <a:gd name="T99" fmla="*/ 5441 h 7295"/>
              <a:gd name="T100" fmla="*/ 3142 w 7317"/>
              <a:gd name="T101" fmla="*/ 5528 h 7295"/>
              <a:gd name="T102" fmla="*/ 3171 w 7317"/>
              <a:gd name="T103" fmla="*/ 5535 h 7295"/>
              <a:gd name="T104" fmla="*/ 3229 w 7317"/>
              <a:gd name="T105" fmla="*/ 5506 h 7295"/>
              <a:gd name="T106" fmla="*/ 4764 w 7317"/>
              <a:gd name="T107" fmla="*/ 3309 h 7295"/>
              <a:gd name="T108" fmla="*/ 4779 w 7317"/>
              <a:gd name="T109" fmla="*/ 3266 h 7295"/>
              <a:gd name="T110" fmla="*/ 4706 w 7317"/>
              <a:gd name="T111" fmla="*/ 3200 h 7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17" h="7295">
                <a:moveTo>
                  <a:pt x="1273" y="1047"/>
                </a:moveTo>
                <a:lnTo>
                  <a:pt x="6037" y="1047"/>
                </a:lnTo>
                <a:cubicBezTo>
                  <a:pt x="6153" y="1047"/>
                  <a:pt x="6255" y="1142"/>
                  <a:pt x="6255" y="1265"/>
                </a:cubicBezTo>
                <a:lnTo>
                  <a:pt x="6255" y="6030"/>
                </a:lnTo>
                <a:cubicBezTo>
                  <a:pt x="6255" y="6146"/>
                  <a:pt x="6161" y="6248"/>
                  <a:pt x="6037" y="6248"/>
                </a:cubicBezTo>
                <a:lnTo>
                  <a:pt x="1273" y="6248"/>
                </a:lnTo>
                <a:cubicBezTo>
                  <a:pt x="1156" y="6248"/>
                  <a:pt x="1055" y="6153"/>
                  <a:pt x="1055" y="6030"/>
                </a:cubicBezTo>
                <a:lnTo>
                  <a:pt x="1055" y="1265"/>
                </a:lnTo>
                <a:cubicBezTo>
                  <a:pt x="1055" y="1149"/>
                  <a:pt x="1149" y="1047"/>
                  <a:pt x="1273" y="1047"/>
                </a:cubicBezTo>
                <a:close/>
                <a:moveTo>
                  <a:pt x="4801" y="7230"/>
                </a:moveTo>
                <a:cubicBezTo>
                  <a:pt x="4888" y="7274"/>
                  <a:pt x="4990" y="7295"/>
                  <a:pt x="5084" y="7295"/>
                </a:cubicBezTo>
                <a:cubicBezTo>
                  <a:pt x="5164" y="7295"/>
                  <a:pt x="5237" y="7281"/>
                  <a:pt x="5317" y="7252"/>
                </a:cubicBezTo>
                <a:cubicBezTo>
                  <a:pt x="5484" y="7194"/>
                  <a:pt x="5623" y="7070"/>
                  <a:pt x="5695" y="6903"/>
                </a:cubicBezTo>
                <a:lnTo>
                  <a:pt x="5794" y="6699"/>
                </a:lnTo>
                <a:lnTo>
                  <a:pt x="6037" y="6699"/>
                </a:lnTo>
                <a:cubicBezTo>
                  <a:pt x="6401" y="6699"/>
                  <a:pt x="6699" y="6401"/>
                  <a:pt x="6699" y="6037"/>
                </a:cubicBezTo>
                <a:lnTo>
                  <a:pt x="6699" y="4152"/>
                </a:lnTo>
                <a:lnTo>
                  <a:pt x="7230" y="3018"/>
                </a:lnTo>
                <a:cubicBezTo>
                  <a:pt x="7310" y="2851"/>
                  <a:pt x="7317" y="2669"/>
                  <a:pt x="7252" y="2495"/>
                </a:cubicBezTo>
                <a:cubicBezTo>
                  <a:pt x="7194" y="2327"/>
                  <a:pt x="7070" y="2189"/>
                  <a:pt x="6903" y="2117"/>
                </a:cubicBezTo>
                <a:lnTo>
                  <a:pt x="6699" y="2018"/>
                </a:lnTo>
                <a:lnTo>
                  <a:pt x="6699" y="1273"/>
                </a:lnTo>
                <a:cubicBezTo>
                  <a:pt x="6699" y="909"/>
                  <a:pt x="6401" y="611"/>
                  <a:pt x="6037" y="611"/>
                </a:cubicBezTo>
                <a:lnTo>
                  <a:pt x="4129" y="611"/>
                </a:lnTo>
                <a:lnTo>
                  <a:pt x="3011" y="87"/>
                </a:lnTo>
                <a:cubicBezTo>
                  <a:pt x="2851" y="14"/>
                  <a:pt x="2662" y="0"/>
                  <a:pt x="2495" y="65"/>
                </a:cubicBezTo>
                <a:cubicBezTo>
                  <a:pt x="2327" y="123"/>
                  <a:pt x="2189" y="247"/>
                  <a:pt x="2117" y="414"/>
                </a:cubicBezTo>
                <a:lnTo>
                  <a:pt x="2022" y="611"/>
                </a:lnTo>
                <a:lnTo>
                  <a:pt x="1273" y="611"/>
                </a:lnTo>
                <a:cubicBezTo>
                  <a:pt x="909" y="611"/>
                  <a:pt x="611" y="909"/>
                  <a:pt x="611" y="1273"/>
                </a:cubicBezTo>
                <a:lnTo>
                  <a:pt x="611" y="3682"/>
                </a:lnTo>
                <a:lnTo>
                  <a:pt x="87" y="4801"/>
                </a:lnTo>
                <a:cubicBezTo>
                  <a:pt x="14" y="4961"/>
                  <a:pt x="0" y="5150"/>
                  <a:pt x="65" y="5317"/>
                </a:cubicBezTo>
                <a:cubicBezTo>
                  <a:pt x="123" y="5484"/>
                  <a:pt x="247" y="5623"/>
                  <a:pt x="414" y="5695"/>
                </a:cubicBezTo>
                <a:lnTo>
                  <a:pt x="611" y="5790"/>
                </a:lnTo>
                <a:lnTo>
                  <a:pt x="611" y="6037"/>
                </a:lnTo>
                <a:cubicBezTo>
                  <a:pt x="611" y="6401"/>
                  <a:pt x="909" y="6699"/>
                  <a:pt x="1273" y="6699"/>
                </a:cubicBezTo>
                <a:lnTo>
                  <a:pt x="3667" y="6699"/>
                </a:lnTo>
                <a:lnTo>
                  <a:pt x="4801" y="7230"/>
                </a:lnTo>
                <a:close/>
                <a:moveTo>
                  <a:pt x="4706" y="3200"/>
                </a:moveTo>
                <a:lnTo>
                  <a:pt x="3782" y="3200"/>
                </a:lnTo>
                <a:lnTo>
                  <a:pt x="4168" y="1913"/>
                </a:lnTo>
                <a:cubicBezTo>
                  <a:pt x="4175" y="1876"/>
                  <a:pt x="4160" y="1840"/>
                  <a:pt x="4131" y="1826"/>
                </a:cubicBezTo>
                <a:cubicBezTo>
                  <a:pt x="4124" y="1818"/>
                  <a:pt x="4110" y="1818"/>
                  <a:pt x="4102" y="1818"/>
                </a:cubicBezTo>
                <a:cubicBezTo>
                  <a:pt x="4080" y="1818"/>
                  <a:pt x="4059" y="1833"/>
                  <a:pt x="4044" y="1847"/>
                </a:cubicBezTo>
                <a:lnTo>
                  <a:pt x="2553" y="4022"/>
                </a:lnTo>
                <a:cubicBezTo>
                  <a:pt x="2538" y="4044"/>
                  <a:pt x="2538" y="4073"/>
                  <a:pt x="2546" y="4095"/>
                </a:cubicBezTo>
                <a:cubicBezTo>
                  <a:pt x="2560" y="4117"/>
                  <a:pt x="2582" y="4131"/>
                  <a:pt x="2611" y="4131"/>
                </a:cubicBezTo>
                <a:lnTo>
                  <a:pt x="3506" y="4131"/>
                </a:lnTo>
                <a:lnTo>
                  <a:pt x="3106" y="5441"/>
                </a:lnTo>
                <a:cubicBezTo>
                  <a:pt x="3098" y="5477"/>
                  <a:pt x="3113" y="5513"/>
                  <a:pt x="3142" y="5528"/>
                </a:cubicBezTo>
                <a:cubicBezTo>
                  <a:pt x="3149" y="5535"/>
                  <a:pt x="3164" y="5535"/>
                  <a:pt x="3171" y="5535"/>
                </a:cubicBezTo>
                <a:cubicBezTo>
                  <a:pt x="3193" y="5535"/>
                  <a:pt x="3215" y="5521"/>
                  <a:pt x="3229" y="5506"/>
                </a:cubicBezTo>
                <a:lnTo>
                  <a:pt x="4764" y="3309"/>
                </a:lnTo>
                <a:cubicBezTo>
                  <a:pt x="4771" y="3295"/>
                  <a:pt x="4779" y="3280"/>
                  <a:pt x="4779" y="3266"/>
                </a:cubicBezTo>
                <a:cubicBezTo>
                  <a:pt x="4779" y="3229"/>
                  <a:pt x="4742" y="3200"/>
                  <a:pt x="4706" y="3200"/>
                </a:cubicBezTo>
                <a:close/>
              </a:path>
            </a:pathLst>
          </a:custGeom>
          <a:noFill/>
          <a:ln w="3175" cap="rnd">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119" name="Freeform 5"/>
          <p:cNvSpPr>
            <a:spLocks noEditPoints="1"/>
          </p:cNvSpPr>
          <p:nvPr/>
        </p:nvSpPr>
        <p:spPr bwMode="auto">
          <a:xfrm>
            <a:off x="4187915" y="4411103"/>
            <a:ext cx="341735" cy="268942"/>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rgbClr val="FFFFFF"/>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120" name="Rectangle 119"/>
          <p:cNvSpPr/>
          <p:nvPr/>
        </p:nvSpPr>
        <p:spPr bwMode="auto">
          <a:xfrm>
            <a:off x="6284010" y="3316632"/>
            <a:ext cx="2032319" cy="563950"/>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9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prstClr val="white"/>
              </a:solidFill>
              <a:effectLst/>
              <a:uLnTx/>
              <a:uFillTx/>
              <a:latin typeface="Segoe UI"/>
            </a:endParaRPr>
          </a:p>
        </p:txBody>
      </p:sp>
      <p:pic>
        <p:nvPicPr>
          <p:cNvPr id="121" name="Picture 12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378888" y="4161839"/>
            <a:ext cx="419850" cy="304029"/>
          </a:xfrm>
          <a:prstGeom prst="rect">
            <a:avLst/>
          </a:prstGeom>
        </p:spPr>
      </p:pic>
      <p:sp>
        <p:nvSpPr>
          <p:cNvPr id="122" name="Rectangle 121"/>
          <p:cNvSpPr/>
          <p:nvPr/>
        </p:nvSpPr>
        <p:spPr>
          <a:xfrm>
            <a:off x="6798739" y="4072212"/>
            <a:ext cx="1412951" cy="454612"/>
          </a:xfrm>
          <a:prstGeom prst="rect">
            <a:avLst/>
          </a:prstGeom>
        </p:spPr>
        <p:txBody>
          <a:bodyPr wrap="none">
            <a:spAutoFit/>
          </a:bodyPr>
          <a:lstStyle/>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Azure </a:t>
            </a:r>
          </a:p>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HDInsight (Hadoop)</a:t>
            </a:r>
          </a:p>
        </p:txBody>
      </p:sp>
      <p:sp>
        <p:nvSpPr>
          <p:cNvPr id="123" name="Rectangle 122"/>
          <p:cNvSpPr/>
          <p:nvPr/>
        </p:nvSpPr>
        <p:spPr bwMode="auto">
          <a:xfrm>
            <a:off x="6280354" y="3964519"/>
            <a:ext cx="2032319" cy="563950"/>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9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prstClr val="white"/>
              </a:solidFill>
              <a:effectLst/>
              <a:uLnTx/>
              <a:uFillTx/>
              <a:latin typeface="Segoe UI"/>
            </a:endParaRPr>
          </a:p>
        </p:txBody>
      </p:sp>
      <p:sp>
        <p:nvSpPr>
          <p:cNvPr id="124" name="Rectangle 123"/>
          <p:cNvSpPr/>
          <p:nvPr/>
        </p:nvSpPr>
        <p:spPr>
          <a:xfrm>
            <a:off x="6796385" y="4712454"/>
            <a:ext cx="1364348" cy="454612"/>
          </a:xfrm>
          <a:prstGeom prst="rect">
            <a:avLst/>
          </a:prstGeom>
        </p:spPr>
        <p:txBody>
          <a:bodyPr wrap="none">
            <a:spAutoFit/>
          </a:bodyPr>
          <a:lstStyle/>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Azure </a:t>
            </a:r>
          </a:p>
          <a:p>
            <a:pPr marL="0" marR="0" lvl="0" indent="0" defTabSz="914362" eaLnBrk="1" fontAlgn="auto" latinLnBrk="0" hangingPunct="1">
              <a:lnSpc>
                <a:spcPct val="100000"/>
              </a:lnSpc>
              <a:spcBef>
                <a:spcPts val="0"/>
              </a:spcBef>
              <a:spcAft>
                <a:spcPts val="0"/>
              </a:spcAft>
              <a:buClrTx/>
              <a:buSzTx/>
              <a:buFontTx/>
              <a:buNone/>
              <a:tabLst/>
              <a:defRPr/>
            </a:pPr>
            <a:r>
              <a:rPr kumimoji="0" lang="en-US" sz="1177" b="0" i="0" u="none" strike="noStrike" kern="0" cap="none" spc="-29" normalizeH="0" baseline="0" noProof="0" dirty="0">
                <a:ln>
                  <a:noFill/>
                </a:ln>
                <a:solidFill>
                  <a:prstClr val="white"/>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Data Lake Analytics</a:t>
            </a:r>
          </a:p>
        </p:txBody>
      </p:sp>
      <p:sp>
        <p:nvSpPr>
          <p:cNvPr id="125" name="Freeform 5"/>
          <p:cNvSpPr>
            <a:spLocks noEditPoints="1"/>
          </p:cNvSpPr>
          <p:nvPr/>
        </p:nvSpPr>
        <p:spPr bwMode="auto">
          <a:xfrm>
            <a:off x="6387660" y="4763545"/>
            <a:ext cx="374024" cy="374024"/>
          </a:xfrm>
          <a:custGeom>
            <a:avLst/>
            <a:gdLst>
              <a:gd name="T0" fmla="*/ 1273 w 7317"/>
              <a:gd name="T1" fmla="*/ 1047 h 7295"/>
              <a:gd name="T2" fmla="*/ 6037 w 7317"/>
              <a:gd name="T3" fmla="*/ 1047 h 7295"/>
              <a:gd name="T4" fmla="*/ 6255 w 7317"/>
              <a:gd name="T5" fmla="*/ 1265 h 7295"/>
              <a:gd name="T6" fmla="*/ 6255 w 7317"/>
              <a:gd name="T7" fmla="*/ 6030 h 7295"/>
              <a:gd name="T8" fmla="*/ 6037 w 7317"/>
              <a:gd name="T9" fmla="*/ 6248 h 7295"/>
              <a:gd name="T10" fmla="*/ 1273 w 7317"/>
              <a:gd name="T11" fmla="*/ 6248 h 7295"/>
              <a:gd name="T12" fmla="*/ 1055 w 7317"/>
              <a:gd name="T13" fmla="*/ 6030 h 7295"/>
              <a:gd name="T14" fmla="*/ 1055 w 7317"/>
              <a:gd name="T15" fmla="*/ 1265 h 7295"/>
              <a:gd name="T16" fmla="*/ 1273 w 7317"/>
              <a:gd name="T17" fmla="*/ 1047 h 7295"/>
              <a:gd name="T18" fmla="*/ 4801 w 7317"/>
              <a:gd name="T19" fmla="*/ 7230 h 7295"/>
              <a:gd name="T20" fmla="*/ 5084 w 7317"/>
              <a:gd name="T21" fmla="*/ 7295 h 7295"/>
              <a:gd name="T22" fmla="*/ 5317 w 7317"/>
              <a:gd name="T23" fmla="*/ 7252 h 7295"/>
              <a:gd name="T24" fmla="*/ 5695 w 7317"/>
              <a:gd name="T25" fmla="*/ 6903 h 7295"/>
              <a:gd name="T26" fmla="*/ 5794 w 7317"/>
              <a:gd name="T27" fmla="*/ 6699 h 7295"/>
              <a:gd name="T28" fmla="*/ 6037 w 7317"/>
              <a:gd name="T29" fmla="*/ 6699 h 7295"/>
              <a:gd name="T30" fmla="*/ 6699 w 7317"/>
              <a:gd name="T31" fmla="*/ 6037 h 7295"/>
              <a:gd name="T32" fmla="*/ 6699 w 7317"/>
              <a:gd name="T33" fmla="*/ 4152 h 7295"/>
              <a:gd name="T34" fmla="*/ 7230 w 7317"/>
              <a:gd name="T35" fmla="*/ 3018 h 7295"/>
              <a:gd name="T36" fmla="*/ 7252 w 7317"/>
              <a:gd name="T37" fmla="*/ 2495 h 7295"/>
              <a:gd name="T38" fmla="*/ 6903 w 7317"/>
              <a:gd name="T39" fmla="*/ 2117 h 7295"/>
              <a:gd name="T40" fmla="*/ 6699 w 7317"/>
              <a:gd name="T41" fmla="*/ 2018 h 7295"/>
              <a:gd name="T42" fmla="*/ 6699 w 7317"/>
              <a:gd name="T43" fmla="*/ 1273 h 7295"/>
              <a:gd name="T44" fmla="*/ 6037 w 7317"/>
              <a:gd name="T45" fmla="*/ 611 h 7295"/>
              <a:gd name="T46" fmla="*/ 4129 w 7317"/>
              <a:gd name="T47" fmla="*/ 611 h 7295"/>
              <a:gd name="T48" fmla="*/ 3011 w 7317"/>
              <a:gd name="T49" fmla="*/ 87 h 7295"/>
              <a:gd name="T50" fmla="*/ 2495 w 7317"/>
              <a:gd name="T51" fmla="*/ 65 h 7295"/>
              <a:gd name="T52" fmla="*/ 2117 w 7317"/>
              <a:gd name="T53" fmla="*/ 414 h 7295"/>
              <a:gd name="T54" fmla="*/ 2022 w 7317"/>
              <a:gd name="T55" fmla="*/ 611 h 7295"/>
              <a:gd name="T56" fmla="*/ 1273 w 7317"/>
              <a:gd name="T57" fmla="*/ 611 h 7295"/>
              <a:gd name="T58" fmla="*/ 611 w 7317"/>
              <a:gd name="T59" fmla="*/ 1273 h 7295"/>
              <a:gd name="T60" fmla="*/ 611 w 7317"/>
              <a:gd name="T61" fmla="*/ 3682 h 7295"/>
              <a:gd name="T62" fmla="*/ 87 w 7317"/>
              <a:gd name="T63" fmla="*/ 4801 h 7295"/>
              <a:gd name="T64" fmla="*/ 65 w 7317"/>
              <a:gd name="T65" fmla="*/ 5317 h 7295"/>
              <a:gd name="T66" fmla="*/ 414 w 7317"/>
              <a:gd name="T67" fmla="*/ 5695 h 7295"/>
              <a:gd name="T68" fmla="*/ 611 w 7317"/>
              <a:gd name="T69" fmla="*/ 5790 h 7295"/>
              <a:gd name="T70" fmla="*/ 611 w 7317"/>
              <a:gd name="T71" fmla="*/ 6037 h 7295"/>
              <a:gd name="T72" fmla="*/ 1273 w 7317"/>
              <a:gd name="T73" fmla="*/ 6699 h 7295"/>
              <a:gd name="T74" fmla="*/ 3667 w 7317"/>
              <a:gd name="T75" fmla="*/ 6699 h 7295"/>
              <a:gd name="T76" fmla="*/ 4801 w 7317"/>
              <a:gd name="T77" fmla="*/ 7230 h 7295"/>
              <a:gd name="T78" fmla="*/ 4706 w 7317"/>
              <a:gd name="T79" fmla="*/ 3200 h 7295"/>
              <a:gd name="T80" fmla="*/ 3782 w 7317"/>
              <a:gd name="T81" fmla="*/ 3200 h 7295"/>
              <a:gd name="T82" fmla="*/ 4168 w 7317"/>
              <a:gd name="T83" fmla="*/ 1913 h 7295"/>
              <a:gd name="T84" fmla="*/ 4131 w 7317"/>
              <a:gd name="T85" fmla="*/ 1826 h 7295"/>
              <a:gd name="T86" fmla="*/ 4102 w 7317"/>
              <a:gd name="T87" fmla="*/ 1818 h 7295"/>
              <a:gd name="T88" fmla="*/ 4044 w 7317"/>
              <a:gd name="T89" fmla="*/ 1847 h 7295"/>
              <a:gd name="T90" fmla="*/ 2553 w 7317"/>
              <a:gd name="T91" fmla="*/ 4022 h 7295"/>
              <a:gd name="T92" fmla="*/ 2546 w 7317"/>
              <a:gd name="T93" fmla="*/ 4095 h 7295"/>
              <a:gd name="T94" fmla="*/ 2611 w 7317"/>
              <a:gd name="T95" fmla="*/ 4131 h 7295"/>
              <a:gd name="T96" fmla="*/ 3506 w 7317"/>
              <a:gd name="T97" fmla="*/ 4131 h 7295"/>
              <a:gd name="T98" fmla="*/ 3106 w 7317"/>
              <a:gd name="T99" fmla="*/ 5441 h 7295"/>
              <a:gd name="T100" fmla="*/ 3142 w 7317"/>
              <a:gd name="T101" fmla="*/ 5528 h 7295"/>
              <a:gd name="T102" fmla="*/ 3171 w 7317"/>
              <a:gd name="T103" fmla="*/ 5535 h 7295"/>
              <a:gd name="T104" fmla="*/ 3229 w 7317"/>
              <a:gd name="T105" fmla="*/ 5506 h 7295"/>
              <a:gd name="T106" fmla="*/ 4764 w 7317"/>
              <a:gd name="T107" fmla="*/ 3309 h 7295"/>
              <a:gd name="T108" fmla="*/ 4779 w 7317"/>
              <a:gd name="T109" fmla="*/ 3266 h 7295"/>
              <a:gd name="T110" fmla="*/ 4706 w 7317"/>
              <a:gd name="T111" fmla="*/ 3200 h 7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17" h="7295">
                <a:moveTo>
                  <a:pt x="1273" y="1047"/>
                </a:moveTo>
                <a:lnTo>
                  <a:pt x="6037" y="1047"/>
                </a:lnTo>
                <a:cubicBezTo>
                  <a:pt x="6153" y="1047"/>
                  <a:pt x="6255" y="1142"/>
                  <a:pt x="6255" y="1265"/>
                </a:cubicBezTo>
                <a:lnTo>
                  <a:pt x="6255" y="6030"/>
                </a:lnTo>
                <a:cubicBezTo>
                  <a:pt x="6255" y="6146"/>
                  <a:pt x="6161" y="6248"/>
                  <a:pt x="6037" y="6248"/>
                </a:cubicBezTo>
                <a:lnTo>
                  <a:pt x="1273" y="6248"/>
                </a:lnTo>
                <a:cubicBezTo>
                  <a:pt x="1156" y="6248"/>
                  <a:pt x="1055" y="6153"/>
                  <a:pt x="1055" y="6030"/>
                </a:cubicBezTo>
                <a:lnTo>
                  <a:pt x="1055" y="1265"/>
                </a:lnTo>
                <a:cubicBezTo>
                  <a:pt x="1055" y="1149"/>
                  <a:pt x="1149" y="1047"/>
                  <a:pt x="1273" y="1047"/>
                </a:cubicBezTo>
                <a:close/>
                <a:moveTo>
                  <a:pt x="4801" y="7230"/>
                </a:moveTo>
                <a:cubicBezTo>
                  <a:pt x="4888" y="7274"/>
                  <a:pt x="4990" y="7295"/>
                  <a:pt x="5084" y="7295"/>
                </a:cubicBezTo>
                <a:cubicBezTo>
                  <a:pt x="5164" y="7295"/>
                  <a:pt x="5237" y="7281"/>
                  <a:pt x="5317" y="7252"/>
                </a:cubicBezTo>
                <a:cubicBezTo>
                  <a:pt x="5484" y="7194"/>
                  <a:pt x="5623" y="7070"/>
                  <a:pt x="5695" y="6903"/>
                </a:cubicBezTo>
                <a:lnTo>
                  <a:pt x="5794" y="6699"/>
                </a:lnTo>
                <a:lnTo>
                  <a:pt x="6037" y="6699"/>
                </a:lnTo>
                <a:cubicBezTo>
                  <a:pt x="6401" y="6699"/>
                  <a:pt x="6699" y="6401"/>
                  <a:pt x="6699" y="6037"/>
                </a:cubicBezTo>
                <a:lnTo>
                  <a:pt x="6699" y="4152"/>
                </a:lnTo>
                <a:lnTo>
                  <a:pt x="7230" y="3018"/>
                </a:lnTo>
                <a:cubicBezTo>
                  <a:pt x="7310" y="2851"/>
                  <a:pt x="7317" y="2669"/>
                  <a:pt x="7252" y="2495"/>
                </a:cubicBezTo>
                <a:cubicBezTo>
                  <a:pt x="7194" y="2327"/>
                  <a:pt x="7070" y="2189"/>
                  <a:pt x="6903" y="2117"/>
                </a:cubicBezTo>
                <a:lnTo>
                  <a:pt x="6699" y="2018"/>
                </a:lnTo>
                <a:lnTo>
                  <a:pt x="6699" y="1273"/>
                </a:lnTo>
                <a:cubicBezTo>
                  <a:pt x="6699" y="909"/>
                  <a:pt x="6401" y="611"/>
                  <a:pt x="6037" y="611"/>
                </a:cubicBezTo>
                <a:lnTo>
                  <a:pt x="4129" y="611"/>
                </a:lnTo>
                <a:lnTo>
                  <a:pt x="3011" y="87"/>
                </a:lnTo>
                <a:cubicBezTo>
                  <a:pt x="2851" y="14"/>
                  <a:pt x="2662" y="0"/>
                  <a:pt x="2495" y="65"/>
                </a:cubicBezTo>
                <a:cubicBezTo>
                  <a:pt x="2327" y="123"/>
                  <a:pt x="2189" y="247"/>
                  <a:pt x="2117" y="414"/>
                </a:cubicBezTo>
                <a:lnTo>
                  <a:pt x="2022" y="611"/>
                </a:lnTo>
                <a:lnTo>
                  <a:pt x="1273" y="611"/>
                </a:lnTo>
                <a:cubicBezTo>
                  <a:pt x="909" y="611"/>
                  <a:pt x="611" y="909"/>
                  <a:pt x="611" y="1273"/>
                </a:cubicBezTo>
                <a:lnTo>
                  <a:pt x="611" y="3682"/>
                </a:lnTo>
                <a:lnTo>
                  <a:pt x="87" y="4801"/>
                </a:lnTo>
                <a:cubicBezTo>
                  <a:pt x="14" y="4961"/>
                  <a:pt x="0" y="5150"/>
                  <a:pt x="65" y="5317"/>
                </a:cubicBezTo>
                <a:cubicBezTo>
                  <a:pt x="123" y="5484"/>
                  <a:pt x="247" y="5623"/>
                  <a:pt x="414" y="5695"/>
                </a:cubicBezTo>
                <a:lnTo>
                  <a:pt x="611" y="5790"/>
                </a:lnTo>
                <a:lnTo>
                  <a:pt x="611" y="6037"/>
                </a:lnTo>
                <a:cubicBezTo>
                  <a:pt x="611" y="6401"/>
                  <a:pt x="909" y="6699"/>
                  <a:pt x="1273" y="6699"/>
                </a:cubicBezTo>
                <a:lnTo>
                  <a:pt x="3667" y="6699"/>
                </a:lnTo>
                <a:lnTo>
                  <a:pt x="4801" y="7230"/>
                </a:lnTo>
                <a:close/>
                <a:moveTo>
                  <a:pt x="4706" y="3200"/>
                </a:moveTo>
                <a:lnTo>
                  <a:pt x="3782" y="3200"/>
                </a:lnTo>
                <a:lnTo>
                  <a:pt x="4168" y="1913"/>
                </a:lnTo>
                <a:cubicBezTo>
                  <a:pt x="4175" y="1876"/>
                  <a:pt x="4160" y="1840"/>
                  <a:pt x="4131" y="1826"/>
                </a:cubicBezTo>
                <a:cubicBezTo>
                  <a:pt x="4124" y="1818"/>
                  <a:pt x="4110" y="1818"/>
                  <a:pt x="4102" y="1818"/>
                </a:cubicBezTo>
                <a:cubicBezTo>
                  <a:pt x="4080" y="1818"/>
                  <a:pt x="4059" y="1833"/>
                  <a:pt x="4044" y="1847"/>
                </a:cubicBezTo>
                <a:lnTo>
                  <a:pt x="2553" y="4022"/>
                </a:lnTo>
                <a:cubicBezTo>
                  <a:pt x="2538" y="4044"/>
                  <a:pt x="2538" y="4073"/>
                  <a:pt x="2546" y="4095"/>
                </a:cubicBezTo>
                <a:cubicBezTo>
                  <a:pt x="2560" y="4117"/>
                  <a:pt x="2582" y="4131"/>
                  <a:pt x="2611" y="4131"/>
                </a:cubicBezTo>
                <a:lnTo>
                  <a:pt x="3506" y="4131"/>
                </a:lnTo>
                <a:lnTo>
                  <a:pt x="3106" y="5441"/>
                </a:lnTo>
                <a:cubicBezTo>
                  <a:pt x="3098" y="5477"/>
                  <a:pt x="3113" y="5513"/>
                  <a:pt x="3142" y="5528"/>
                </a:cubicBezTo>
                <a:cubicBezTo>
                  <a:pt x="3149" y="5535"/>
                  <a:pt x="3164" y="5535"/>
                  <a:pt x="3171" y="5535"/>
                </a:cubicBezTo>
                <a:cubicBezTo>
                  <a:pt x="3193" y="5535"/>
                  <a:pt x="3215" y="5521"/>
                  <a:pt x="3229" y="5506"/>
                </a:cubicBezTo>
                <a:lnTo>
                  <a:pt x="4764" y="3309"/>
                </a:lnTo>
                <a:cubicBezTo>
                  <a:pt x="4771" y="3295"/>
                  <a:pt x="4779" y="3280"/>
                  <a:pt x="4779" y="3266"/>
                </a:cubicBezTo>
                <a:cubicBezTo>
                  <a:pt x="4779" y="3229"/>
                  <a:pt x="4742" y="3200"/>
                  <a:pt x="4706" y="3200"/>
                </a:cubicBezTo>
                <a:close/>
              </a:path>
            </a:pathLst>
          </a:custGeom>
          <a:solidFill>
            <a:srgbClr val="FFFFFF"/>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126" name="Title 1"/>
          <p:cNvSpPr>
            <a:spLocks noGrp="1"/>
          </p:cNvSpPr>
          <p:nvPr>
            <p:ph type="title"/>
          </p:nvPr>
        </p:nvSpPr>
        <p:spPr>
          <a:xfrm>
            <a:off x="268927" y="286381"/>
            <a:ext cx="11653523" cy="927940"/>
          </a:xfrm>
        </p:spPr>
        <p:txBody>
          <a:bodyPr>
            <a:normAutofit fontScale="90000"/>
          </a:bodyPr>
          <a:lstStyle/>
          <a:p>
            <a:r>
              <a:rPr lang="en-US" dirty="0">
                <a:solidFill>
                  <a:srgbClr val="0070C0"/>
                </a:solidFill>
              </a:rPr>
              <a:t>Azure Data Lake</a:t>
            </a:r>
            <a:br>
              <a:rPr lang="en-US" dirty="0"/>
            </a:br>
            <a:r>
              <a:rPr lang="en-US" sz="3600" dirty="0">
                <a:solidFill>
                  <a:srgbClr val="00B0F0"/>
                </a:solidFill>
              </a:rPr>
              <a:t>as part of Cortana Intelligence Suite</a:t>
            </a:r>
          </a:p>
        </p:txBody>
      </p:sp>
    </p:spTree>
    <p:extLst>
      <p:ext uri="{BB962C8B-B14F-4D97-AF65-F5344CB8AC3E}">
        <p14:creationId xmlns:p14="http://schemas.microsoft.com/office/powerpoint/2010/main" val="1432671351"/>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1"/>
            </p:custDataLst>
          </p:nvPr>
        </p:nvSpPr>
        <p:spPr bwMode="auto">
          <a:xfrm>
            <a:off x="416859" y="1739671"/>
            <a:ext cx="6666554" cy="5142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8179" tIns="92119" rIns="138179" bIns="92119" numCol="1" spcCol="0" rtlCol="0" fromWordArt="0" anchor="ctr" anchorCtr="0" forceAA="0" compatLnSpc="1">
            <a:prstTxWarp prst="textNoShape">
              <a:avLst/>
            </a:prstTxWarp>
            <a:noAutofit/>
          </a:bodyPr>
          <a:lstStyle/>
          <a:p>
            <a:r>
              <a:rPr lang="en-US" sz="2333" dirty="0">
                <a:solidFill>
                  <a:schemeClr val="tx1"/>
                </a:solidFill>
                <a:latin typeface="+mj-lt"/>
                <a:cs typeface="Segoe UI" panose="020B0502040204020203" pitchFamily="34" charset="0"/>
              </a:rPr>
              <a:t>No limits to </a:t>
            </a:r>
            <a:r>
              <a:rPr lang="en-US" sz="2333" b="1" dirty="0">
                <a:solidFill>
                  <a:schemeClr val="tx1"/>
                </a:solidFill>
                <a:latin typeface="+mj-lt"/>
                <a:cs typeface="Segoe UI" panose="020B0502040204020203" pitchFamily="34" charset="0"/>
              </a:rPr>
              <a:t>SCALE</a:t>
            </a:r>
          </a:p>
          <a:p>
            <a:endParaRPr lang="en-US" sz="2333" dirty="0">
              <a:solidFill>
                <a:schemeClr val="tx1"/>
              </a:solidFill>
              <a:cs typeface="Segoe UI" panose="020B0502040204020203" pitchFamily="34" charset="0"/>
            </a:endParaRPr>
          </a:p>
          <a:p>
            <a:r>
              <a:rPr lang="en-US" sz="2333" dirty="0">
                <a:solidFill>
                  <a:schemeClr val="tx1"/>
                </a:solidFill>
                <a:cs typeface="Segoe UI" panose="020B0502040204020203" pitchFamily="34" charset="0"/>
              </a:rPr>
              <a:t>Store </a:t>
            </a:r>
            <a:r>
              <a:rPr lang="en-US" sz="2333" b="1" dirty="0">
                <a:solidFill>
                  <a:schemeClr val="tx1"/>
                </a:solidFill>
                <a:cs typeface="Segoe UI" panose="020B0502040204020203" pitchFamily="34" charset="0"/>
              </a:rPr>
              <a:t>ANY DATA</a:t>
            </a:r>
            <a:r>
              <a:rPr lang="en-US" sz="2333" dirty="0">
                <a:solidFill>
                  <a:schemeClr val="tx1"/>
                </a:solidFill>
                <a:cs typeface="Segoe UI" panose="020B0502040204020203" pitchFamily="34" charset="0"/>
              </a:rPr>
              <a:t> in its native format</a:t>
            </a:r>
          </a:p>
          <a:p>
            <a:endParaRPr lang="en-US" sz="2333" dirty="0">
              <a:solidFill>
                <a:schemeClr val="tx1"/>
              </a:solidFill>
              <a:cs typeface="Segoe UI" panose="020B0502040204020203" pitchFamily="34" charset="0"/>
            </a:endParaRPr>
          </a:p>
          <a:p>
            <a:r>
              <a:rPr lang="en-US" sz="2333" b="1" dirty="0">
                <a:solidFill>
                  <a:schemeClr val="tx1"/>
                </a:solidFill>
                <a:cs typeface="Segoe UI" panose="020B0502040204020203" pitchFamily="34" charset="0"/>
              </a:rPr>
              <a:t>HADOOP FILE SYSTEM (HDFS)</a:t>
            </a:r>
            <a:r>
              <a:rPr lang="en-US" sz="2333" dirty="0">
                <a:solidFill>
                  <a:schemeClr val="tx1"/>
                </a:solidFill>
                <a:cs typeface="Segoe UI" panose="020B0502040204020203" pitchFamily="34" charset="0"/>
              </a:rPr>
              <a:t> for the cloud</a:t>
            </a:r>
          </a:p>
          <a:p>
            <a:endParaRPr lang="en-US" sz="2333" dirty="0">
              <a:solidFill>
                <a:schemeClr val="tx1"/>
              </a:solidFill>
              <a:cs typeface="Segoe UI" panose="020B0502040204020203" pitchFamily="34" charset="0"/>
            </a:endParaRPr>
          </a:p>
          <a:p>
            <a:r>
              <a:rPr lang="en-US" sz="2333" b="1" dirty="0">
                <a:solidFill>
                  <a:schemeClr val="tx1"/>
                </a:solidFill>
                <a:cs typeface="Segoe UI" panose="020B0502040204020203" pitchFamily="34" charset="0"/>
              </a:rPr>
              <a:t>ENTERPRISE READY </a:t>
            </a:r>
            <a:r>
              <a:rPr lang="en-US" sz="2333" dirty="0">
                <a:solidFill>
                  <a:schemeClr val="tx1"/>
                </a:solidFill>
                <a:cs typeface="Segoe UI" panose="020B0502040204020203" pitchFamily="34" charset="0"/>
              </a:rPr>
              <a:t>access control, encryption at rest</a:t>
            </a:r>
            <a:endParaRPr lang="en-US" sz="2333" b="1" dirty="0">
              <a:solidFill>
                <a:schemeClr val="tx1"/>
              </a:solidFill>
              <a:cs typeface="Segoe UI" panose="020B0502040204020203" pitchFamily="34" charset="0"/>
            </a:endParaRPr>
          </a:p>
          <a:p>
            <a:endParaRPr lang="en-US" sz="2333" b="1" dirty="0">
              <a:solidFill>
                <a:schemeClr val="tx1"/>
              </a:solidFill>
              <a:cs typeface="Segoe UI" panose="020B0502040204020203" pitchFamily="34" charset="0"/>
            </a:endParaRPr>
          </a:p>
          <a:p>
            <a:r>
              <a:rPr lang="en-US" sz="2333" dirty="0">
                <a:solidFill>
                  <a:schemeClr val="tx1"/>
                </a:solidFill>
                <a:cs typeface="Segoe UI" panose="020B0502040204020203" pitchFamily="34" charset="0"/>
              </a:rPr>
              <a:t>Optimized for analytic workload </a:t>
            </a:r>
            <a:r>
              <a:rPr lang="en-US" sz="2333" b="1" dirty="0">
                <a:solidFill>
                  <a:schemeClr val="tx1"/>
                </a:solidFill>
                <a:cs typeface="Segoe UI" panose="020B0502040204020203" pitchFamily="34" charset="0"/>
              </a:rPr>
              <a:t>PERFORMANCE</a:t>
            </a:r>
          </a:p>
        </p:txBody>
      </p:sp>
      <p:sp>
        <p:nvSpPr>
          <p:cNvPr id="15" name="Title 1"/>
          <p:cNvSpPr txBox="1">
            <a:spLocks/>
          </p:cNvSpPr>
          <p:nvPr/>
        </p:nvSpPr>
        <p:spPr>
          <a:xfrm>
            <a:off x="416859" y="320767"/>
            <a:ext cx="7965141" cy="1483931"/>
          </a:xfrm>
          <a:prstGeom prst="rect">
            <a:avLst/>
          </a:prstGeom>
        </p:spPr>
        <p:txBody>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r>
              <a:rPr lang="en-US" sz="4999" spc="-124" dirty="0">
                <a:solidFill>
                  <a:srgbClr val="0070C0"/>
                </a:solidFill>
              </a:rPr>
              <a:t>Azure Data Lake Store</a:t>
            </a:r>
          </a:p>
          <a:p>
            <a:r>
              <a:rPr lang="en-US" sz="2800" dirty="0"/>
              <a:t>A hyper scale repository for big data analytics workloads</a:t>
            </a:r>
          </a:p>
          <a:p>
            <a:endParaRPr lang="en-US" sz="4999" spc="-124" dirty="0">
              <a:solidFill>
                <a:srgbClr val="00B0F0"/>
              </a:solidFill>
            </a:endParaRPr>
          </a:p>
        </p:txBody>
      </p:sp>
      <p:grpSp>
        <p:nvGrpSpPr>
          <p:cNvPr id="9" name="Group 8"/>
          <p:cNvGrpSpPr/>
          <p:nvPr/>
        </p:nvGrpSpPr>
        <p:grpSpPr>
          <a:xfrm>
            <a:off x="10578121" y="142108"/>
            <a:ext cx="1267117" cy="993357"/>
            <a:chOff x="8588655" y="3482322"/>
            <a:chExt cx="2571750" cy="2016125"/>
          </a:xfrm>
          <a:solidFill>
            <a:srgbClr val="00B0F0"/>
          </a:solidFill>
        </p:grpSpPr>
        <p:sp>
          <p:nvSpPr>
            <p:cNvPr id="10"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a:solidFill>
                  <a:srgbClr val="FFFFFF"/>
                </a:solidFill>
              </a:endParaRPr>
            </a:p>
          </p:txBody>
        </p:sp>
        <p:sp>
          <p:nvSpPr>
            <p:cNvPr id="11"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694166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Services4x3">
  <a:themeElements>
    <a:clrScheme name="Custom 1">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Workshop_draft_template3.pptx" id="{242871C4-735F-416F-8CE2-670D26539CB9}" vid="{2A1F2C9D-CADA-4C4A-BC3F-4BC68C5BFD9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SVID_Product_Brand_template_4-3_CYAN">
  <a:themeElements>
    <a:clrScheme name="MSVID - Dark Blue">
      <a:dk1>
        <a:srgbClr val="505050"/>
      </a:dk1>
      <a:lt1>
        <a:srgbClr val="FFFFFF"/>
      </a:lt1>
      <a:dk2>
        <a:srgbClr val="002050"/>
      </a:dk2>
      <a:lt2>
        <a:srgbClr val="00BCF2"/>
      </a:lt2>
      <a:accent1>
        <a:srgbClr val="0072C6"/>
      </a:accent1>
      <a:accent2>
        <a:srgbClr val="B4009E"/>
      </a:accent2>
      <a:accent3>
        <a:srgbClr val="008272"/>
      </a:accent3>
      <a:accent4>
        <a:srgbClr val="E81123"/>
      </a:accent4>
      <a:accent5>
        <a:srgbClr val="4668C5"/>
      </a:accent5>
      <a:accent6>
        <a:srgbClr val="68217A"/>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27C45695-E980-4C72-9503-9B1DF3C55DEA}" vid="{2E11D54E-00F9-4A91-87A5-742B911EF351}"/>
    </a:ext>
  </a:extLst>
</a:theme>
</file>

<file path=ppt/theme/theme4.xml><?xml version="1.0" encoding="utf-8"?>
<a:theme xmlns:a="http://schemas.openxmlformats.org/drawingml/2006/main" name="2_Theme1">
  <a:themeElements>
    <a:clrScheme name="Custom 3">
      <a:dk1>
        <a:srgbClr val="000000"/>
      </a:dk1>
      <a:lt1>
        <a:srgbClr val="FFFFFF"/>
      </a:lt1>
      <a:dk2>
        <a:srgbClr val="505050"/>
      </a:dk2>
      <a:lt2>
        <a:srgbClr val="D2D2D2"/>
      </a:lt2>
      <a:accent1>
        <a:srgbClr val="0D163D"/>
      </a:accent1>
      <a:accent2>
        <a:srgbClr val="50B347"/>
      </a:accent2>
      <a:accent3>
        <a:srgbClr val="FEF808"/>
      </a:accent3>
      <a:accent4>
        <a:srgbClr val="A5ACAF"/>
      </a:accent4>
      <a:accent5>
        <a:srgbClr val="FB7D37"/>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spcAft>
            <a:spcPts val="600"/>
          </a:spcAft>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_dlc_DocId xmlns="230e9df3-be65-4c73-a93b-d1236ebd677e">CPS048-348031040-1918</_dlc_DocId>
    <_dlc_DocIdUrl xmlns="230e9df3-be65-4c73-a93b-d1236ebd677e">
      <Url>https://microsoft.sharepoint.com/teams/CampusProjectSites048/zszovvskzd/_layouts/15/DocIdRedir.aspx?ID=CPS048-348031040-1918</Url>
      <Description>CPS048-348031040-1918</Description>
    </_dlc_DocIdUrl>
    <DocumentDescription xmlns="230e9df3-be65-4c73-a93b-d1236ebd677e" xsi:nil="true"/>
    <bc28b5f076654a3b96073bbbebfeb8c9 xmlns="230e9df3-be65-4c73-a93b-d1236ebd677e">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cb91f272-ce4d-4a7e-9bbf-78b58e3d188d</TermId>
        </TermInfo>
      </Terms>
    </bc28b5f076654a3b96073bbbebfeb8c9>
    <MSProductsTaxHTField0 xmlns="230e9df3-be65-4c73-a93b-d1236ebd677e">
      <Terms xmlns="http://schemas.microsoft.com/office/infopath/2007/PartnerControls"/>
    </MSProductsTaxHTField0>
    <m74a2925250f485f9486ed3f97e2a6b3 xmlns="230e9df3-be65-4c73-a93b-d1236ebd677e">
      <Terms xmlns="http://schemas.microsoft.com/office/infopath/2007/PartnerControls"/>
    </m74a2925250f485f9486ed3f97e2a6b3>
    <oad7af80ad0f4ba99bb03b3894ab533c xmlns="230e9df3-be65-4c73-a93b-d1236ebd677e">
      <Terms xmlns="http://schemas.microsoft.com/office/infopath/2007/PartnerControls"/>
    </oad7af80ad0f4ba99bb03b3894ab533c>
    <Authors xmlns="230e9df3-be65-4c73-a93b-d1236ebd677e">
      <UserInfo>
        <DisplayName>i:0#.f|membership|belkiso@microsoft.com</DisplayName>
        <AccountId>629</AccountId>
        <AccountType/>
      </UserInfo>
    </Authors>
    <DerivedFromID xmlns="230e9df3-be65-4c73-a93b-d1236ebd677e">CPS122-1809834756-19</DerivedFromID>
    <TaxCatchAll xmlns="230e9df3-be65-4c73-a93b-d1236ebd677e">
      <Value>269</Value>
    </TaxCatchAll>
  </documentManagement>
</p:properties>
</file>

<file path=customXml/item3.xml><?xml version="1.0" encoding="utf-8"?>
<ct:contentTypeSchema xmlns:ct="http://schemas.microsoft.com/office/2006/metadata/contentType" xmlns:ma="http://schemas.microsoft.com/office/2006/metadata/properties/metaAttributes" ct:_="" ma:_="" ma:contentTypeName="Campus – Individual IP" ma:contentTypeID="0x01010079CA57CA2DAD654DAB031774EE67465801004AE693AAFCF82542BD8BE44BEDE30AF1" ma:contentTypeVersion="22" ma:contentTypeDescription="This content type is produced by an individual or team as part of a team collaboration effort, such as customer engagement. Reuse this type of content at your own risk." ma:contentTypeScope="" ma:versionID="db1986e7fb75177f98b37fb5026e434d">
  <xsd:schema xmlns:xsd="http://www.w3.org/2001/XMLSchema" xmlns:xs="http://www.w3.org/2001/XMLSchema" xmlns:p="http://schemas.microsoft.com/office/2006/metadata/properties" xmlns:ns2="230e9df3-be65-4c73-a93b-d1236ebd677e" targetNamespace="http://schemas.microsoft.com/office/2006/metadata/properties" ma:root="true" ma:fieldsID="9cb4d81d54d03c3bb5ff91d67121cd49" ns2:_="">
    <xsd:import namespace="230e9df3-be65-4c73-a93b-d1236ebd677e"/>
    <xsd:element name="properties">
      <xsd:complexType>
        <xsd:sequence>
          <xsd:element name="documentManagement">
            <xsd:complexType>
              <xsd:all>
                <xsd:element ref="ns2:DerivedFromID" minOccurs="0"/>
                <xsd:element ref="ns2:DocumentDescription" minOccurs="0"/>
                <xsd:element ref="ns2:Authors" minOccurs="0"/>
                <xsd:element ref="ns2:_dlc_DocIdUrl" minOccurs="0"/>
                <xsd:element ref="ns2:_dlc_DocIdPersistId" minOccurs="0"/>
                <xsd:element ref="ns2:MSProductsTaxHTField0" minOccurs="0"/>
                <xsd:element ref="ns2:TaxCatchAll" minOccurs="0"/>
                <xsd:element ref="ns2:TaxCatchAllLabel" minOccurs="0"/>
                <xsd:element ref="ns2:m74a2925250f485f9486ed3f97e2a6b3" minOccurs="0"/>
                <xsd:element ref="ns2:oad7af80ad0f4ba99bb03b3894ab533c" minOccurs="0"/>
                <xsd:element ref="ns2:bc28b5f076654a3b96073bbbebfeb8c9" minOccurs="0"/>
                <xsd:element ref="ns2:_dlc_Doc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erivedFromID" ma:index="2" nillable="true" ma:displayName="Derived from ID" ma:default="Original" ma:description="Holds the Document Id if the document is derived from an existing document in Campus." ma:internalName="DerivedFromID" ma:readOnly="false">
      <xsd:simpleType>
        <xsd:restriction base="dms:Text">
          <xsd:maxLength value="255"/>
        </xsd:restriction>
      </xsd:simpleType>
    </xsd:element>
    <xsd:element name="DocumentDescription" ma:index="3" nillable="true" ma:displayName="Document Description" ma:description="Alternate description for documents that can be used for display." ma:internalName="DocumentDescription" ma:readOnly="false">
      <xsd:simpleType>
        <xsd:restriction base="dms:Note">
          <xsd:maxLength value="255"/>
        </xsd:restriction>
      </xsd:simpleType>
    </xsd:element>
    <xsd:element name="Authors" ma:index="4" nillable="true" ma:displayName="Authors" ma:description="The individuals who contributed to the creation of this content. Includes both primary and secondary authors." ma:list="UserInfo" ma:SharePointGroup="0" ma:internalName="Authors"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MSProductsTaxHTField0" ma:index="13" nillable="true" ma:taxonomy="true" ma:internalName="MSProductsTaxHTField0" ma:taxonomyFieldName="MSProducts" ma:displayName="MS Products" ma:default="289;#Microsoft Azure Machine Learning|9207948e-39de-44e3-bca4-b0005ecebc86;#288;#Microsoft SQL Server|261ba873-f3ab-420e-96d6-e3004596a551" ma:fieldId="{ee77c2ea-e1b9-4a90-85df-76a95e6ae936}"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TaxCatchAll" ma:index="14" nillable="true" ma:displayName="Taxonomy Catch All Column" ma:description="" ma:hidden="true" ma:list="{bc1bf599-7032-4abd-adbc-fae0a55155ec}" ma:internalName="TaxCatchAll" ma:showField="CatchAllData" ma:web="0b7f5404-5dde-4fcb-9518-b95a4748512c">
      <xsd:complexType>
        <xsd:complexContent>
          <xsd:extension base="dms:MultiChoiceLookup">
            <xsd:sequence>
              <xsd:element name="Value" type="dms:Lookup" maxOccurs="unbounded" minOccurs="0" nillable="true"/>
            </xsd:sequence>
          </xsd:extension>
        </xsd:complexContent>
      </xsd:complexType>
    </xsd:element>
    <xsd:element name="TaxCatchAllLabel" ma:index="15" nillable="true" ma:displayName="Taxonomy Catch All Column1" ma:description="" ma:hidden="true" ma:list="{bc1bf599-7032-4abd-adbc-fae0a55155ec}" ma:internalName="TaxCatchAllLabel" ma:readOnly="true" ma:showField="CatchAllDataLabel" ma:web="0b7f5404-5dde-4fcb-9518-b95a4748512c">
      <xsd:complexType>
        <xsd:complexContent>
          <xsd:extension base="dms:MultiChoiceLookup">
            <xsd:sequence>
              <xsd:element name="Value" type="dms:Lookup" maxOccurs="unbounded" minOccurs="0" nillable="true"/>
            </xsd:sequence>
          </xsd:extension>
        </xsd:complexContent>
      </xsd:complexType>
    </xsd:element>
    <xsd:element name="m74a2925250f485f9486ed3f97e2a6b3" ma:index="17" nillable="true" ma:taxonomy="true" ma:internalName="m74a2925250f485f9486ed3f97e2a6b3" ma:taxonomyFieldName="VerticalIndustries" ma:displayName="Vertical Industries" ma:default="" ma:fieldId="{674a2925-250f-485f-9486-ed3f97e2a6b3}" ma:taxonomyMulti="true" ma:sspId="e385fb40-52d4-4fae-9c5b-3e8ff8a5878e" ma:termSetId="91b0d1e0-9f22-4aab-a1ef-fa1358a21588" ma:anchorId="00000000-0000-0000-0000-000000000000" ma:open="false" ma:isKeyword="false">
      <xsd:complexType>
        <xsd:sequence>
          <xsd:element ref="pc:Terms" minOccurs="0" maxOccurs="1"/>
        </xsd:sequence>
      </xsd:complexType>
    </xsd:element>
    <xsd:element name="oad7af80ad0f4ba99bb03b3894ab533c" ma:index="19" nillable="true" ma:taxonomy="true" ma:internalName="oad7af80ad0f4ba99bb03b3894ab533c" ma:taxonomyFieldName="ServicesIPTypes" ma:displayName="Services IP Type" ma:default="" ma:fieldId="{8ad7af80-ad0f-4ba9-9bb0-3b3894ab533c}" ma:taxonomyMulti="true" ma:sspId="e385fb40-52d4-4fae-9c5b-3e8ff8a5878e" ma:termSetId="030f38bb-a2c5-4da9-8933-47d85a151cf1" ma:anchorId="00000000-0000-0000-0000-000000000000" ma:open="false" ma:isKeyword="false">
      <xsd:complexType>
        <xsd:sequence>
          <xsd:element ref="pc:Terms" minOccurs="0" maxOccurs="1"/>
        </xsd:sequence>
      </xsd:complexType>
    </xsd:element>
    <xsd:element name="bc28b5f076654a3b96073bbbebfeb8c9" ma:index="21" nillable="true" ma:taxonomy="true" ma:internalName="bc28b5f076654a3b96073bbbebfeb8c9" ma:taxonomyFieldName="MSLanguage" ma:displayName="MS Language" ma:default="269;#English|cb91f272-ce4d-4a7e-9bbf-78b58e3d188d" ma:fieldId="{bc28b5f0-7665-4a3b-9607-3bbbebfeb8c9}" ma:taxonomyMulti="true" ma:sspId="e385fb40-52d4-4fae-9c5b-3e8ff8a5878e" ma:termSetId="2851bb56-f3b7-4d07-b1ba-07ede7d3b149" ma:anchorId="00000000-0000-0000-0000-000000000000" ma:open="false" ma:isKeyword="false">
      <xsd:complexType>
        <xsd:sequence>
          <xsd:element ref="pc:Terms" minOccurs="0" maxOccurs="1"/>
        </xsd:sequence>
      </xsd:complexType>
    </xsd:element>
    <xsd:element name="_dlc_DocId" ma:index="22" nillable="true" ma:displayName="Document ID Value" ma:description="The value of the document ID assigned to this item." ma:internalName="_dlc_DocId"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e385fb40-52d4-4fae-9c5b-3e8ff8a5878e" ContentTypeId="0x01010079CA57CA2DAD654DAB031774EE67465801" PreviousValue="false"/>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A5E5CFB-8A56-4729-A59B-F82575A7A882}">
  <ds:schemaRefs>
    <ds:schemaRef ds:uri="http://schemas.microsoft.com/sharepoint/events"/>
  </ds:schemaRefs>
</ds:datastoreItem>
</file>

<file path=customXml/itemProps2.xml><?xml version="1.0" encoding="utf-8"?>
<ds:datastoreItem xmlns:ds="http://schemas.openxmlformats.org/officeDocument/2006/customXml" ds:itemID="{6FBA93AF-147B-4D9F-9E94-ACAFDD79883D}">
  <ds:schemaRefs>
    <ds:schemaRef ds:uri="http://purl.org/dc/elements/1.1/"/>
    <ds:schemaRef ds:uri="http://schemas.microsoft.com/office/2006/metadata/properties"/>
    <ds:schemaRef ds:uri="230e9df3-be65-4c73-a93b-d1236ebd677e"/>
    <ds:schemaRef ds:uri="http://schemas.microsoft.com/office/2006/documentManagement/types"/>
    <ds:schemaRef ds:uri="http://purl.org/dc/terms/"/>
    <ds:schemaRef ds:uri="http://schemas.microsoft.com/office/infopath/2007/PartnerControls"/>
    <ds:schemaRef ds:uri="http://purl.org/dc/dcmitype/"/>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E1428F7-2004-49EF-92D9-AFD448CBEE2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FA82BBFF-53BF-4BFD-8ACE-EC6C95FCD3E9}">
  <ds:schemaRefs>
    <ds:schemaRef ds:uri="Microsoft.SharePoint.Taxonomy.ContentTypeSync"/>
  </ds:schemaRefs>
</ds:datastoreItem>
</file>

<file path=customXml/itemProps5.xml><?xml version="1.0" encoding="utf-8"?>
<ds:datastoreItem xmlns:ds="http://schemas.openxmlformats.org/officeDocument/2006/customXml" ds:itemID="{8554A138-F21C-4B5B-92F9-B26392CB095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177</TotalTime>
  <Words>2972</Words>
  <Application>Microsoft Office PowerPoint</Application>
  <PresentationFormat>Widescreen</PresentationFormat>
  <Paragraphs>611</Paragraphs>
  <Slides>32</Slides>
  <Notes>32</Notes>
  <HiddenSlides>0</HiddenSlides>
  <MMClips>0</MMClips>
  <ScaleCrop>false</ScaleCrop>
  <HeadingPairs>
    <vt:vector size="8" baseType="variant">
      <vt:variant>
        <vt:lpstr>Fonts Used</vt:lpstr>
      </vt:variant>
      <vt:variant>
        <vt:i4>22</vt:i4>
      </vt:variant>
      <vt:variant>
        <vt:lpstr>Theme</vt:lpstr>
      </vt:variant>
      <vt:variant>
        <vt:i4>4</vt:i4>
      </vt:variant>
      <vt:variant>
        <vt:lpstr>Embedded OLE Servers</vt:lpstr>
      </vt:variant>
      <vt:variant>
        <vt:i4>2</vt:i4>
      </vt:variant>
      <vt:variant>
        <vt:lpstr>Slide Titles</vt:lpstr>
      </vt:variant>
      <vt:variant>
        <vt:i4>32</vt:i4>
      </vt:variant>
    </vt:vector>
  </HeadingPairs>
  <TitlesOfParts>
    <vt:vector size="60" baseType="lpstr">
      <vt:lpstr>MS PGothic</vt:lpstr>
      <vt:lpstr>MS PGothic</vt:lpstr>
      <vt:lpstr>SimSun</vt:lpstr>
      <vt:lpstr>Arial</vt:lpstr>
      <vt:lpstr>Arial Unicode MS</vt:lpstr>
      <vt:lpstr>Calibri</vt:lpstr>
      <vt:lpstr>Calibri Light</vt:lpstr>
      <vt:lpstr>Cambria</vt:lpstr>
      <vt:lpstr>Consolas</vt:lpstr>
      <vt:lpstr>Segoe</vt:lpstr>
      <vt:lpstr>Segoe Light</vt:lpstr>
      <vt:lpstr>Segoe Pro Light</vt:lpstr>
      <vt:lpstr>Segoe Pro Semibold</vt:lpstr>
      <vt:lpstr>Segoe Semibold</vt:lpstr>
      <vt:lpstr>Segoe UI</vt:lpstr>
      <vt:lpstr>Segoe UI Black</vt:lpstr>
      <vt:lpstr>Segoe UI Light</vt:lpstr>
      <vt:lpstr>Segoe UI Semibold</vt:lpstr>
      <vt:lpstr>Segoe UI Semilight</vt:lpstr>
      <vt:lpstr>Segoe WP Light</vt:lpstr>
      <vt:lpstr>Times New Roman</vt:lpstr>
      <vt:lpstr>Wingdings</vt:lpstr>
      <vt:lpstr>Services4x3</vt:lpstr>
      <vt:lpstr>Office Theme</vt:lpstr>
      <vt:lpstr>MSVID_Product_Brand_template_4-3_CYAN</vt:lpstr>
      <vt:lpstr>2_Theme1</vt:lpstr>
      <vt:lpstr>think-cell Slide</vt:lpstr>
      <vt:lpstr>Visio</vt:lpstr>
      <vt:lpstr>PowerPoint Presentation</vt:lpstr>
      <vt:lpstr>PowerPoint Presentation</vt:lpstr>
      <vt:lpstr>Module : Azure Data Lake Store</vt:lpstr>
      <vt:lpstr>What’s a Data Lake? It’s a pattern of being analytics! Store any kind of data regardless of type!</vt:lpstr>
      <vt:lpstr>Azure Data Lake</vt:lpstr>
      <vt:lpstr>Microsoft Azure Data Lake Azure Services for big data analytics</vt:lpstr>
      <vt:lpstr>Azure Data Lake: Store</vt:lpstr>
      <vt:lpstr>Azure Data Lake as part of Cortana Intelligence Suite</vt:lpstr>
      <vt:lpstr>PowerPoint Presentation</vt:lpstr>
      <vt:lpstr>PowerPoint Presentation</vt:lpstr>
      <vt:lpstr>PowerPoint Presentation</vt:lpstr>
      <vt:lpstr>An ADL Store  No limits to SCALE </vt:lpstr>
      <vt:lpstr>ADL Store offers massive throughput</vt:lpstr>
      <vt:lpstr>ADL Store is HDFS-compatible</vt:lpstr>
      <vt:lpstr>ADL Store: Ingress</vt:lpstr>
      <vt:lpstr>ADL Store: Egress</vt:lpstr>
      <vt:lpstr>App Development – Languages and Tools Azure Data Lake Store supports multiple languages for application development </vt:lpstr>
      <vt:lpstr>PowerPoint Presentation</vt:lpstr>
      <vt:lpstr>ADLS Ingestion – Getting started</vt:lpstr>
      <vt:lpstr>ADLS Ingestion – Operationalizing</vt:lpstr>
      <vt:lpstr>ADLS - Event Ingestion</vt:lpstr>
      <vt:lpstr>Big Data Analytics – Pipelines</vt:lpstr>
      <vt:lpstr>ADL Store Architecture</vt:lpstr>
      <vt:lpstr>ADLS Authorization: POSIX-based</vt:lpstr>
      <vt:lpstr>ADLS Encryption at Rest</vt:lpstr>
      <vt:lpstr>ADLS Language Support</vt:lpstr>
      <vt:lpstr>ADLS Code Sample</vt:lpstr>
      <vt:lpstr>ADLS - .NET(C#) Code Snippet</vt:lpstr>
      <vt:lpstr>ADLS Java Code Snippet</vt:lpstr>
      <vt:lpstr>ADLS– Key Takeaway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vanced Cloud Business Analytics - Module 5 - Azure Data Lake and Cortana Analytics</dc:title>
  <dc:creator>Cecily Novak (The Evergreen Group LLC)</dc:creator>
  <cp:lastModifiedBy>Rahul Deshmukh</cp:lastModifiedBy>
  <cp:revision>342</cp:revision>
  <dcterms:created xsi:type="dcterms:W3CDTF">2013-08-01T15:32:36Z</dcterms:created>
  <dcterms:modified xsi:type="dcterms:W3CDTF">2017-11-06T08:2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4465360</vt:lpwstr>
  </property>
  <property fmtid="{D5CDD505-2E9C-101B-9397-08002B2CF9AE}" pid="3" name="NXPowerLiteSettings">
    <vt:lpwstr>F7000400038000</vt:lpwstr>
  </property>
  <property fmtid="{D5CDD505-2E9C-101B-9397-08002B2CF9AE}" pid="4" name="NXPowerLiteVersion">
    <vt:lpwstr>D5.0.6</vt:lpwstr>
  </property>
  <property fmtid="{D5CDD505-2E9C-101B-9397-08002B2CF9AE}" pid="5" name="ContentTypeId">
    <vt:lpwstr>0x01010079CA57CA2DAD654DAB031774EE67465801004AE693AAFCF82542BD8BE44BEDE30AF1</vt:lpwstr>
  </property>
  <property fmtid="{D5CDD505-2E9C-101B-9397-08002B2CF9AE}" pid="6" name="_dlc_DocIdItemGuid">
    <vt:lpwstr>2a4829e9-48ac-4a9b-9454-caffbb46fc5c</vt:lpwstr>
  </property>
  <property fmtid="{D5CDD505-2E9C-101B-9397-08002B2CF9AE}" pid="7" name="Order">
    <vt:r8>233400</vt:r8>
  </property>
  <property fmtid="{D5CDD505-2E9C-101B-9397-08002B2CF9AE}" pid="8" name="VerticalIndustries">
    <vt:lpwstr/>
  </property>
  <property fmtid="{D5CDD505-2E9C-101B-9397-08002B2CF9AE}" pid="9" name="MSLanguage">
    <vt:lpwstr>269;#English|cb91f272-ce4d-4a7e-9bbf-78b58e3d188d</vt:lpwstr>
  </property>
  <property fmtid="{D5CDD505-2E9C-101B-9397-08002B2CF9AE}" pid="10" name="MSProducts">
    <vt:lpwstr/>
  </property>
  <property fmtid="{D5CDD505-2E9C-101B-9397-08002B2CF9AE}" pid="11" name="ServicesIPTypes">
    <vt:lpwstr/>
  </property>
  <property fmtid="{D5CDD505-2E9C-101B-9397-08002B2CF9AE}" pid="12" name="MSIP_Label_f42aa342-8706-4288-bd11-ebb85995028c_Enabled">
    <vt:lpwstr>True</vt:lpwstr>
  </property>
  <property fmtid="{D5CDD505-2E9C-101B-9397-08002B2CF9AE}" pid="13" name="MSIP_Label_f42aa342-8706-4288-bd11-ebb85995028c_SiteId">
    <vt:lpwstr>72f988bf-86f1-41af-91ab-2d7cd011db47</vt:lpwstr>
  </property>
  <property fmtid="{D5CDD505-2E9C-101B-9397-08002B2CF9AE}" pid="14" name="MSIP_Label_f42aa342-8706-4288-bd11-ebb85995028c_Ref">
    <vt:lpwstr>https://api.informationprotection.azure.com/api/72f988bf-86f1-41af-91ab-2d7cd011db47</vt:lpwstr>
  </property>
  <property fmtid="{D5CDD505-2E9C-101B-9397-08002B2CF9AE}" pid="15" name="MSIP_Label_f42aa342-8706-4288-bd11-ebb85995028c_Owner">
    <vt:lpwstr>megas@microsoft.com</vt:lpwstr>
  </property>
  <property fmtid="{D5CDD505-2E9C-101B-9397-08002B2CF9AE}" pid="16" name="MSIP_Label_f42aa342-8706-4288-bd11-ebb85995028c_SetDate">
    <vt:lpwstr>2017-09-26T16:26:43.6665126-07:00</vt:lpwstr>
  </property>
  <property fmtid="{D5CDD505-2E9C-101B-9397-08002B2CF9AE}" pid="17" name="MSIP_Label_f42aa342-8706-4288-bd11-ebb85995028c_Name">
    <vt:lpwstr>General</vt:lpwstr>
  </property>
  <property fmtid="{D5CDD505-2E9C-101B-9397-08002B2CF9AE}" pid="18" name="MSIP_Label_f42aa342-8706-4288-bd11-ebb85995028c_Application">
    <vt:lpwstr>Microsoft Azure Information Protection</vt:lpwstr>
  </property>
  <property fmtid="{D5CDD505-2E9C-101B-9397-08002B2CF9AE}" pid="19" name="MSIP_Label_f42aa342-8706-4288-bd11-ebb85995028c_Extended_MSFT_Method">
    <vt:lpwstr>Automatic</vt:lpwstr>
  </property>
  <property fmtid="{D5CDD505-2E9C-101B-9397-08002B2CF9AE}" pid="20" name="Sensitivity">
    <vt:lpwstr>General</vt:lpwstr>
  </property>
</Properties>
</file>